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Override1.xml" ContentType="application/vnd.openxmlformats-officedocument.themeOverr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Override2.xml" ContentType="application/vnd.openxmlformats-officedocument.themeOverride+xml"/>
  <Override PartName="/ppt/tags/tag9.xml" ContentType="application/vnd.openxmlformats-officedocument.presentationml.tags+xml"/>
  <Override PartName="/ppt/theme/themeOverride3.xml" ContentType="application/vnd.openxmlformats-officedocument.themeOverride+xml"/>
  <Override PartName="/ppt/tags/tag10.xml" ContentType="application/vnd.openxmlformats-officedocument.presentationml.tags+xml"/>
  <Override PartName="/ppt/theme/themeOverride4.xml" ContentType="application/vnd.openxmlformats-officedocument.themeOverr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heme/themeOverride5.xml" ContentType="application/vnd.openxmlformats-officedocument.themeOverr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heme/themeOverride6.xml" ContentType="application/vnd.openxmlformats-officedocument.themeOverride+xml"/>
  <Override PartName="/ppt/tags/tag69.xml" ContentType="application/vnd.openxmlformats-officedocument.presentationml.tags+xml"/>
  <Override PartName="/ppt/theme/themeOverride7.xml" ContentType="application/vnd.openxmlformats-officedocument.themeOverride+xml"/>
  <Override PartName="/ppt/tags/tag70.xml" ContentType="application/vnd.openxmlformats-officedocument.presentationml.tags+xml"/>
  <Override PartName="/ppt/theme/themeOverride8.xml" ContentType="application/vnd.openxmlformats-officedocument.themeOverride+xml"/>
  <Override PartName="/ppt/tags/tag71.xml" ContentType="application/vnd.openxmlformats-officedocument.presentationml.tags+xml"/>
  <Override PartName="/ppt/theme/themeOverride9.xml" ContentType="application/vnd.openxmlformats-officedocument.themeOverride+xml"/>
  <Override PartName="/ppt/tags/tag72.xml" ContentType="application/vnd.openxmlformats-officedocument.presentationml.tags+xml"/>
  <Override PartName="/ppt/theme/themeOverride10.xml" ContentType="application/vnd.openxmlformats-officedocument.themeOverride+xml"/>
  <Override PartName="/ppt/tags/tag73.xml" ContentType="application/vnd.openxmlformats-officedocument.presentationml.tags+xml"/>
  <Override PartName="/ppt/theme/themeOverride11.xml" ContentType="application/vnd.openxmlformats-officedocument.themeOverride+xml"/>
  <Override PartName="/ppt/tags/tag74.xml" ContentType="application/vnd.openxmlformats-officedocument.presentationml.tags+xml"/>
  <Override PartName="/ppt/theme/themeOverride12.xml" ContentType="application/vnd.openxmlformats-officedocument.themeOverride+xml"/>
  <Override PartName="/ppt/tags/tag75.xml" ContentType="application/vnd.openxmlformats-officedocument.presentationml.tags+xml"/>
  <Override PartName="/ppt/theme/themeOverride13.xml" ContentType="application/vnd.openxmlformats-officedocument.themeOverride+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heme/themeOverride14.xml" ContentType="application/vnd.openxmlformats-officedocument.themeOverride+xml"/>
  <Override PartName="/ppt/tags/tag79.xml" ContentType="application/vnd.openxmlformats-officedocument.presentationml.tags+xml"/>
  <Override PartName="/ppt/theme/themeOverride15.xml" ContentType="application/vnd.openxmlformats-officedocument.themeOverride+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heme/themeOverride16.xml" ContentType="application/vnd.openxmlformats-officedocument.themeOverride+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heme/themeOverride17.xml" ContentType="application/vnd.openxmlformats-officedocument.themeOverride+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heme/themeOverride18.xml" ContentType="application/vnd.openxmlformats-officedocument.themeOverride+xml"/>
  <Override PartName="/ppt/tags/tag115.xml" ContentType="application/vnd.openxmlformats-officedocument.presentationml.tags+xml"/>
  <Override PartName="/ppt/tags/tag116.xml" ContentType="application/vnd.openxmlformats-officedocument.presentationml.tags+xml"/>
  <Override PartName="/ppt/theme/themeOverride19.xml" ContentType="application/vnd.openxmlformats-officedocument.themeOverride+xml"/>
  <Override PartName="/ppt/tags/tag117.xml" ContentType="application/vnd.openxmlformats-officedocument.presentationml.tags+xml"/>
  <Override PartName="/ppt/theme/themeOverride20.xml" ContentType="application/vnd.openxmlformats-officedocument.themeOverride+xml"/>
  <Override PartName="/ppt/tags/tag118.xml" ContentType="application/vnd.openxmlformats-officedocument.presentationml.tags+xml"/>
  <Override PartName="/ppt/theme/themeOverride21.xml" ContentType="application/vnd.openxmlformats-officedocument.themeOverride+xml"/>
  <Override PartName="/ppt/tags/tag119.xml" ContentType="application/vnd.openxmlformats-officedocument.presentationml.tags+xml"/>
  <Override PartName="/ppt/theme/themeOverride22.xml" ContentType="application/vnd.openxmlformats-officedocument.themeOverride+xml"/>
  <Override PartName="/ppt/tags/tag120.xml" ContentType="application/vnd.openxmlformats-officedocument.presentationml.tags+xml"/>
  <Override PartName="/ppt/theme/themeOverride23.xml" ContentType="application/vnd.openxmlformats-officedocument.themeOverride+xml"/>
  <Override PartName="/ppt/tags/tag121.xml" ContentType="application/vnd.openxmlformats-officedocument.presentationml.tags+xml"/>
  <Override PartName="/ppt/theme/themeOverride24.xml" ContentType="application/vnd.openxmlformats-officedocument.themeOverride+xml"/>
  <Override PartName="/ppt/tags/tag122.xml" ContentType="application/vnd.openxmlformats-officedocument.presentationml.tags+xml"/>
  <Override PartName="/ppt/tags/tag123.xml" ContentType="application/vnd.openxmlformats-officedocument.presentationml.tags+xml"/>
  <Override PartName="/ppt/theme/themeOverride25.xml" ContentType="application/vnd.openxmlformats-officedocument.themeOverride+xml"/>
  <Override PartName="/ppt/tags/tag124.xml" ContentType="application/vnd.openxmlformats-officedocument.presentationml.tags+xml"/>
  <Override PartName="/ppt/tags/tag125.xml" ContentType="application/vnd.openxmlformats-officedocument.presentationml.tags+xml"/>
  <Override PartName="/ppt/theme/themeOverride26.xml" ContentType="application/vnd.openxmlformats-officedocument.themeOverride+xml"/>
  <Override PartName="/ppt/tags/tag126.xml" ContentType="application/vnd.openxmlformats-officedocument.presentationml.tags+xml"/>
  <Override PartName="/ppt/tags/tag127.xml" ContentType="application/vnd.openxmlformats-officedocument.presentationml.tags+xml"/>
  <Override PartName="/ppt/theme/themeOverride27.xml" ContentType="application/vnd.openxmlformats-officedocument.themeOverride+xml"/>
  <Override PartName="/ppt/tags/tag128.xml" ContentType="application/vnd.openxmlformats-officedocument.presentationml.tags+xml"/>
  <Override PartName="/ppt/tags/tag129.xml" ContentType="application/vnd.openxmlformats-officedocument.presentationml.tags+xml"/>
  <Override PartName="/ppt/theme/themeOverride28.xml" ContentType="application/vnd.openxmlformats-officedocument.themeOverride+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heme/themeOverride29.xml" ContentType="application/vnd.openxmlformats-officedocument.themeOverride+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heme/themeOverride30.xml" ContentType="application/vnd.openxmlformats-officedocument.themeOverride+xml"/>
  <Override PartName="/ppt/tags/tag146.xml" ContentType="application/vnd.openxmlformats-officedocument.presentationml.tags+xml"/>
  <Override PartName="/ppt/theme/themeOverride31.xml" ContentType="application/vnd.openxmlformats-officedocument.themeOverride+xml"/>
  <Override PartName="/ppt/tags/tag147.xml" ContentType="application/vnd.openxmlformats-officedocument.presentationml.tags+xml"/>
  <Override PartName="/ppt/theme/themeOverride32.xml" ContentType="application/vnd.openxmlformats-officedocument.themeOverride+xml"/>
  <Override PartName="/ppt/tags/tag148.xml" ContentType="application/vnd.openxmlformats-officedocument.presentationml.tags+xml"/>
  <Override PartName="/ppt/theme/themeOverride33.xml" ContentType="application/vnd.openxmlformats-officedocument.themeOverride+xml"/>
  <Override PartName="/ppt/tags/tag149.xml" ContentType="application/vnd.openxmlformats-officedocument.presentationml.tags+xml"/>
  <Override PartName="/ppt/theme/themeOverride34.xml" ContentType="application/vnd.openxmlformats-officedocument.themeOverride+xml"/>
  <Override PartName="/ppt/tags/tag150.xml" ContentType="application/vnd.openxmlformats-officedocument.presentationml.tags+xml"/>
  <Override PartName="/ppt/theme/themeOverride35.xml" ContentType="application/vnd.openxmlformats-officedocument.themeOverride+xml"/>
  <Override PartName="/ppt/tags/tag151.xml" ContentType="application/vnd.openxmlformats-officedocument.presentationml.tags+xml"/>
  <Override PartName="/ppt/theme/themeOverride36.xml" ContentType="application/vnd.openxmlformats-officedocument.themeOverride+xml"/>
  <Override PartName="/ppt/tags/tag152.xml" ContentType="application/vnd.openxmlformats-officedocument.presentationml.tags+xml"/>
  <Override PartName="/ppt/tags/tag153.xml" ContentType="application/vnd.openxmlformats-officedocument.presentationml.tags+xml"/>
  <Override PartName="/ppt/theme/themeOverride37.xml" ContentType="application/vnd.openxmlformats-officedocument.themeOverride+xml"/>
  <Override PartName="/ppt/tags/tag154.xml" ContentType="application/vnd.openxmlformats-officedocument.presentationml.tags+xml"/>
  <Override PartName="/ppt/tags/tag155.xml" ContentType="application/vnd.openxmlformats-officedocument.presentationml.tags+xml"/>
  <Override PartName="/ppt/theme/themeOverride38.xml" ContentType="application/vnd.openxmlformats-officedocument.themeOverride+xml"/>
  <Override PartName="/ppt/tags/tag156.xml" ContentType="application/vnd.openxmlformats-officedocument.presentationml.tags+xml"/>
  <Override PartName="/ppt/tags/tag157.xml" ContentType="application/vnd.openxmlformats-officedocument.presentationml.tags+xml"/>
  <Override PartName="/ppt/theme/themeOverride39.xml" ContentType="application/vnd.openxmlformats-officedocument.themeOverride+xml"/>
  <Override PartName="/ppt/tags/tag158.xml" ContentType="application/vnd.openxmlformats-officedocument.presentationml.tags+xml"/>
  <Override PartName="/ppt/tags/tag159.xml" ContentType="application/vnd.openxmlformats-officedocument.presentationml.tags+xml"/>
  <Override PartName="/ppt/theme/themeOverride40.xml" ContentType="application/vnd.openxmlformats-officedocument.themeOverride+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heme/themeOverride41.xml" ContentType="application/vnd.openxmlformats-officedocument.themeOverride+xml"/>
  <Override PartName="/ppt/tags/tag164.xml" ContentType="application/vnd.openxmlformats-officedocument.presentationml.tags+xml"/>
  <Override PartName="/ppt/theme/themeOverride42.xml" ContentType="application/vnd.openxmlformats-officedocument.themeOverride+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heme/themeOverride43.xml" ContentType="application/vnd.openxmlformats-officedocument.themeOverride+xml"/>
  <Override PartName="/ppt/tags/tag170.xml" ContentType="application/vnd.openxmlformats-officedocument.presentationml.tags+xml"/>
  <Override PartName="/ppt/tags/tag171.xml" ContentType="application/vnd.openxmlformats-officedocument.presentationml.tags+xml"/>
  <Override PartName="/ppt/theme/themeOverride44.xml" ContentType="application/vnd.openxmlformats-officedocument.themeOverride+xml"/>
  <Override PartName="/ppt/tags/tag172.xml" ContentType="application/vnd.openxmlformats-officedocument.presentationml.tags+xml"/>
  <Override PartName="/ppt/theme/themeOverride45.xml" ContentType="application/vnd.openxmlformats-officedocument.themeOverride+xml"/>
  <Override PartName="/ppt/tags/tag173.xml" ContentType="application/vnd.openxmlformats-officedocument.presentationml.tags+xml"/>
  <Override PartName="/ppt/theme/themeOverride46.xml" ContentType="application/vnd.openxmlformats-officedocument.themeOverride+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heme/themeOverride47.xml" ContentType="application/vnd.openxmlformats-officedocument.themeOverride+xml"/>
  <Override PartName="/ppt/tags/tag179.xml" ContentType="application/vnd.openxmlformats-officedocument.presentationml.tags+xml"/>
  <Override PartName="/ppt/theme/themeOverride48.xml" ContentType="application/vnd.openxmlformats-officedocument.themeOverride+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83.xml" ContentType="application/vnd.openxmlformats-officedocument.presentationml.tags+xml"/>
  <Override PartName="/ppt/notesSlides/notesSlide1.xml" ContentType="application/vnd.openxmlformats-officedocument.presentationml.notesSlide+xml"/>
  <Override PartName="/ppt/tags/tag184.xml" ContentType="application/vnd.openxmlformats-officedocument.presentationml.tags+xml"/>
  <Override PartName="/ppt/tags/tag185.xml" ContentType="application/vnd.openxmlformats-officedocument.presentationml.tags+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86.xml" ContentType="application/vnd.openxmlformats-officedocument.presentationml.tags+xml"/>
  <Override PartName="/ppt/tags/tag187.xml" ContentType="application/vnd.openxmlformats-officedocument.presentationml.tags+xml"/>
  <Override PartName="/ppt/notesSlides/notesSlide3.xml" ContentType="application/vnd.openxmlformats-officedocument.presentationml.notesSlide+xml"/>
  <Override PartName="/ppt/tags/tag188.xml" ContentType="application/vnd.openxmlformats-officedocument.presentationml.tags+xml"/>
  <Override PartName="/ppt/tags/tag189.xml" ContentType="application/vnd.openxmlformats-officedocument.presentationml.tags+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tags/tag190.xml" ContentType="application/vnd.openxmlformats-officedocument.presentationml.tags+xml"/>
  <Override PartName="/ppt/tags/tag191.xml" ContentType="application/vnd.openxmlformats-officedocument.presentationml.tags+xml"/>
  <Override PartName="/ppt/notesSlides/notesSlide5.xml" ContentType="application/vnd.openxmlformats-officedocument.presentationml.notesSlide+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notesSlides/notesSlide6.xml" ContentType="application/vnd.openxmlformats-officedocument.presentationml.notesSlide+xml"/>
  <Override PartName="/ppt/tags/tag213.xml" ContentType="application/vnd.openxmlformats-officedocument.presentationml.tags+xml"/>
  <Override PartName="/ppt/tags/tag214.xml" ContentType="application/vnd.openxmlformats-officedocument.presentationml.tags+xml"/>
  <Override PartName="/ppt/notesSlides/notesSlide7.xml" ContentType="application/vnd.openxmlformats-officedocument.presentationml.notesSlide+xml"/>
  <Override PartName="/ppt/tags/tag215.xml" ContentType="application/vnd.openxmlformats-officedocument.presentationml.tags+xml"/>
  <Override PartName="/ppt/tags/tag216.xml" ContentType="application/vnd.openxmlformats-officedocument.presentationml.tags+xml"/>
  <Override PartName="/ppt/notesSlides/notesSlide8.xml" ContentType="application/vnd.openxmlformats-officedocument.presentationml.notesSlide+xml"/>
  <Override PartName="/ppt/tags/tag217.xml" ContentType="application/vnd.openxmlformats-officedocument.presentationml.tag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218.xml" ContentType="application/vnd.openxmlformats-officedocument.presentationml.tags+xml"/>
  <Override PartName="/ppt/tags/tag219.xml" ContentType="application/vnd.openxmlformats-officedocument.presentationml.tags+xml"/>
  <Override PartName="/ppt/notesSlides/notesSlide9.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220.xml" ContentType="application/vnd.openxmlformats-officedocument.presentationml.tags+xml"/>
  <Override PartName="/ppt/tags/tag221.xml" ContentType="application/vnd.openxmlformats-officedocument.presentationml.tags+xml"/>
  <Override PartName="/ppt/notesSlides/notesSlide10.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222.xml" ContentType="application/vnd.openxmlformats-officedocument.presentationml.tags+xml"/>
  <Override PartName="/ppt/tags/tag223.xml" ContentType="application/vnd.openxmlformats-officedocument.presentationml.tags+xml"/>
  <Override PartName="/ppt/notesSlides/notesSlide11.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224.xml" ContentType="application/vnd.openxmlformats-officedocument.presentationml.tags+xml"/>
  <Override PartName="/ppt/tags/tag225.xml" ContentType="application/vnd.openxmlformats-officedocument.presentationml.tags+xml"/>
  <Override PartName="/ppt/notesSlides/notesSlide12.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notesSlides/notesSlide13.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tags/tag249.xml" ContentType="application/vnd.openxmlformats-officedocument.presentationml.tags+xml"/>
  <Override PartName="/ppt/tags/tag250.xml" ContentType="application/vnd.openxmlformats-officedocument.presentationml.tag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4"/>
  </p:sldMasterIdLst>
  <p:notesMasterIdLst>
    <p:notesMasterId r:id="rId32"/>
  </p:notesMasterIdLst>
  <p:handoutMasterIdLst>
    <p:handoutMasterId r:id="rId33"/>
  </p:handoutMasterIdLst>
  <p:sldIdLst>
    <p:sldId id="270" r:id="rId5"/>
    <p:sldId id="258" r:id="rId6"/>
    <p:sldId id="2147474095" r:id="rId7"/>
    <p:sldId id="262" r:id="rId8"/>
    <p:sldId id="295" r:id="rId9"/>
    <p:sldId id="296" r:id="rId10"/>
    <p:sldId id="2147474093" r:id="rId11"/>
    <p:sldId id="2147474098" r:id="rId12"/>
    <p:sldId id="2147474099" r:id="rId13"/>
    <p:sldId id="261" r:id="rId14"/>
    <p:sldId id="280" r:id="rId15"/>
    <p:sldId id="277" r:id="rId16"/>
    <p:sldId id="2147474105" r:id="rId17"/>
    <p:sldId id="2147474107" r:id="rId18"/>
    <p:sldId id="293" r:id="rId19"/>
    <p:sldId id="294" r:id="rId20"/>
    <p:sldId id="2147474106" r:id="rId21"/>
    <p:sldId id="2147474097" r:id="rId22"/>
    <p:sldId id="303" r:id="rId23"/>
    <p:sldId id="304" r:id="rId24"/>
    <p:sldId id="2147474094" r:id="rId25"/>
    <p:sldId id="2147474100" r:id="rId26"/>
    <p:sldId id="2147474101" r:id="rId27"/>
    <p:sldId id="287" r:id="rId28"/>
    <p:sldId id="301" r:id="rId29"/>
    <p:sldId id="2147474103" r:id="rId30"/>
    <p:sldId id="2147474104" r:id="rId31"/>
  </p:sldIdLst>
  <p:sldSz cx="12192000" cy="6858000"/>
  <p:notesSz cx="6950075" cy="9236075"/>
  <p:custShowLst>
    <p:custShow name="Format Guide Workshop" id="0">
      <p:sldLst/>
    </p:custShow>
  </p:custShowLst>
  <p:custDataLst>
    <p:tags r:id="rId3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ésentation FInale" id="{1AE35B32-731E-8C4D-A328-9598463CF1C4}">
          <p14:sldIdLst>
            <p14:sldId id="270"/>
            <p14:sldId id="258"/>
            <p14:sldId id="2147474095"/>
            <p14:sldId id="262"/>
            <p14:sldId id="295"/>
            <p14:sldId id="296"/>
            <p14:sldId id="2147474093"/>
            <p14:sldId id="2147474098"/>
            <p14:sldId id="2147474099"/>
            <p14:sldId id="261"/>
          </p14:sldIdLst>
        </p14:section>
        <p14:section name="Annexes" id="{2FCE3F8D-09AB-4CD6-8648-34B91AA41778}">
          <p14:sldIdLst>
            <p14:sldId id="280"/>
            <p14:sldId id="277"/>
            <p14:sldId id="2147474105"/>
            <p14:sldId id="2147474107"/>
            <p14:sldId id="293"/>
            <p14:sldId id="294"/>
            <p14:sldId id="2147474106"/>
            <p14:sldId id="2147474097"/>
            <p14:sldId id="303"/>
            <p14:sldId id="304"/>
            <p14:sldId id="2147474094"/>
            <p14:sldId id="2147474100"/>
            <p14:sldId id="2147474101"/>
            <p14:sldId id="287"/>
            <p14:sldId id="301"/>
            <p14:sldId id="2147474103"/>
            <p14:sldId id="2147474104"/>
          </p14:sldIdLst>
        </p14:section>
        <p14:section name="Présentation Intermédiaire" id="{AA8FF586-5D2E-7E41-86B8-2AF038F9A08C}">
          <p14:sldIdLst/>
        </p14:section>
      </p14:sectionLst>
    </p:ext>
    <p:ext uri="{EFAFB233-063F-42B5-8137-9DF3F51BA10A}">
      <p15:sldGuideLst xmlns:p15="http://schemas.microsoft.com/office/powerpoint/2012/main">
        <p15:guide id="1" orient="horz" pos="2160">
          <p15:clr>
            <a:srgbClr val="A4A3A4"/>
          </p15:clr>
        </p15:guide>
        <p15:guide id="2" pos="3817"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5E6D608-4515-559E-CC8D-810749FBC7E9}" name="Martin" initials="M" userId="Martin" providerId="Non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050"/>
    <a:srgbClr val="20BE60"/>
    <a:srgbClr val="00F26D"/>
    <a:srgbClr val="104B26"/>
    <a:srgbClr val="000000"/>
    <a:srgbClr val="F8F8F8"/>
    <a:srgbClr val="FFCF24"/>
    <a:srgbClr val="EDEDED"/>
    <a:srgbClr val="B1B1B1"/>
    <a:srgbClr val="21BF6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1D997F2-51E1-419E-BC94-C9A33AD3AEEC}" v="2653" vWet="2655" dt="2022-12-01T15:55:33.701"/>
    <p1510:client id="{753A00A4-0D96-40DE-877F-5CEF086028DD}" v="1127" dt="2022-12-01T16:01:32.773"/>
    <p1510:client id="{E5297846-AE51-4E76-84E4-EFBB3AC64802}" v="5772" dt="2022-11-30T10:24:46.23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Style léger 1 - Accentuation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8D230F3-CF80-4859-8CE7-A43EE81993B5}" styleName="Style léger 1 - Accentuation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0E3FDE45-AF77-4B5C-9715-49D594BDF05E}" styleName="Style léger 1 - Accentuation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2160"/>
        <p:guide pos="3817"/>
      </p:guideLst>
    </p:cSldViewPr>
  </p:slide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microsoft.com/office/2016/11/relationships/changesInfo" Target="changesInfos/changesInfo1.xml"/><Relationship Id="rId21" Type="http://schemas.openxmlformats.org/officeDocument/2006/relationships/slide" Target="slides/slide17.xml"/><Relationship Id="rId34" Type="http://schemas.openxmlformats.org/officeDocument/2006/relationships/tags" Target="tags/tag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notesMaster" Target="notesMasters/notesMaster1.xml"/><Relationship Id="rId37" Type="http://schemas.openxmlformats.org/officeDocument/2006/relationships/theme" Target="theme/theme1.xml"/><Relationship Id="rId40"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presProps" Target="presProp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handoutMaster" Target="handoutMasters/handoutMaster1.xml"/><Relationship Id="rId38"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ntoine Dargier" userId="481a37f4-bfd0-4ed5-9683-451acf3f1d65" providerId="ADAL" clId="{C517225A-4E0E-4684-8E83-EC4ECB8D720A}"/>
    <pc:docChg chg="undo custSel addSld delSld modSld sldOrd modSection">
      <pc:chgData name="Antoine Dargier" userId="481a37f4-bfd0-4ed5-9683-451acf3f1d65" providerId="ADAL" clId="{C517225A-4E0E-4684-8E83-EC4ECB8D720A}" dt="2022-11-25T10:42:34.357" v="3472" actId="1076"/>
      <pc:docMkLst>
        <pc:docMk/>
      </pc:docMkLst>
      <pc:sldChg chg="modSp mod modClrScheme chgLayout">
        <pc:chgData name="Antoine Dargier" userId="481a37f4-bfd0-4ed5-9683-451acf3f1d65" providerId="ADAL" clId="{C517225A-4E0E-4684-8E83-EC4ECB8D720A}" dt="2022-11-24T23:10:56.566" v="2796" actId="700"/>
        <pc:sldMkLst>
          <pc:docMk/>
          <pc:sldMk cId="3359315074" sldId="278"/>
        </pc:sldMkLst>
        <pc:spChg chg="mod ord">
          <ac:chgData name="Antoine Dargier" userId="481a37f4-bfd0-4ed5-9683-451acf3f1d65" providerId="ADAL" clId="{C517225A-4E0E-4684-8E83-EC4ECB8D720A}" dt="2022-11-24T23:10:56.566" v="2796" actId="700"/>
          <ac:spMkLst>
            <pc:docMk/>
            <pc:sldMk cId="3359315074" sldId="278"/>
            <ac:spMk id="2" creationId="{00000000-0000-0000-0000-000000000000}"/>
          </ac:spMkLst>
        </pc:spChg>
      </pc:sldChg>
      <pc:sldChg chg="addSp delSp modSp add mod ord setBg modClrScheme chgLayout">
        <pc:chgData name="Antoine Dargier" userId="481a37f4-bfd0-4ed5-9683-451acf3f1d65" providerId="ADAL" clId="{C517225A-4E0E-4684-8E83-EC4ECB8D720A}" dt="2022-11-25T10:42:34.357" v="3472" actId="1076"/>
        <pc:sldMkLst>
          <pc:docMk/>
          <pc:sldMk cId="531656296" sldId="287"/>
        </pc:sldMkLst>
        <pc:spChg chg="del mod ord">
          <ac:chgData name="Antoine Dargier" userId="481a37f4-bfd0-4ed5-9683-451acf3f1d65" providerId="ADAL" clId="{C517225A-4E0E-4684-8E83-EC4ECB8D720A}" dt="2022-11-23T15:57:43.002" v="2053" actId="478"/>
          <ac:spMkLst>
            <pc:docMk/>
            <pc:sldMk cId="531656296" sldId="287"/>
            <ac:spMk id="2" creationId="{00000000-0000-0000-0000-000000000000}"/>
          </ac:spMkLst>
        </pc:spChg>
        <pc:spChg chg="add mod">
          <ac:chgData name="Antoine Dargier" userId="481a37f4-bfd0-4ed5-9683-451acf3f1d65" providerId="ADAL" clId="{C517225A-4E0E-4684-8E83-EC4ECB8D720A}" dt="2022-11-25T10:41:25.478" v="3460" actId="113"/>
          <ac:spMkLst>
            <pc:docMk/>
            <pc:sldMk cId="531656296" sldId="287"/>
            <ac:spMk id="4" creationId="{FE687DFB-1496-49CD-DDF6-D479C9FF7101}"/>
          </ac:spMkLst>
        </pc:spChg>
        <pc:spChg chg="add mod">
          <ac:chgData name="Antoine Dargier" userId="481a37f4-bfd0-4ed5-9683-451acf3f1d65" providerId="ADAL" clId="{C517225A-4E0E-4684-8E83-EC4ECB8D720A}" dt="2022-11-25T10:41:50.729" v="3461" actId="2711"/>
          <ac:spMkLst>
            <pc:docMk/>
            <pc:sldMk cId="531656296" sldId="287"/>
            <ac:spMk id="5" creationId="{36D1A0A5-D9EB-E69D-849E-7929AA2580E4}"/>
          </ac:spMkLst>
        </pc:spChg>
        <pc:spChg chg="add mod">
          <ac:chgData name="Antoine Dargier" userId="481a37f4-bfd0-4ed5-9683-451acf3f1d65" providerId="ADAL" clId="{C517225A-4E0E-4684-8E83-EC4ECB8D720A}" dt="2022-11-25T10:42:02.681" v="3464" actId="108"/>
          <ac:spMkLst>
            <pc:docMk/>
            <pc:sldMk cId="531656296" sldId="287"/>
            <ac:spMk id="7" creationId="{19386F09-7E53-EDC6-BAF5-DE0F95FAF957}"/>
          </ac:spMkLst>
        </pc:spChg>
        <pc:spChg chg="add mod">
          <ac:chgData name="Antoine Dargier" userId="481a37f4-bfd0-4ed5-9683-451acf3f1d65" providerId="ADAL" clId="{C517225A-4E0E-4684-8E83-EC4ECB8D720A}" dt="2022-11-25T10:41:59.467" v="3462" actId="108"/>
          <ac:spMkLst>
            <pc:docMk/>
            <pc:sldMk cId="531656296" sldId="287"/>
            <ac:spMk id="8" creationId="{B2789F3D-A639-0C28-AA9D-AB90B2CCC3F6}"/>
          </ac:spMkLst>
        </pc:spChg>
        <pc:spChg chg="add mod">
          <ac:chgData name="Antoine Dargier" userId="481a37f4-bfd0-4ed5-9683-451acf3f1d65" providerId="ADAL" clId="{C517225A-4E0E-4684-8E83-EC4ECB8D720A}" dt="2022-11-25T10:42:00.926" v="3463" actId="108"/>
          <ac:spMkLst>
            <pc:docMk/>
            <pc:sldMk cId="531656296" sldId="287"/>
            <ac:spMk id="9" creationId="{7CF6D3BC-46D6-0213-089A-95421F1A3ECA}"/>
          </ac:spMkLst>
        </pc:spChg>
        <pc:spChg chg="add mod">
          <ac:chgData name="Antoine Dargier" userId="481a37f4-bfd0-4ed5-9683-451acf3f1d65" providerId="ADAL" clId="{C517225A-4E0E-4684-8E83-EC4ECB8D720A}" dt="2022-11-25T10:42:26.255" v="3471" actId="404"/>
          <ac:spMkLst>
            <pc:docMk/>
            <pc:sldMk cId="531656296" sldId="287"/>
            <ac:spMk id="10" creationId="{21272C52-A7FB-B6EC-1FBF-0AAAABF03C30}"/>
          </ac:spMkLst>
        </pc:spChg>
        <pc:spChg chg="add mod">
          <ac:chgData name="Antoine Dargier" userId="481a37f4-bfd0-4ed5-9683-451acf3f1d65" providerId="ADAL" clId="{C517225A-4E0E-4684-8E83-EC4ECB8D720A}" dt="2022-11-25T10:42:26.255" v="3471" actId="404"/>
          <ac:spMkLst>
            <pc:docMk/>
            <pc:sldMk cId="531656296" sldId="287"/>
            <ac:spMk id="11" creationId="{BAF5A74C-B687-338A-FFAD-F7C83E58A1EA}"/>
          </ac:spMkLst>
        </pc:spChg>
        <pc:spChg chg="add mod">
          <ac:chgData name="Antoine Dargier" userId="481a37f4-bfd0-4ed5-9683-451acf3f1d65" providerId="ADAL" clId="{C517225A-4E0E-4684-8E83-EC4ECB8D720A}" dt="2022-11-25T10:42:26.255" v="3471" actId="404"/>
          <ac:spMkLst>
            <pc:docMk/>
            <pc:sldMk cId="531656296" sldId="287"/>
            <ac:spMk id="12" creationId="{F602A6B2-41C1-BBC8-DA28-E847873F9921}"/>
          </ac:spMkLst>
        </pc:spChg>
        <pc:spChg chg="add mod">
          <ac:chgData name="Antoine Dargier" userId="481a37f4-bfd0-4ed5-9683-451acf3f1d65" providerId="ADAL" clId="{C517225A-4E0E-4684-8E83-EC4ECB8D720A}" dt="2022-11-25T10:42:34.357" v="3472" actId="1076"/>
          <ac:spMkLst>
            <pc:docMk/>
            <pc:sldMk cId="531656296" sldId="287"/>
            <ac:spMk id="13" creationId="{9A9C69E8-19FB-F78C-A68D-D50DAD4015B6}"/>
          </ac:spMkLst>
        </pc:spChg>
        <pc:spChg chg="add mod ord">
          <ac:chgData name="Antoine Dargier" userId="481a37f4-bfd0-4ed5-9683-451acf3f1d65" providerId="ADAL" clId="{C517225A-4E0E-4684-8E83-EC4ECB8D720A}" dt="2022-11-23T15:53:21.596" v="2021" actId="167"/>
          <ac:spMkLst>
            <pc:docMk/>
            <pc:sldMk cId="531656296" sldId="287"/>
            <ac:spMk id="14" creationId="{392020EC-C1EA-0C0E-ACB2-73A5DE593A54}"/>
          </ac:spMkLst>
        </pc:spChg>
        <pc:spChg chg="add mod ord">
          <ac:chgData name="Antoine Dargier" userId="481a37f4-bfd0-4ed5-9683-451acf3f1d65" providerId="ADAL" clId="{C517225A-4E0E-4684-8E83-EC4ECB8D720A}" dt="2022-11-23T15:53:21.596" v="2021" actId="167"/>
          <ac:spMkLst>
            <pc:docMk/>
            <pc:sldMk cId="531656296" sldId="287"/>
            <ac:spMk id="15" creationId="{D7DE16B4-AAC7-6B37-BA32-09413E4929B1}"/>
          </ac:spMkLst>
        </pc:spChg>
        <pc:spChg chg="add mod">
          <ac:chgData name="Antoine Dargier" userId="481a37f4-bfd0-4ed5-9683-451acf3f1d65" providerId="ADAL" clId="{C517225A-4E0E-4684-8E83-EC4ECB8D720A}" dt="2022-11-25T10:16:20.050" v="3083" actId="20577"/>
          <ac:spMkLst>
            <pc:docMk/>
            <pc:sldMk cId="531656296" sldId="287"/>
            <ac:spMk id="16" creationId="{2B9B8881-9AB3-BF71-7A4A-0B688D80E9BF}"/>
          </ac:spMkLst>
        </pc:spChg>
        <pc:spChg chg="add del mod ord">
          <ac:chgData name="Antoine Dargier" userId="481a37f4-bfd0-4ed5-9683-451acf3f1d65" providerId="ADAL" clId="{C517225A-4E0E-4684-8E83-EC4ECB8D720A}" dt="2022-11-23T15:58:23.892" v="2055" actId="478"/>
          <ac:spMkLst>
            <pc:docMk/>
            <pc:sldMk cId="531656296" sldId="287"/>
            <ac:spMk id="17" creationId="{E962DA3E-8846-164D-F7A5-C4FD49F7D465}"/>
          </ac:spMkLst>
        </pc:spChg>
        <pc:spChg chg="add del mod ord">
          <ac:chgData name="Antoine Dargier" userId="481a37f4-bfd0-4ed5-9683-451acf3f1d65" providerId="ADAL" clId="{C517225A-4E0E-4684-8E83-EC4ECB8D720A}" dt="2022-11-23T15:58:29.438" v="2056" actId="478"/>
          <ac:spMkLst>
            <pc:docMk/>
            <pc:sldMk cId="531656296" sldId="287"/>
            <ac:spMk id="18" creationId="{A352CB16-2335-123B-D3FD-23B17A414A00}"/>
          </ac:spMkLst>
        </pc:spChg>
        <pc:spChg chg="add del mod ord">
          <ac:chgData name="Antoine Dargier" userId="481a37f4-bfd0-4ed5-9683-451acf3f1d65" providerId="ADAL" clId="{C517225A-4E0E-4684-8E83-EC4ECB8D720A}" dt="2022-11-23T15:59:08.848" v="2060" actId="478"/>
          <ac:spMkLst>
            <pc:docMk/>
            <pc:sldMk cId="531656296" sldId="287"/>
            <ac:spMk id="19" creationId="{3AFC5E74-3AB4-892C-5D0F-7C5F17F10F53}"/>
          </ac:spMkLst>
        </pc:spChg>
        <pc:graphicFrameChg chg="add del mod modGraphic">
          <ac:chgData name="Antoine Dargier" userId="481a37f4-bfd0-4ed5-9683-451acf3f1d65" providerId="ADAL" clId="{C517225A-4E0E-4684-8E83-EC4ECB8D720A}" dt="2022-11-23T15:13:24.087" v="1029" actId="478"/>
          <ac:graphicFrameMkLst>
            <pc:docMk/>
            <pc:sldMk cId="531656296" sldId="287"/>
            <ac:graphicFrameMk id="3" creationId="{A740BADE-C5F6-B344-A9C0-C5022298676B}"/>
          </ac:graphicFrameMkLst>
        </pc:graphicFrameChg>
        <pc:picChg chg="add del mod">
          <ac:chgData name="Antoine Dargier" userId="481a37f4-bfd0-4ed5-9683-451acf3f1d65" providerId="ADAL" clId="{C517225A-4E0E-4684-8E83-EC4ECB8D720A}" dt="2022-11-23T15:14:44.832" v="1049" actId="478"/>
          <ac:picMkLst>
            <pc:docMk/>
            <pc:sldMk cId="531656296" sldId="287"/>
            <ac:picMk id="6" creationId="{38018065-CCAD-6BD4-57FE-D1DFE716DD9B}"/>
          </ac:picMkLst>
        </pc:picChg>
      </pc:sldChg>
      <pc:sldChg chg="add del setBg">
        <pc:chgData name="Antoine Dargier" userId="481a37f4-bfd0-4ed5-9683-451acf3f1d65" providerId="ADAL" clId="{C517225A-4E0E-4684-8E83-EC4ECB8D720A}" dt="2022-11-23T15:58:40.619" v="2058" actId="47"/>
        <pc:sldMkLst>
          <pc:docMk/>
          <pc:sldMk cId="1891662960" sldId="292"/>
        </pc:sldMkLst>
      </pc:sldChg>
      <pc:sldChg chg="addSp delSp modSp add mod modClrScheme chgLayout">
        <pc:chgData name="Antoine Dargier" userId="481a37f4-bfd0-4ed5-9683-451acf3f1d65" providerId="ADAL" clId="{C517225A-4E0E-4684-8E83-EC4ECB8D720A}" dt="2022-11-25T10:39:58.098" v="3452" actId="1582"/>
        <pc:sldMkLst>
          <pc:docMk/>
          <pc:sldMk cId="2450467116" sldId="301"/>
        </pc:sldMkLst>
        <pc:spChg chg="mod ord">
          <ac:chgData name="Antoine Dargier" userId="481a37f4-bfd0-4ed5-9683-451acf3f1d65" providerId="ADAL" clId="{C517225A-4E0E-4684-8E83-EC4ECB8D720A}" dt="2022-11-24T23:10:03.425" v="2792" actId="1037"/>
          <ac:spMkLst>
            <pc:docMk/>
            <pc:sldMk cId="2450467116" sldId="301"/>
            <ac:spMk id="2" creationId="{2E7D7E47-8883-FFA1-6233-F06BB274F14C}"/>
          </ac:spMkLst>
        </pc:spChg>
        <pc:spChg chg="add mod">
          <ac:chgData name="Antoine Dargier" userId="481a37f4-bfd0-4ed5-9683-451acf3f1d65" providerId="ADAL" clId="{C517225A-4E0E-4684-8E83-EC4ECB8D720A}" dt="2022-11-25T10:38:43.791" v="3446" actId="1037"/>
          <ac:spMkLst>
            <pc:docMk/>
            <pc:sldMk cId="2450467116" sldId="301"/>
            <ac:spMk id="3" creationId="{8932CF8F-5064-71AF-8291-D80E22862808}"/>
          </ac:spMkLst>
        </pc:spChg>
        <pc:spChg chg="add mod">
          <ac:chgData name="Antoine Dargier" userId="481a37f4-bfd0-4ed5-9683-451acf3f1d65" providerId="ADAL" clId="{C517225A-4E0E-4684-8E83-EC4ECB8D720A}" dt="2022-11-25T10:39:58.098" v="3452" actId="1582"/>
          <ac:spMkLst>
            <pc:docMk/>
            <pc:sldMk cId="2450467116" sldId="301"/>
            <ac:spMk id="4" creationId="{ED479B46-0F3B-383C-1012-4D6CBB0BF7A6}"/>
          </ac:spMkLst>
        </pc:spChg>
        <pc:spChg chg="add del mod">
          <ac:chgData name="Antoine Dargier" userId="481a37f4-bfd0-4ed5-9683-451acf3f1d65" providerId="ADAL" clId="{C517225A-4E0E-4684-8E83-EC4ECB8D720A}" dt="2022-11-24T23:03:57.768" v="2398"/>
          <ac:spMkLst>
            <pc:docMk/>
            <pc:sldMk cId="2450467116" sldId="301"/>
            <ac:spMk id="8" creationId="{892C17D1-2217-7FFB-0CFF-A7E0A25E88D3}"/>
          </ac:spMkLst>
        </pc:spChg>
        <pc:spChg chg="add mod">
          <ac:chgData name="Antoine Dargier" userId="481a37f4-bfd0-4ed5-9683-451acf3f1d65" providerId="ADAL" clId="{C517225A-4E0E-4684-8E83-EC4ECB8D720A}" dt="2022-11-24T23:09:29.250" v="2764" actId="1035"/>
          <ac:spMkLst>
            <pc:docMk/>
            <pc:sldMk cId="2450467116" sldId="301"/>
            <ac:spMk id="9" creationId="{1E2445DA-DEBD-FCB1-86C7-0FCDF1F8FE03}"/>
          </ac:spMkLst>
        </pc:spChg>
        <pc:spChg chg="add mod">
          <ac:chgData name="Antoine Dargier" userId="481a37f4-bfd0-4ed5-9683-451acf3f1d65" providerId="ADAL" clId="{C517225A-4E0E-4684-8E83-EC4ECB8D720A}" dt="2022-11-25T10:12:53.949" v="2962" actId="20577"/>
          <ac:spMkLst>
            <pc:docMk/>
            <pc:sldMk cId="2450467116" sldId="301"/>
            <ac:spMk id="10" creationId="{FF47B496-FA68-C249-3BDC-3C4D78EF86EB}"/>
          </ac:spMkLst>
        </pc:spChg>
        <pc:spChg chg="add mod">
          <ac:chgData name="Antoine Dargier" userId="481a37f4-bfd0-4ed5-9683-451acf3f1d65" providerId="ADAL" clId="{C517225A-4E0E-4684-8E83-EC4ECB8D720A}" dt="2022-11-24T23:11:18.924" v="2798" actId="1076"/>
          <ac:spMkLst>
            <pc:docMk/>
            <pc:sldMk cId="2450467116" sldId="301"/>
            <ac:spMk id="13" creationId="{240DFE70-FBF4-C274-9AB9-8F039F955E9F}"/>
          </ac:spMkLst>
        </pc:spChg>
        <pc:spChg chg="add mod">
          <ac:chgData name="Antoine Dargier" userId="481a37f4-bfd0-4ed5-9683-451acf3f1d65" providerId="ADAL" clId="{C517225A-4E0E-4684-8E83-EC4ECB8D720A}" dt="2022-11-24T23:11:58.190" v="2838" actId="1076"/>
          <ac:spMkLst>
            <pc:docMk/>
            <pc:sldMk cId="2450467116" sldId="301"/>
            <ac:spMk id="14" creationId="{C9AF8FF5-7132-3342-96EE-BD5F1D29F7DA}"/>
          </ac:spMkLst>
        </pc:spChg>
        <pc:spChg chg="add mod">
          <ac:chgData name="Antoine Dargier" userId="481a37f4-bfd0-4ed5-9683-451acf3f1d65" providerId="ADAL" clId="{C517225A-4E0E-4684-8E83-EC4ECB8D720A}" dt="2022-11-25T10:19:54.813" v="3091" actId="20577"/>
          <ac:spMkLst>
            <pc:docMk/>
            <pc:sldMk cId="2450467116" sldId="301"/>
            <ac:spMk id="15" creationId="{8A245215-CFB3-28B3-CCD8-0B7C599E8A88}"/>
          </ac:spMkLst>
        </pc:spChg>
        <pc:spChg chg="add mod">
          <ac:chgData name="Antoine Dargier" userId="481a37f4-bfd0-4ed5-9683-451acf3f1d65" providerId="ADAL" clId="{C517225A-4E0E-4684-8E83-EC4ECB8D720A}" dt="2022-11-24T23:14:41" v="2956" actId="1035"/>
          <ac:spMkLst>
            <pc:docMk/>
            <pc:sldMk cId="2450467116" sldId="301"/>
            <ac:spMk id="16" creationId="{AA047201-1E45-435E-46EB-48F6FEA1E631}"/>
          </ac:spMkLst>
        </pc:spChg>
        <pc:graphicFrameChg chg="del">
          <ac:chgData name="Antoine Dargier" userId="481a37f4-bfd0-4ed5-9683-451acf3f1d65" providerId="ADAL" clId="{C517225A-4E0E-4684-8E83-EC4ECB8D720A}" dt="2022-11-24T23:02:54.645" v="2389" actId="478"/>
          <ac:graphicFrameMkLst>
            <pc:docMk/>
            <pc:sldMk cId="2450467116" sldId="301"/>
            <ac:graphicFrameMk id="4" creationId="{E643BE91-C4F2-C582-1097-D381AA0BE329}"/>
          </ac:graphicFrameMkLst>
        </pc:graphicFrameChg>
        <pc:picChg chg="add mod">
          <ac:chgData name="Antoine Dargier" userId="481a37f4-bfd0-4ed5-9683-451acf3f1d65" providerId="ADAL" clId="{C517225A-4E0E-4684-8E83-EC4ECB8D720A}" dt="2022-11-24T23:09:29.250" v="2764" actId="1035"/>
          <ac:picMkLst>
            <pc:docMk/>
            <pc:sldMk cId="2450467116" sldId="301"/>
            <ac:picMk id="5" creationId="{18BF6404-4F2F-DAE1-5842-B9D8550B43EF}"/>
          </ac:picMkLst>
        </pc:picChg>
        <pc:picChg chg="add mod">
          <ac:chgData name="Antoine Dargier" userId="481a37f4-bfd0-4ed5-9683-451acf3f1d65" providerId="ADAL" clId="{C517225A-4E0E-4684-8E83-EC4ECB8D720A}" dt="2022-11-24T23:09:29.250" v="2764" actId="1035"/>
          <ac:picMkLst>
            <pc:docMk/>
            <pc:sldMk cId="2450467116" sldId="301"/>
            <ac:picMk id="7" creationId="{0D95C813-7E29-9985-7206-563EDCD1F2B6}"/>
          </ac:picMkLst>
        </pc:picChg>
        <pc:picChg chg="add mod modCrop">
          <ac:chgData name="Antoine Dargier" userId="481a37f4-bfd0-4ed5-9683-451acf3f1d65" providerId="ADAL" clId="{C517225A-4E0E-4684-8E83-EC4ECB8D720A}" dt="2022-11-24T23:09:29.250" v="2764" actId="1035"/>
          <ac:picMkLst>
            <pc:docMk/>
            <pc:sldMk cId="2450467116" sldId="301"/>
            <ac:picMk id="12" creationId="{CF9ABE79-F5D3-09BB-4CA4-DEDD94C1B391}"/>
          </ac:picMkLst>
        </pc:picChg>
      </pc:sldChg>
    </pc:docChg>
  </pc:docChgLst>
  <pc:docChgLst>
    <pc:chgData name="Aurore Demoulin (Student at CentraleSupelec)" userId="8586c54a-e12e-4ea3-9b65-4428e4302b50" providerId="ADAL" clId="{E5297846-AE51-4E76-84E4-EFBB3AC64802}"/>
    <pc:docChg chg="undo redo custSel addSld delSld modSld sldOrd addSection modSection">
      <pc:chgData name="Aurore Demoulin (Student at CentraleSupelec)" userId="8586c54a-e12e-4ea3-9b65-4428e4302b50" providerId="ADAL" clId="{E5297846-AE51-4E76-84E4-EFBB3AC64802}" dt="2022-12-01T15:56:44.996" v="11812" actId="47"/>
      <pc:docMkLst>
        <pc:docMk/>
      </pc:docMkLst>
      <pc:sldChg chg="addSp delSp modSp add mod ord">
        <pc:chgData name="Aurore Demoulin (Student at CentraleSupelec)" userId="8586c54a-e12e-4ea3-9b65-4428e4302b50" providerId="ADAL" clId="{E5297846-AE51-4E76-84E4-EFBB3AC64802}" dt="2022-11-30T09:18:03.143" v="7625" actId="1035"/>
        <pc:sldMkLst>
          <pc:docMk/>
          <pc:sldMk cId="0" sldId="258"/>
        </pc:sldMkLst>
        <pc:spChg chg="mod">
          <ac:chgData name="Aurore Demoulin (Student at CentraleSupelec)" userId="8586c54a-e12e-4ea3-9b65-4428e4302b50" providerId="ADAL" clId="{E5297846-AE51-4E76-84E4-EFBB3AC64802}" dt="2022-11-22T14:15:36.411" v="1498" actId="1076"/>
          <ac:spMkLst>
            <pc:docMk/>
            <pc:sldMk cId="0" sldId="258"/>
            <ac:spMk id="5" creationId="{00000000-0000-0000-0000-000000000000}"/>
          </ac:spMkLst>
        </pc:spChg>
        <pc:spChg chg="mod">
          <ac:chgData name="Aurore Demoulin (Student at CentraleSupelec)" userId="8586c54a-e12e-4ea3-9b65-4428e4302b50" providerId="ADAL" clId="{E5297846-AE51-4E76-84E4-EFBB3AC64802}" dt="2022-11-30T09:17:27.488" v="7616" actId="1076"/>
          <ac:spMkLst>
            <pc:docMk/>
            <pc:sldMk cId="0" sldId="258"/>
            <ac:spMk id="6" creationId="{00000000-0000-0000-0000-000000000000}"/>
          </ac:spMkLst>
        </pc:spChg>
        <pc:spChg chg="del mod">
          <ac:chgData name="Aurore Demoulin (Student at CentraleSupelec)" userId="8586c54a-e12e-4ea3-9b65-4428e4302b50" providerId="ADAL" clId="{E5297846-AE51-4E76-84E4-EFBB3AC64802}" dt="2022-11-22T13:48:41.409" v="340" actId="478"/>
          <ac:spMkLst>
            <pc:docMk/>
            <pc:sldMk cId="0" sldId="258"/>
            <ac:spMk id="7" creationId="{00000000-0000-0000-0000-000000000000}"/>
          </ac:spMkLst>
        </pc:spChg>
        <pc:spChg chg="mod">
          <ac:chgData name="Aurore Demoulin (Student at CentraleSupelec)" userId="8586c54a-e12e-4ea3-9b65-4428e4302b50" providerId="ADAL" clId="{E5297846-AE51-4E76-84E4-EFBB3AC64802}" dt="2022-11-30T09:17:34.608" v="7617"/>
          <ac:spMkLst>
            <pc:docMk/>
            <pc:sldMk cId="0" sldId="258"/>
            <ac:spMk id="13" creationId="{D17B9C01-432A-B3EB-927A-D5FE176CEB55}"/>
          </ac:spMkLst>
        </pc:spChg>
        <pc:spChg chg="mod">
          <ac:chgData name="Aurore Demoulin (Student at CentraleSupelec)" userId="8586c54a-e12e-4ea3-9b65-4428e4302b50" providerId="ADAL" clId="{E5297846-AE51-4E76-84E4-EFBB3AC64802}" dt="2022-11-30T09:17:34.608" v="7617"/>
          <ac:spMkLst>
            <pc:docMk/>
            <pc:sldMk cId="0" sldId="258"/>
            <ac:spMk id="14" creationId="{785FAE59-9180-8072-59D0-DD8E584CA342}"/>
          </ac:spMkLst>
        </pc:spChg>
        <pc:spChg chg="add del mod">
          <ac:chgData name="Aurore Demoulin (Student at CentraleSupelec)" userId="8586c54a-e12e-4ea3-9b65-4428e4302b50" providerId="ADAL" clId="{E5297846-AE51-4E76-84E4-EFBB3AC64802}" dt="2022-11-22T13:48:44.441" v="341" actId="478"/>
          <ac:spMkLst>
            <pc:docMk/>
            <pc:sldMk cId="0" sldId="258"/>
            <ac:spMk id="14" creationId="{AA8B5092-5B52-BBF1-DC03-F2D72EB2210D}"/>
          </ac:spMkLst>
        </pc:spChg>
        <pc:spChg chg="mod">
          <ac:chgData name="Aurore Demoulin (Student at CentraleSupelec)" userId="8586c54a-e12e-4ea3-9b65-4428e4302b50" providerId="ADAL" clId="{E5297846-AE51-4E76-84E4-EFBB3AC64802}" dt="2022-11-22T13:48:56.915" v="344"/>
          <ac:spMkLst>
            <pc:docMk/>
            <pc:sldMk cId="0" sldId="258"/>
            <ac:spMk id="16" creationId="{C47E1406-A474-BB5C-6E20-F0006944AAA3}"/>
          </ac:spMkLst>
        </pc:spChg>
        <pc:spChg chg="mod">
          <ac:chgData name="Aurore Demoulin (Student at CentraleSupelec)" userId="8586c54a-e12e-4ea3-9b65-4428e4302b50" providerId="ADAL" clId="{E5297846-AE51-4E76-84E4-EFBB3AC64802}" dt="2022-11-22T13:48:56.915" v="344"/>
          <ac:spMkLst>
            <pc:docMk/>
            <pc:sldMk cId="0" sldId="258"/>
            <ac:spMk id="17" creationId="{6F5AAB19-3407-8ABE-1560-68326595A26B}"/>
          </ac:spMkLst>
        </pc:spChg>
        <pc:spChg chg="mod">
          <ac:chgData name="Aurore Demoulin (Student at CentraleSupelec)" userId="8586c54a-e12e-4ea3-9b65-4428e4302b50" providerId="ADAL" clId="{E5297846-AE51-4E76-84E4-EFBB3AC64802}" dt="2022-11-22T13:49:04.348" v="346"/>
          <ac:spMkLst>
            <pc:docMk/>
            <pc:sldMk cId="0" sldId="258"/>
            <ac:spMk id="20" creationId="{A3F3E641-C772-42D6-B83A-034E41F504F2}"/>
          </ac:spMkLst>
        </pc:spChg>
        <pc:spChg chg="mod">
          <ac:chgData name="Aurore Demoulin (Student at CentraleSupelec)" userId="8586c54a-e12e-4ea3-9b65-4428e4302b50" providerId="ADAL" clId="{E5297846-AE51-4E76-84E4-EFBB3AC64802}" dt="2022-11-22T13:49:04.348" v="346"/>
          <ac:spMkLst>
            <pc:docMk/>
            <pc:sldMk cId="0" sldId="258"/>
            <ac:spMk id="21" creationId="{1FDD9014-8D4B-2F8F-50F1-161DDF0C7737}"/>
          </ac:spMkLst>
        </pc:spChg>
        <pc:spChg chg="mod">
          <ac:chgData name="Aurore Demoulin (Student at CentraleSupelec)" userId="8586c54a-e12e-4ea3-9b65-4428e4302b50" providerId="ADAL" clId="{E5297846-AE51-4E76-84E4-EFBB3AC64802}" dt="2022-11-22T13:49:11.196" v="348"/>
          <ac:spMkLst>
            <pc:docMk/>
            <pc:sldMk cId="0" sldId="258"/>
            <ac:spMk id="24" creationId="{23C4EAA1-3F0E-4A15-804C-9563154E7F43}"/>
          </ac:spMkLst>
        </pc:spChg>
        <pc:spChg chg="mod">
          <ac:chgData name="Aurore Demoulin (Student at CentraleSupelec)" userId="8586c54a-e12e-4ea3-9b65-4428e4302b50" providerId="ADAL" clId="{E5297846-AE51-4E76-84E4-EFBB3AC64802}" dt="2022-11-22T13:49:11.196" v="348"/>
          <ac:spMkLst>
            <pc:docMk/>
            <pc:sldMk cId="0" sldId="258"/>
            <ac:spMk id="25" creationId="{C454D0B8-1E44-EB64-74C3-34288D77DCD2}"/>
          </ac:spMkLst>
        </pc:spChg>
        <pc:spChg chg="mod">
          <ac:chgData name="Aurore Demoulin (Student at CentraleSupelec)" userId="8586c54a-e12e-4ea3-9b65-4428e4302b50" providerId="ADAL" clId="{E5297846-AE51-4E76-84E4-EFBB3AC64802}" dt="2022-11-22T13:49:19.410" v="350"/>
          <ac:spMkLst>
            <pc:docMk/>
            <pc:sldMk cId="0" sldId="258"/>
            <ac:spMk id="28" creationId="{1B374684-90E0-0A0F-5E91-CAD264698B4D}"/>
          </ac:spMkLst>
        </pc:spChg>
        <pc:spChg chg="mod">
          <ac:chgData name="Aurore Demoulin (Student at CentraleSupelec)" userId="8586c54a-e12e-4ea3-9b65-4428e4302b50" providerId="ADAL" clId="{E5297846-AE51-4E76-84E4-EFBB3AC64802}" dt="2022-11-22T13:49:19.410" v="350"/>
          <ac:spMkLst>
            <pc:docMk/>
            <pc:sldMk cId="0" sldId="258"/>
            <ac:spMk id="29" creationId="{87A47ACE-7FD7-789D-F525-9751A5414AE5}"/>
          </ac:spMkLst>
        </pc:spChg>
        <pc:spChg chg="mod">
          <ac:chgData name="Aurore Demoulin (Student at CentraleSupelec)" userId="8586c54a-e12e-4ea3-9b65-4428e4302b50" providerId="ADAL" clId="{E5297846-AE51-4E76-84E4-EFBB3AC64802}" dt="2022-11-30T09:17:34.608" v="7617"/>
          <ac:spMkLst>
            <pc:docMk/>
            <pc:sldMk cId="0" sldId="258"/>
            <ac:spMk id="33" creationId="{C830CA6D-6C50-B520-39CE-0CC79DB4A4CC}"/>
          </ac:spMkLst>
        </pc:spChg>
        <pc:spChg chg="mod">
          <ac:chgData name="Aurore Demoulin (Student at CentraleSupelec)" userId="8586c54a-e12e-4ea3-9b65-4428e4302b50" providerId="ADAL" clId="{E5297846-AE51-4E76-84E4-EFBB3AC64802}" dt="2022-11-30T09:17:34.608" v="7617"/>
          <ac:spMkLst>
            <pc:docMk/>
            <pc:sldMk cId="0" sldId="258"/>
            <ac:spMk id="34" creationId="{D6B2972B-89D4-9A36-9917-697282ED6BA5}"/>
          </ac:spMkLst>
        </pc:spChg>
        <pc:grpChg chg="add mod">
          <ac:chgData name="Aurore Demoulin (Student at CentraleSupelec)" userId="8586c54a-e12e-4ea3-9b65-4428e4302b50" providerId="ADAL" clId="{E5297846-AE51-4E76-84E4-EFBB3AC64802}" dt="2022-11-30T09:17:46.850" v="7618" actId="1076"/>
          <ac:grpSpMkLst>
            <pc:docMk/>
            <pc:sldMk cId="0" sldId="258"/>
            <ac:grpSpMk id="7" creationId="{704482DC-3657-36F1-6715-AB35E78CD0A3}"/>
          </ac:grpSpMkLst>
        </pc:grpChg>
        <pc:grpChg chg="mod">
          <ac:chgData name="Aurore Demoulin (Student at CentraleSupelec)" userId="8586c54a-e12e-4ea3-9b65-4428e4302b50" providerId="ADAL" clId="{E5297846-AE51-4E76-84E4-EFBB3AC64802}" dt="2022-11-22T13:54:40.007" v="579" actId="1076"/>
          <ac:grpSpMkLst>
            <pc:docMk/>
            <pc:sldMk cId="0" sldId="258"/>
            <ac:grpSpMk id="8" creationId="{00000000-0000-0000-0000-000000000000}"/>
          </ac:grpSpMkLst>
        </pc:grpChg>
        <pc:grpChg chg="add mod">
          <ac:chgData name="Aurore Demoulin (Student at CentraleSupelec)" userId="8586c54a-e12e-4ea3-9b65-4428e4302b50" providerId="ADAL" clId="{E5297846-AE51-4E76-84E4-EFBB3AC64802}" dt="2022-11-22T13:54:48.003" v="580" actId="1076"/>
          <ac:grpSpMkLst>
            <pc:docMk/>
            <pc:sldMk cId="0" sldId="258"/>
            <ac:grpSpMk id="15" creationId="{D835FFA2-6A7B-A46F-1720-297DCB2BDE3A}"/>
          </ac:grpSpMkLst>
        </pc:grpChg>
        <pc:grpChg chg="add del mod">
          <ac:chgData name="Aurore Demoulin (Student at CentraleSupelec)" userId="8586c54a-e12e-4ea3-9b65-4428e4302b50" providerId="ADAL" clId="{E5297846-AE51-4E76-84E4-EFBB3AC64802}" dt="2022-11-30T09:17:57.914" v="7620" actId="478"/>
          <ac:grpSpMkLst>
            <pc:docMk/>
            <pc:sldMk cId="0" sldId="258"/>
            <ac:grpSpMk id="19" creationId="{E9107C90-DFAE-5999-84DA-915E410202CA}"/>
          </ac:grpSpMkLst>
        </pc:grpChg>
        <pc:grpChg chg="add mod">
          <ac:chgData name="Aurore Demoulin (Student at CentraleSupelec)" userId="8586c54a-e12e-4ea3-9b65-4428e4302b50" providerId="ADAL" clId="{E5297846-AE51-4E76-84E4-EFBB3AC64802}" dt="2022-11-30T09:18:03.143" v="7625" actId="1035"/>
          <ac:grpSpMkLst>
            <pc:docMk/>
            <pc:sldMk cId="0" sldId="258"/>
            <ac:grpSpMk id="23" creationId="{4492E367-D2C8-F366-4391-00DF1CDC19B2}"/>
          </ac:grpSpMkLst>
        </pc:grpChg>
        <pc:grpChg chg="add mod">
          <ac:chgData name="Aurore Demoulin (Student at CentraleSupelec)" userId="8586c54a-e12e-4ea3-9b65-4428e4302b50" providerId="ADAL" clId="{E5297846-AE51-4E76-84E4-EFBB3AC64802}" dt="2022-11-22T13:49:27.866" v="351" actId="1076"/>
          <ac:grpSpMkLst>
            <pc:docMk/>
            <pc:sldMk cId="0" sldId="258"/>
            <ac:grpSpMk id="27" creationId="{6C13903A-411A-563E-9072-763FA3B1134E}"/>
          </ac:grpSpMkLst>
        </pc:grpChg>
        <pc:grpChg chg="add mod">
          <ac:chgData name="Aurore Demoulin (Student at CentraleSupelec)" userId="8586c54a-e12e-4ea3-9b65-4428e4302b50" providerId="ADAL" clId="{E5297846-AE51-4E76-84E4-EFBB3AC64802}" dt="2022-11-30T09:17:46.850" v="7618" actId="1076"/>
          <ac:grpSpMkLst>
            <pc:docMk/>
            <pc:sldMk cId="0" sldId="258"/>
            <ac:grpSpMk id="32" creationId="{2FCEB92B-3389-0641-F1D5-6C6252ED2CD3}"/>
          </ac:grpSpMkLst>
        </pc:grpChg>
        <pc:picChg chg="mod">
          <ac:chgData name="Aurore Demoulin (Student at CentraleSupelec)" userId="8586c54a-e12e-4ea3-9b65-4428e4302b50" providerId="ADAL" clId="{E5297846-AE51-4E76-84E4-EFBB3AC64802}" dt="2022-11-22T13:48:56.915" v="344"/>
          <ac:picMkLst>
            <pc:docMk/>
            <pc:sldMk cId="0" sldId="258"/>
            <ac:picMk id="18" creationId="{79CF33A5-F048-4190-28BC-C8A443AA11E6}"/>
          </ac:picMkLst>
        </pc:picChg>
        <pc:picChg chg="mod">
          <ac:chgData name="Aurore Demoulin (Student at CentraleSupelec)" userId="8586c54a-e12e-4ea3-9b65-4428e4302b50" providerId="ADAL" clId="{E5297846-AE51-4E76-84E4-EFBB3AC64802}" dt="2022-11-22T13:49:04.348" v="346"/>
          <ac:picMkLst>
            <pc:docMk/>
            <pc:sldMk cId="0" sldId="258"/>
            <ac:picMk id="22" creationId="{8C46E40C-9A2F-9CD8-731F-27CACF7FAE88}"/>
          </ac:picMkLst>
        </pc:picChg>
        <pc:picChg chg="mod">
          <ac:chgData name="Aurore Demoulin (Student at CentraleSupelec)" userId="8586c54a-e12e-4ea3-9b65-4428e4302b50" providerId="ADAL" clId="{E5297846-AE51-4E76-84E4-EFBB3AC64802}" dt="2022-11-22T13:49:11.196" v="348"/>
          <ac:picMkLst>
            <pc:docMk/>
            <pc:sldMk cId="0" sldId="258"/>
            <ac:picMk id="26" creationId="{42AD9AE9-C533-C548-DC0C-A46F136942F4}"/>
          </ac:picMkLst>
        </pc:picChg>
        <pc:picChg chg="mod">
          <ac:chgData name="Aurore Demoulin (Student at CentraleSupelec)" userId="8586c54a-e12e-4ea3-9b65-4428e4302b50" providerId="ADAL" clId="{E5297846-AE51-4E76-84E4-EFBB3AC64802}" dt="2022-11-22T13:49:19.410" v="350"/>
          <ac:picMkLst>
            <pc:docMk/>
            <pc:sldMk cId="0" sldId="258"/>
            <ac:picMk id="30" creationId="{0C7429AF-5FA7-6439-C0CC-EF27DB97D352}"/>
          </ac:picMkLst>
        </pc:picChg>
        <pc:picChg chg="mod">
          <ac:chgData name="Aurore Demoulin (Student at CentraleSupelec)" userId="8586c54a-e12e-4ea3-9b65-4428e4302b50" providerId="ADAL" clId="{E5297846-AE51-4E76-84E4-EFBB3AC64802}" dt="2022-11-30T09:17:34.608" v="7617"/>
          <ac:picMkLst>
            <pc:docMk/>
            <pc:sldMk cId="0" sldId="258"/>
            <ac:picMk id="31" creationId="{529E595A-B0B0-A907-C529-D81D315E68A8}"/>
          </ac:picMkLst>
        </pc:picChg>
        <pc:picChg chg="mod">
          <ac:chgData name="Aurore Demoulin (Student at CentraleSupelec)" userId="8586c54a-e12e-4ea3-9b65-4428e4302b50" providerId="ADAL" clId="{E5297846-AE51-4E76-84E4-EFBB3AC64802}" dt="2022-11-30T09:17:34.608" v="7617"/>
          <ac:picMkLst>
            <pc:docMk/>
            <pc:sldMk cId="0" sldId="258"/>
            <ac:picMk id="35" creationId="{AD2EDEA9-7814-CF10-3830-04A92DD68685}"/>
          </ac:picMkLst>
        </pc:picChg>
      </pc:sldChg>
      <pc:sldChg chg="delSp modSp add mod setBg">
        <pc:chgData name="Aurore Demoulin (Student at CentraleSupelec)" userId="8586c54a-e12e-4ea3-9b65-4428e4302b50" providerId="ADAL" clId="{E5297846-AE51-4E76-84E4-EFBB3AC64802}" dt="2022-11-22T14:16:00.998" v="1517" actId="478"/>
        <pc:sldMkLst>
          <pc:docMk/>
          <pc:sldMk cId="0" sldId="259"/>
        </pc:sldMkLst>
        <pc:spChg chg="mod">
          <ac:chgData name="Aurore Demoulin (Student at CentraleSupelec)" userId="8586c54a-e12e-4ea3-9b65-4428e4302b50" providerId="ADAL" clId="{E5297846-AE51-4E76-84E4-EFBB3AC64802}" dt="2022-11-22T13:57:08.052" v="630" actId="20577"/>
          <ac:spMkLst>
            <pc:docMk/>
            <pc:sldMk cId="0" sldId="259"/>
            <ac:spMk id="2" creationId="{00000000-0000-0000-0000-000000000000}"/>
          </ac:spMkLst>
        </pc:spChg>
        <pc:spChg chg="del">
          <ac:chgData name="Aurore Demoulin (Student at CentraleSupelec)" userId="8586c54a-e12e-4ea3-9b65-4428e4302b50" providerId="ADAL" clId="{E5297846-AE51-4E76-84E4-EFBB3AC64802}" dt="2022-11-22T13:57:18.694" v="631" actId="478"/>
          <ac:spMkLst>
            <pc:docMk/>
            <pc:sldMk cId="0" sldId="259"/>
            <ac:spMk id="3" creationId="{00000000-0000-0000-0000-000000000000}"/>
          </ac:spMkLst>
        </pc:spChg>
        <pc:spChg chg="del">
          <ac:chgData name="Aurore Demoulin (Student at CentraleSupelec)" userId="8586c54a-e12e-4ea3-9b65-4428e4302b50" providerId="ADAL" clId="{E5297846-AE51-4E76-84E4-EFBB3AC64802}" dt="2022-11-22T13:57:18.694" v="631" actId="478"/>
          <ac:spMkLst>
            <pc:docMk/>
            <pc:sldMk cId="0" sldId="259"/>
            <ac:spMk id="5" creationId="{00000000-0000-0000-0000-000000000000}"/>
          </ac:spMkLst>
        </pc:spChg>
        <pc:spChg chg="del">
          <ac:chgData name="Aurore Demoulin (Student at CentraleSupelec)" userId="8586c54a-e12e-4ea3-9b65-4428e4302b50" providerId="ADAL" clId="{E5297846-AE51-4E76-84E4-EFBB3AC64802}" dt="2022-11-22T13:57:18.694" v="631" actId="478"/>
          <ac:spMkLst>
            <pc:docMk/>
            <pc:sldMk cId="0" sldId="259"/>
            <ac:spMk id="17" creationId="{00000000-0000-0000-0000-000000000000}"/>
          </ac:spMkLst>
        </pc:spChg>
        <pc:spChg chg="del">
          <ac:chgData name="Aurore Demoulin (Student at CentraleSupelec)" userId="8586c54a-e12e-4ea3-9b65-4428e4302b50" providerId="ADAL" clId="{E5297846-AE51-4E76-84E4-EFBB3AC64802}" dt="2022-11-22T13:57:18.694" v="631" actId="478"/>
          <ac:spMkLst>
            <pc:docMk/>
            <pc:sldMk cId="0" sldId="259"/>
            <ac:spMk id="18" creationId="{00000000-0000-0000-0000-000000000000}"/>
          </ac:spMkLst>
        </pc:spChg>
        <pc:spChg chg="del">
          <ac:chgData name="Aurore Demoulin (Student at CentraleSupelec)" userId="8586c54a-e12e-4ea3-9b65-4428e4302b50" providerId="ADAL" clId="{E5297846-AE51-4E76-84E4-EFBB3AC64802}" dt="2022-11-22T13:57:18.694" v="631" actId="478"/>
          <ac:spMkLst>
            <pc:docMk/>
            <pc:sldMk cId="0" sldId="259"/>
            <ac:spMk id="19" creationId="{00000000-0000-0000-0000-000000000000}"/>
          </ac:spMkLst>
        </pc:spChg>
        <pc:spChg chg="del">
          <ac:chgData name="Aurore Demoulin (Student at CentraleSupelec)" userId="8586c54a-e12e-4ea3-9b65-4428e4302b50" providerId="ADAL" clId="{E5297846-AE51-4E76-84E4-EFBB3AC64802}" dt="2022-11-22T13:57:18.694" v="631" actId="478"/>
          <ac:spMkLst>
            <pc:docMk/>
            <pc:sldMk cId="0" sldId="259"/>
            <ac:spMk id="20" creationId="{00000000-0000-0000-0000-000000000000}"/>
          </ac:spMkLst>
        </pc:spChg>
        <pc:spChg chg="del">
          <ac:chgData name="Aurore Demoulin (Student at CentraleSupelec)" userId="8586c54a-e12e-4ea3-9b65-4428e4302b50" providerId="ADAL" clId="{E5297846-AE51-4E76-84E4-EFBB3AC64802}" dt="2022-11-22T13:57:18.694" v="631" actId="478"/>
          <ac:spMkLst>
            <pc:docMk/>
            <pc:sldMk cId="0" sldId="259"/>
            <ac:spMk id="21" creationId="{00000000-0000-0000-0000-000000000000}"/>
          </ac:spMkLst>
        </pc:spChg>
        <pc:spChg chg="del mod">
          <ac:chgData name="Aurore Demoulin (Student at CentraleSupelec)" userId="8586c54a-e12e-4ea3-9b65-4428e4302b50" providerId="ADAL" clId="{E5297846-AE51-4E76-84E4-EFBB3AC64802}" dt="2022-11-22T14:16:00.998" v="1517" actId="478"/>
          <ac:spMkLst>
            <pc:docMk/>
            <pc:sldMk cId="0" sldId="259"/>
            <ac:spMk id="22" creationId="{00000000-0000-0000-0000-000000000000}"/>
          </ac:spMkLst>
        </pc:spChg>
        <pc:grpChg chg="del">
          <ac:chgData name="Aurore Demoulin (Student at CentraleSupelec)" userId="8586c54a-e12e-4ea3-9b65-4428e4302b50" providerId="ADAL" clId="{E5297846-AE51-4E76-84E4-EFBB3AC64802}" dt="2022-11-22T13:57:18.694" v="631" actId="478"/>
          <ac:grpSpMkLst>
            <pc:docMk/>
            <pc:sldMk cId="0" sldId="259"/>
            <ac:grpSpMk id="10" creationId="{00000000-0000-0000-0000-000000000000}"/>
          </ac:grpSpMkLst>
        </pc:grpChg>
        <pc:picChg chg="del">
          <ac:chgData name="Aurore Demoulin (Student at CentraleSupelec)" userId="8586c54a-e12e-4ea3-9b65-4428e4302b50" providerId="ADAL" clId="{E5297846-AE51-4E76-84E4-EFBB3AC64802}" dt="2022-11-22T13:57:18.694" v="631" actId="478"/>
          <ac:picMkLst>
            <pc:docMk/>
            <pc:sldMk cId="0" sldId="259"/>
            <ac:picMk id="4" creationId="{00000000-0000-0000-0000-000000000000}"/>
          </ac:picMkLst>
        </pc:picChg>
        <pc:picChg chg="del">
          <ac:chgData name="Aurore Demoulin (Student at CentraleSupelec)" userId="8586c54a-e12e-4ea3-9b65-4428e4302b50" providerId="ADAL" clId="{E5297846-AE51-4E76-84E4-EFBB3AC64802}" dt="2022-11-22T13:57:18.694" v="631" actId="478"/>
          <ac:picMkLst>
            <pc:docMk/>
            <pc:sldMk cId="0" sldId="259"/>
            <ac:picMk id="6" creationId="{00000000-0000-0000-0000-000000000000}"/>
          </ac:picMkLst>
        </pc:picChg>
        <pc:picChg chg="del">
          <ac:chgData name="Aurore Demoulin (Student at CentraleSupelec)" userId="8586c54a-e12e-4ea3-9b65-4428e4302b50" providerId="ADAL" clId="{E5297846-AE51-4E76-84E4-EFBB3AC64802}" dt="2022-11-22T13:57:18.694" v="631" actId="478"/>
          <ac:picMkLst>
            <pc:docMk/>
            <pc:sldMk cId="0" sldId="259"/>
            <ac:picMk id="7" creationId="{00000000-0000-0000-0000-000000000000}"/>
          </ac:picMkLst>
        </pc:picChg>
        <pc:picChg chg="del">
          <ac:chgData name="Aurore Demoulin (Student at CentraleSupelec)" userId="8586c54a-e12e-4ea3-9b65-4428e4302b50" providerId="ADAL" clId="{E5297846-AE51-4E76-84E4-EFBB3AC64802}" dt="2022-11-22T13:57:18.694" v="631" actId="478"/>
          <ac:picMkLst>
            <pc:docMk/>
            <pc:sldMk cId="0" sldId="259"/>
            <ac:picMk id="8" creationId="{00000000-0000-0000-0000-000000000000}"/>
          </ac:picMkLst>
        </pc:picChg>
        <pc:picChg chg="del">
          <ac:chgData name="Aurore Demoulin (Student at CentraleSupelec)" userId="8586c54a-e12e-4ea3-9b65-4428e4302b50" providerId="ADAL" clId="{E5297846-AE51-4E76-84E4-EFBB3AC64802}" dt="2022-11-22T13:57:18.694" v="631" actId="478"/>
          <ac:picMkLst>
            <pc:docMk/>
            <pc:sldMk cId="0" sldId="259"/>
            <ac:picMk id="9" creationId="{00000000-0000-0000-0000-000000000000}"/>
          </ac:picMkLst>
        </pc:picChg>
      </pc:sldChg>
      <pc:sldChg chg="addSp delSp modSp add mod ord setBg modNotes">
        <pc:chgData name="Aurore Demoulin (Student at CentraleSupelec)" userId="8586c54a-e12e-4ea3-9b65-4428e4302b50" providerId="ADAL" clId="{E5297846-AE51-4E76-84E4-EFBB3AC64802}" dt="2022-11-23T15:54:54.755" v="3484"/>
        <pc:sldMkLst>
          <pc:docMk/>
          <pc:sldMk cId="0" sldId="260"/>
        </pc:sldMkLst>
        <pc:spChg chg="mod">
          <ac:chgData name="Aurore Demoulin (Student at CentraleSupelec)" userId="8586c54a-e12e-4ea3-9b65-4428e4302b50" providerId="ADAL" clId="{E5297846-AE51-4E76-84E4-EFBB3AC64802}" dt="2022-11-23T15:16:32.194" v="3078" actId="1076"/>
          <ac:spMkLst>
            <pc:docMk/>
            <pc:sldMk cId="0" sldId="260"/>
            <ac:spMk id="3" creationId="{00000000-0000-0000-0000-000000000000}"/>
          </ac:spMkLst>
        </pc:spChg>
        <pc:spChg chg="del">
          <ac:chgData name="Aurore Demoulin (Student at CentraleSupelec)" userId="8586c54a-e12e-4ea3-9b65-4428e4302b50" providerId="ADAL" clId="{E5297846-AE51-4E76-84E4-EFBB3AC64802}" dt="2022-11-23T14:36:35.930" v="2687" actId="478"/>
          <ac:spMkLst>
            <pc:docMk/>
            <pc:sldMk cId="0" sldId="260"/>
            <ac:spMk id="4" creationId="{00000000-0000-0000-0000-000000000000}"/>
          </ac:spMkLst>
        </pc:spChg>
        <pc:spChg chg="mod">
          <ac:chgData name="Aurore Demoulin (Student at CentraleSupelec)" userId="8586c54a-e12e-4ea3-9b65-4428e4302b50" providerId="ADAL" clId="{E5297846-AE51-4E76-84E4-EFBB3AC64802}" dt="2022-11-23T14:31:50.610" v="2652" actId="20577"/>
          <ac:spMkLst>
            <pc:docMk/>
            <pc:sldMk cId="0" sldId="260"/>
            <ac:spMk id="5" creationId="{00000000-0000-0000-0000-000000000000}"/>
          </ac:spMkLst>
        </pc:spChg>
        <pc:spChg chg="mod">
          <ac:chgData name="Aurore Demoulin (Student at CentraleSupelec)" userId="8586c54a-e12e-4ea3-9b65-4428e4302b50" providerId="ADAL" clId="{E5297846-AE51-4E76-84E4-EFBB3AC64802}" dt="2022-11-23T14:49:19.261" v="2906" actId="1076"/>
          <ac:spMkLst>
            <pc:docMk/>
            <pc:sldMk cId="0" sldId="260"/>
            <ac:spMk id="12" creationId="{00000000-0000-0000-0000-000000000000}"/>
          </ac:spMkLst>
        </pc:spChg>
        <pc:spChg chg="del mod">
          <ac:chgData name="Aurore Demoulin (Student at CentraleSupelec)" userId="8586c54a-e12e-4ea3-9b65-4428e4302b50" providerId="ADAL" clId="{E5297846-AE51-4E76-84E4-EFBB3AC64802}" dt="2022-11-23T14:42:32.661" v="2817" actId="478"/>
          <ac:spMkLst>
            <pc:docMk/>
            <pc:sldMk cId="0" sldId="260"/>
            <ac:spMk id="13" creationId="{00000000-0000-0000-0000-000000000000}"/>
          </ac:spMkLst>
        </pc:spChg>
        <pc:spChg chg="mod">
          <ac:chgData name="Aurore Demoulin (Student at CentraleSupelec)" userId="8586c54a-e12e-4ea3-9b65-4428e4302b50" providerId="ADAL" clId="{E5297846-AE51-4E76-84E4-EFBB3AC64802}" dt="2022-11-23T14:48:18.814" v="2886" actId="122"/>
          <ac:spMkLst>
            <pc:docMk/>
            <pc:sldMk cId="0" sldId="260"/>
            <ac:spMk id="19" creationId="{00000000-0000-0000-0000-000000000000}"/>
          </ac:spMkLst>
        </pc:spChg>
        <pc:spChg chg="mod">
          <ac:chgData name="Aurore Demoulin (Student at CentraleSupelec)" userId="8586c54a-e12e-4ea3-9b65-4428e4302b50" providerId="ADAL" clId="{E5297846-AE51-4E76-84E4-EFBB3AC64802}" dt="2022-11-23T14:49:56.618" v="2910" actId="1076"/>
          <ac:spMkLst>
            <pc:docMk/>
            <pc:sldMk cId="0" sldId="260"/>
            <ac:spMk id="20" creationId="{00000000-0000-0000-0000-000000000000}"/>
          </ac:spMkLst>
        </pc:spChg>
        <pc:spChg chg="mod">
          <ac:chgData name="Aurore Demoulin (Student at CentraleSupelec)" userId="8586c54a-e12e-4ea3-9b65-4428e4302b50" providerId="ADAL" clId="{E5297846-AE51-4E76-84E4-EFBB3AC64802}" dt="2022-11-23T15:16:14.963" v="3058" actId="5793"/>
          <ac:spMkLst>
            <pc:docMk/>
            <pc:sldMk cId="0" sldId="260"/>
            <ac:spMk id="26" creationId="{00000000-0000-0000-0000-000000000000}"/>
          </ac:spMkLst>
        </pc:spChg>
        <pc:spChg chg="del mod">
          <ac:chgData name="Aurore Demoulin (Student at CentraleSupelec)" userId="8586c54a-e12e-4ea3-9b65-4428e4302b50" providerId="ADAL" clId="{E5297846-AE51-4E76-84E4-EFBB3AC64802}" dt="2022-11-23T14:47:22.502" v="2876" actId="478"/>
          <ac:spMkLst>
            <pc:docMk/>
            <pc:sldMk cId="0" sldId="260"/>
            <ac:spMk id="27" creationId="{00000000-0000-0000-0000-000000000000}"/>
          </ac:spMkLst>
        </pc:spChg>
        <pc:spChg chg="mod">
          <ac:chgData name="Aurore Demoulin (Student at CentraleSupelec)" userId="8586c54a-e12e-4ea3-9b65-4428e4302b50" providerId="ADAL" clId="{E5297846-AE51-4E76-84E4-EFBB3AC64802}" dt="2022-11-23T15:16:47.022" v="3104" actId="20577"/>
          <ac:spMkLst>
            <pc:docMk/>
            <pc:sldMk cId="0" sldId="260"/>
            <ac:spMk id="32" creationId="{00000000-0000-0000-0000-000000000000}"/>
          </ac:spMkLst>
        </pc:spChg>
        <pc:spChg chg="mod">
          <ac:chgData name="Aurore Demoulin (Student at CentraleSupelec)" userId="8586c54a-e12e-4ea3-9b65-4428e4302b50" providerId="ADAL" clId="{E5297846-AE51-4E76-84E4-EFBB3AC64802}" dt="2022-11-23T15:12:58.038" v="3010" actId="14100"/>
          <ac:spMkLst>
            <pc:docMk/>
            <pc:sldMk cId="0" sldId="260"/>
            <ac:spMk id="33" creationId="{00000000-0000-0000-0000-000000000000}"/>
          </ac:spMkLst>
        </pc:spChg>
        <pc:spChg chg="mod">
          <ac:chgData name="Aurore Demoulin (Student at CentraleSupelec)" userId="8586c54a-e12e-4ea3-9b65-4428e4302b50" providerId="ADAL" clId="{E5297846-AE51-4E76-84E4-EFBB3AC64802}" dt="2022-11-23T14:50:37.847" v="2915" actId="1076"/>
          <ac:spMkLst>
            <pc:docMk/>
            <pc:sldMk cId="0" sldId="260"/>
            <ac:spMk id="34" creationId="{00000000-0000-0000-0000-000000000000}"/>
          </ac:spMkLst>
        </pc:spChg>
        <pc:spChg chg="add mod">
          <ac:chgData name="Aurore Demoulin (Student at CentraleSupelec)" userId="8586c54a-e12e-4ea3-9b65-4428e4302b50" providerId="ADAL" clId="{E5297846-AE51-4E76-84E4-EFBB3AC64802}" dt="2022-11-23T14:48:46.427" v="2890" actId="1076"/>
          <ac:spMkLst>
            <pc:docMk/>
            <pc:sldMk cId="0" sldId="260"/>
            <ac:spMk id="42" creationId="{26FFBD4C-0507-0C94-AF84-D1500A0F09BF}"/>
          </ac:spMkLst>
        </pc:spChg>
        <pc:spChg chg="add mod">
          <ac:chgData name="Aurore Demoulin (Student at CentraleSupelec)" userId="8586c54a-e12e-4ea3-9b65-4428e4302b50" providerId="ADAL" clId="{E5297846-AE51-4E76-84E4-EFBB3AC64802}" dt="2022-11-23T14:50:11.260" v="2911" actId="1076"/>
          <ac:spMkLst>
            <pc:docMk/>
            <pc:sldMk cId="0" sldId="260"/>
            <ac:spMk id="47" creationId="{58A6DE4E-B8D9-42B9-0D16-D381387ADCBF}"/>
          </ac:spMkLst>
        </pc:spChg>
        <pc:grpChg chg="del">
          <ac:chgData name="Aurore Demoulin (Student at CentraleSupelec)" userId="8586c54a-e12e-4ea3-9b65-4428e4302b50" providerId="ADAL" clId="{E5297846-AE51-4E76-84E4-EFBB3AC64802}" dt="2022-11-23T14:37:01.604" v="2694" actId="478"/>
          <ac:grpSpMkLst>
            <pc:docMk/>
            <pc:sldMk cId="0" sldId="260"/>
            <ac:grpSpMk id="6" creationId="{00000000-0000-0000-0000-000000000000}"/>
          </ac:grpSpMkLst>
        </pc:grpChg>
        <pc:grpChg chg="del">
          <ac:chgData name="Aurore Demoulin (Student at CentraleSupelec)" userId="8586c54a-e12e-4ea3-9b65-4428e4302b50" providerId="ADAL" clId="{E5297846-AE51-4E76-84E4-EFBB3AC64802}" dt="2022-11-23T14:43:17.404" v="2838" actId="478"/>
          <ac:grpSpMkLst>
            <pc:docMk/>
            <pc:sldMk cId="0" sldId="260"/>
            <ac:grpSpMk id="14" creationId="{00000000-0000-0000-0000-000000000000}"/>
          </ac:grpSpMkLst>
        </pc:grpChg>
        <pc:grpChg chg="del">
          <ac:chgData name="Aurore Demoulin (Student at CentraleSupelec)" userId="8586c54a-e12e-4ea3-9b65-4428e4302b50" providerId="ADAL" clId="{E5297846-AE51-4E76-84E4-EFBB3AC64802}" dt="2022-11-23T14:34:14.390" v="2653" actId="478"/>
          <ac:grpSpMkLst>
            <pc:docMk/>
            <pc:sldMk cId="0" sldId="260"/>
            <ac:grpSpMk id="21" creationId="{00000000-0000-0000-0000-000000000000}"/>
          </ac:grpSpMkLst>
        </pc:grpChg>
        <pc:grpChg chg="del">
          <ac:chgData name="Aurore Demoulin (Student at CentraleSupelec)" userId="8586c54a-e12e-4ea3-9b65-4428e4302b50" providerId="ADAL" clId="{E5297846-AE51-4E76-84E4-EFBB3AC64802}" dt="2022-11-23T14:40:25.741" v="2746" actId="478"/>
          <ac:grpSpMkLst>
            <pc:docMk/>
            <pc:sldMk cId="0" sldId="260"/>
            <ac:grpSpMk id="28" creationId="{00000000-0000-0000-0000-000000000000}"/>
          </ac:grpSpMkLst>
        </pc:grpChg>
        <pc:picChg chg="add del mod">
          <ac:chgData name="Aurore Demoulin (Student at CentraleSupelec)" userId="8586c54a-e12e-4ea3-9b65-4428e4302b50" providerId="ADAL" clId="{E5297846-AE51-4E76-84E4-EFBB3AC64802}" dt="2022-11-23T14:46:08.086" v="2860" actId="478"/>
          <ac:picMkLst>
            <pc:docMk/>
            <pc:sldMk cId="0" sldId="260"/>
            <ac:picMk id="37" creationId="{DDC34301-88DC-C2ED-7352-FD68647D129A}"/>
          </ac:picMkLst>
        </pc:picChg>
        <pc:picChg chg="add mod ord">
          <ac:chgData name="Aurore Demoulin (Student at CentraleSupelec)" userId="8586c54a-e12e-4ea3-9b65-4428e4302b50" providerId="ADAL" clId="{E5297846-AE51-4E76-84E4-EFBB3AC64802}" dt="2022-11-23T14:49:03.855" v="2903" actId="171"/>
          <ac:picMkLst>
            <pc:docMk/>
            <pc:sldMk cId="0" sldId="260"/>
            <ac:picMk id="39" creationId="{CC08C3FC-4ECC-B69B-C40C-2D78884C6AEB}"/>
          </ac:picMkLst>
        </pc:picChg>
        <pc:picChg chg="add mod">
          <ac:chgData name="Aurore Demoulin (Student at CentraleSupelec)" userId="8586c54a-e12e-4ea3-9b65-4428e4302b50" providerId="ADAL" clId="{E5297846-AE51-4E76-84E4-EFBB3AC64802}" dt="2022-11-23T14:48:38.771" v="2889" actId="1076"/>
          <ac:picMkLst>
            <pc:docMk/>
            <pc:sldMk cId="0" sldId="260"/>
            <ac:picMk id="41" creationId="{28BFA348-468E-D652-DBDB-14340A04C03E}"/>
          </ac:picMkLst>
        </pc:picChg>
        <pc:picChg chg="add mod">
          <ac:chgData name="Aurore Demoulin (Student at CentraleSupelec)" userId="8586c54a-e12e-4ea3-9b65-4428e4302b50" providerId="ADAL" clId="{E5297846-AE51-4E76-84E4-EFBB3AC64802}" dt="2022-11-23T14:48:09.461" v="2884" actId="1076"/>
          <ac:picMkLst>
            <pc:docMk/>
            <pc:sldMk cId="0" sldId="260"/>
            <ac:picMk id="44" creationId="{1E669F17-647E-EBB1-8B71-6C9F627CCB4D}"/>
          </ac:picMkLst>
        </pc:picChg>
        <pc:picChg chg="add mod">
          <ac:chgData name="Aurore Demoulin (Student at CentraleSupelec)" userId="8586c54a-e12e-4ea3-9b65-4428e4302b50" providerId="ADAL" clId="{E5297846-AE51-4E76-84E4-EFBB3AC64802}" dt="2022-11-23T14:49:43.706" v="2909" actId="1076"/>
          <ac:picMkLst>
            <pc:docMk/>
            <pc:sldMk cId="0" sldId="260"/>
            <ac:picMk id="46" creationId="{A885309B-1812-CCC2-6861-15F840989DCB}"/>
          </ac:picMkLst>
        </pc:picChg>
      </pc:sldChg>
      <pc:sldChg chg="add del ord">
        <pc:chgData name="Aurore Demoulin (Student at CentraleSupelec)" userId="8586c54a-e12e-4ea3-9b65-4428e4302b50" providerId="ADAL" clId="{E5297846-AE51-4E76-84E4-EFBB3AC64802}" dt="2022-11-30T09:15:54.954" v="7473"/>
        <pc:sldMkLst>
          <pc:docMk/>
          <pc:sldMk cId="1593433040" sldId="261"/>
        </pc:sldMkLst>
      </pc:sldChg>
      <pc:sldChg chg="addSp delSp modSp mod">
        <pc:chgData name="Aurore Demoulin (Student at CentraleSupelec)" userId="8586c54a-e12e-4ea3-9b65-4428e4302b50" providerId="ADAL" clId="{E5297846-AE51-4E76-84E4-EFBB3AC64802}" dt="2022-12-01T15:55:13.741" v="11702" actId="20577"/>
        <pc:sldMkLst>
          <pc:docMk/>
          <pc:sldMk cId="3676255466" sldId="262"/>
        </pc:sldMkLst>
        <pc:spChg chg="del mod">
          <ac:chgData name="Aurore Demoulin (Student at CentraleSupelec)" userId="8586c54a-e12e-4ea3-9b65-4428e4302b50" providerId="ADAL" clId="{E5297846-AE51-4E76-84E4-EFBB3AC64802}" dt="2022-12-01T15:12:33.120" v="11310" actId="478"/>
          <ac:spMkLst>
            <pc:docMk/>
            <pc:sldMk cId="3676255466" sldId="262"/>
            <ac:spMk id="2" creationId="{C0906544-B871-E78F-1EDB-352977F87780}"/>
          </ac:spMkLst>
        </pc:spChg>
        <pc:spChg chg="del mod">
          <ac:chgData name="Aurore Demoulin (Student at CentraleSupelec)" userId="8586c54a-e12e-4ea3-9b65-4428e4302b50" providerId="ADAL" clId="{E5297846-AE51-4E76-84E4-EFBB3AC64802}" dt="2022-11-30T09:32:20.856" v="8046" actId="478"/>
          <ac:spMkLst>
            <pc:docMk/>
            <pc:sldMk cId="3676255466" sldId="262"/>
            <ac:spMk id="2" creationId="{F5D42F7E-F516-C117-16D1-E4BEBD17B988}"/>
          </ac:spMkLst>
        </pc:spChg>
        <pc:spChg chg="mod">
          <ac:chgData name="Aurore Demoulin (Student at CentraleSupelec)" userId="8586c54a-e12e-4ea3-9b65-4428e4302b50" providerId="ADAL" clId="{E5297846-AE51-4E76-84E4-EFBB3AC64802}" dt="2022-12-01T13:38:37.220" v="9265" actId="207"/>
          <ac:spMkLst>
            <pc:docMk/>
            <pc:sldMk cId="3676255466" sldId="262"/>
            <ac:spMk id="3" creationId="{00000000-0000-0000-0000-000000000000}"/>
          </ac:spMkLst>
        </pc:spChg>
        <pc:spChg chg="del">
          <ac:chgData name="Aurore Demoulin (Student at CentraleSupelec)" userId="8586c54a-e12e-4ea3-9b65-4428e4302b50" providerId="ADAL" clId="{E5297846-AE51-4E76-84E4-EFBB3AC64802}" dt="2022-11-30T09:32:02.265" v="8044" actId="478"/>
          <ac:spMkLst>
            <pc:docMk/>
            <pc:sldMk cId="3676255466" sldId="262"/>
            <ac:spMk id="6" creationId="{00000000-0000-0000-0000-000000000000}"/>
          </ac:spMkLst>
        </pc:spChg>
        <pc:spChg chg="del mod">
          <ac:chgData name="Aurore Demoulin (Student at CentraleSupelec)" userId="8586c54a-e12e-4ea3-9b65-4428e4302b50" providerId="ADAL" clId="{E5297846-AE51-4E76-84E4-EFBB3AC64802}" dt="2022-11-30T09:42:09.660" v="8475" actId="478"/>
          <ac:spMkLst>
            <pc:docMk/>
            <pc:sldMk cId="3676255466" sldId="262"/>
            <ac:spMk id="7" creationId="{00000000-0000-0000-0000-000000000000}"/>
          </ac:spMkLst>
        </pc:spChg>
        <pc:spChg chg="add mod">
          <ac:chgData name="Aurore Demoulin (Student at CentraleSupelec)" userId="8586c54a-e12e-4ea3-9b65-4428e4302b50" providerId="ADAL" clId="{E5297846-AE51-4E76-84E4-EFBB3AC64802}" dt="2022-12-01T15:55:13.741" v="11702" actId="20577"/>
          <ac:spMkLst>
            <pc:docMk/>
            <pc:sldMk cId="3676255466" sldId="262"/>
            <ac:spMk id="9" creationId="{239FDB85-FA9E-C7BC-BF6E-856BF8A8F148}"/>
          </ac:spMkLst>
        </pc:spChg>
      </pc:sldChg>
      <pc:sldChg chg="del mod modShow">
        <pc:chgData name="Aurore Demoulin (Student at CentraleSupelec)" userId="8586c54a-e12e-4ea3-9b65-4428e4302b50" providerId="ADAL" clId="{E5297846-AE51-4E76-84E4-EFBB3AC64802}" dt="2022-12-01T15:56:41.747" v="11811" actId="47"/>
        <pc:sldMkLst>
          <pc:docMk/>
          <pc:sldMk cId="3328178862" sldId="263"/>
        </pc:sldMkLst>
      </pc:sldChg>
      <pc:sldChg chg="modSp mod">
        <pc:chgData name="Aurore Demoulin (Student at CentraleSupelec)" userId="8586c54a-e12e-4ea3-9b65-4428e4302b50" providerId="ADAL" clId="{E5297846-AE51-4E76-84E4-EFBB3AC64802}" dt="2022-12-01T13:32:43.992" v="9224" actId="948"/>
        <pc:sldMkLst>
          <pc:docMk/>
          <pc:sldMk cId="407782062" sldId="270"/>
        </pc:sldMkLst>
        <pc:spChg chg="mod">
          <ac:chgData name="Aurore Demoulin (Student at CentraleSupelec)" userId="8586c54a-e12e-4ea3-9b65-4428e4302b50" providerId="ADAL" clId="{E5297846-AE51-4E76-84E4-EFBB3AC64802}" dt="2022-11-22T13:39:43.851" v="174" actId="20577"/>
          <ac:spMkLst>
            <pc:docMk/>
            <pc:sldMk cId="407782062" sldId="270"/>
            <ac:spMk id="5" creationId="{9EBC0C74-7BB0-4F19-917C-3BE237D82935}"/>
          </ac:spMkLst>
        </pc:spChg>
        <pc:spChg chg="mod">
          <ac:chgData name="Aurore Demoulin (Student at CentraleSupelec)" userId="8586c54a-e12e-4ea3-9b65-4428e4302b50" providerId="ADAL" clId="{E5297846-AE51-4E76-84E4-EFBB3AC64802}" dt="2022-12-01T13:32:43.992" v="9224" actId="948"/>
          <ac:spMkLst>
            <pc:docMk/>
            <pc:sldMk cId="407782062" sldId="270"/>
            <ac:spMk id="6" creationId="{E7725446-9991-4623-8401-5C388C488235}"/>
          </ac:spMkLst>
        </pc:spChg>
        <pc:spChg chg="mod">
          <ac:chgData name="Aurore Demoulin (Student at CentraleSupelec)" userId="8586c54a-e12e-4ea3-9b65-4428e4302b50" providerId="ADAL" clId="{E5297846-AE51-4E76-84E4-EFBB3AC64802}" dt="2022-11-22T13:38:56.044" v="97" actId="20577"/>
          <ac:spMkLst>
            <pc:docMk/>
            <pc:sldMk cId="407782062" sldId="270"/>
            <ac:spMk id="8" creationId="{6A693475-C2D2-42B2-8B58-4963316E4D17}"/>
          </ac:spMkLst>
        </pc:spChg>
      </pc:sldChg>
      <pc:sldChg chg="del mod ord modShow">
        <pc:chgData name="Aurore Demoulin (Student at CentraleSupelec)" userId="8586c54a-e12e-4ea3-9b65-4428e4302b50" providerId="ADAL" clId="{E5297846-AE51-4E76-84E4-EFBB3AC64802}" dt="2022-12-01T15:56:38.199" v="11810" actId="47"/>
        <pc:sldMkLst>
          <pc:docMk/>
          <pc:sldMk cId="3141720297" sldId="271"/>
        </pc:sldMkLst>
      </pc:sldChg>
      <pc:sldChg chg="add del mod modShow">
        <pc:chgData name="Aurore Demoulin (Student at CentraleSupelec)" userId="8586c54a-e12e-4ea3-9b65-4428e4302b50" providerId="ADAL" clId="{E5297846-AE51-4E76-84E4-EFBB3AC64802}" dt="2022-12-01T15:56:44.996" v="11812" actId="47"/>
        <pc:sldMkLst>
          <pc:docMk/>
          <pc:sldMk cId="2784888756" sldId="272"/>
        </pc:sldMkLst>
      </pc:sldChg>
      <pc:sldChg chg="add del">
        <pc:chgData name="Aurore Demoulin (Student at CentraleSupelec)" userId="8586c54a-e12e-4ea3-9b65-4428e4302b50" providerId="ADAL" clId="{E5297846-AE51-4E76-84E4-EFBB3AC64802}" dt="2022-11-22T14:19:42.623" v="1676" actId="47"/>
        <pc:sldMkLst>
          <pc:docMk/>
          <pc:sldMk cId="58472321" sldId="273"/>
        </pc:sldMkLst>
      </pc:sldChg>
      <pc:sldChg chg="add del">
        <pc:chgData name="Aurore Demoulin (Student at CentraleSupelec)" userId="8586c54a-e12e-4ea3-9b65-4428e4302b50" providerId="ADAL" clId="{E5297846-AE51-4E76-84E4-EFBB3AC64802}" dt="2022-11-22T14:19:51.054" v="1677" actId="47"/>
        <pc:sldMkLst>
          <pc:docMk/>
          <pc:sldMk cId="3040526831" sldId="274"/>
        </pc:sldMkLst>
      </pc:sldChg>
      <pc:sldChg chg="delSp modSp add mod setBg">
        <pc:chgData name="Aurore Demoulin (Student at CentraleSupelec)" userId="8586c54a-e12e-4ea3-9b65-4428e4302b50" providerId="ADAL" clId="{E5297846-AE51-4E76-84E4-EFBB3AC64802}" dt="2022-11-22T14:16:14.653" v="1520" actId="478"/>
        <pc:sldMkLst>
          <pc:docMk/>
          <pc:sldMk cId="3155115380" sldId="275"/>
        </pc:sldMkLst>
        <pc:spChg chg="mod">
          <ac:chgData name="Aurore Demoulin (Student at CentraleSupelec)" userId="8586c54a-e12e-4ea3-9b65-4428e4302b50" providerId="ADAL" clId="{E5297846-AE51-4E76-84E4-EFBB3AC64802}" dt="2022-11-22T14:00:55.126" v="810" actId="20577"/>
          <ac:spMkLst>
            <pc:docMk/>
            <pc:sldMk cId="3155115380" sldId="275"/>
            <ac:spMk id="2" creationId="{00000000-0000-0000-0000-000000000000}"/>
          </ac:spMkLst>
        </pc:spChg>
        <pc:spChg chg="del mod">
          <ac:chgData name="Aurore Demoulin (Student at CentraleSupelec)" userId="8586c54a-e12e-4ea3-9b65-4428e4302b50" providerId="ADAL" clId="{E5297846-AE51-4E76-84E4-EFBB3AC64802}" dt="2022-11-22T14:16:14.653" v="1520" actId="478"/>
          <ac:spMkLst>
            <pc:docMk/>
            <pc:sldMk cId="3155115380" sldId="275"/>
            <ac:spMk id="22" creationId="{00000000-0000-0000-0000-000000000000}"/>
          </ac:spMkLst>
        </pc:spChg>
      </pc:sldChg>
      <pc:sldChg chg="addSp delSp modSp add del mod setBg">
        <pc:chgData name="Aurore Demoulin (Student at CentraleSupelec)" userId="8586c54a-e12e-4ea3-9b65-4428e4302b50" providerId="ADAL" clId="{E5297846-AE51-4E76-84E4-EFBB3AC64802}" dt="2022-11-23T14:51:05.682" v="2918" actId="47"/>
        <pc:sldMkLst>
          <pc:docMk/>
          <pc:sldMk cId="1286368401" sldId="276"/>
        </pc:sldMkLst>
        <pc:spChg chg="mod">
          <ac:chgData name="Aurore Demoulin (Student at CentraleSupelec)" userId="8586c54a-e12e-4ea3-9b65-4428e4302b50" providerId="ADAL" clId="{E5297846-AE51-4E76-84E4-EFBB3AC64802}" dt="2022-11-22T14:05:17.384" v="1107" actId="20577"/>
          <ac:spMkLst>
            <pc:docMk/>
            <pc:sldMk cId="1286368401" sldId="276"/>
            <ac:spMk id="2" creationId="{00000000-0000-0000-0000-000000000000}"/>
          </ac:spMkLst>
        </pc:spChg>
        <pc:spChg chg="add mod">
          <ac:chgData name="Aurore Demoulin (Student at CentraleSupelec)" userId="8586c54a-e12e-4ea3-9b65-4428e4302b50" providerId="ADAL" clId="{E5297846-AE51-4E76-84E4-EFBB3AC64802}" dt="2022-11-23T13:27:47.417" v="1894" actId="1076"/>
          <ac:spMkLst>
            <pc:docMk/>
            <pc:sldMk cId="1286368401" sldId="276"/>
            <ac:spMk id="3" creationId="{09AD46D8-68A6-83C0-E1C9-9B29F0F3C6B1}"/>
          </ac:spMkLst>
        </pc:spChg>
        <pc:spChg chg="add mod">
          <ac:chgData name="Aurore Demoulin (Student at CentraleSupelec)" userId="8586c54a-e12e-4ea3-9b65-4428e4302b50" providerId="ADAL" clId="{E5297846-AE51-4E76-84E4-EFBB3AC64802}" dt="2022-11-23T13:34:33.902" v="2176" actId="1076"/>
          <ac:spMkLst>
            <pc:docMk/>
            <pc:sldMk cId="1286368401" sldId="276"/>
            <ac:spMk id="4" creationId="{7767B682-9A57-EFC7-8712-86532FD510CE}"/>
          </ac:spMkLst>
        </pc:spChg>
        <pc:spChg chg="del mod">
          <ac:chgData name="Aurore Demoulin (Student at CentraleSupelec)" userId="8586c54a-e12e-4ea3-9b65-4428e4302b50" providerId="ADAL" clId="{E5297846-AE51-4E76-84E4-EFBB3AC64802}" dt="2022-11-22T14:16:19.626" v="1522" actId="478"/>
          <ac:spMkLst>
            <pc:docMk/>
            <pc:sldMk cId="1286368401" sldId="276"/>
            <ac:spMk id="22" creationId="{00000000-0000-0000-0000-000000000000}"/>
          </ac:spMkLst>
        </pc:spChg>
      </pc:sldChg>
      <pc:sldChg chg="modSp mod ord">
        <pc:chgData name="Aurore Demoulin (Student at CentraleSupelec)" userId="8586c54a-e12e-4ea3-9b65-4428e4302b50" providerId="ADAL" clId="{E5297846-AE51-4E76-84E4-EFBB3AC64802}" dt="2022-12-01T14:02:00.686" v="9311" actId="20577"/>
        <pc:sldMkLst>
          <pc:docMk/>
          <pc:sldMk cId="205902318" sldId="277"/>
        </pc:sldMkLst>
        <pc:spChg chg="mod">
          <ac:chgData name="Aurore Demoulin (Student at CentraleSupelec)" userId="8586c54a-e12e-4ea3-9b65-4428e4302b50" providerId="ADAL" clId="{E5297846-AE51-4E76-84E4-EFBB3AC64802}" dt="2022-11-23T14:25:18.995" v="2608" actId="20577"/>
          <ac:spMkLst>
            <pc:docMk/>
            <pc:sldMk cId="205902318" sldId="277"/>
            <ac:spMk id="2" creationId="{2E7D7E47-8883-FFA1-6233-F06BB274F14C}"/>
          </ac:spMkLst>
        </pc:spChg>
        <pc:graphicFrameChg chg="mod">
          <ac:chgData name="Aurore Demoulin (Student at CentraleSupelec)" userId="8586c54a-e12e-4ea3-9b65-4428e4302b50" providerId="ADAL" clId="{E5297846-AE51-4E76-84E4-EFBB3AC64802}" dt="2022-12-01T14:02:00.686" v="9311" actId="20577"/>
          <ac:graphicFrameMkLst>
            <pc:docMk/>
            <pc:sldMk cId="205902318" sldId="277"/>
            <ac:graphicFrameMk id="4" creationId="{E643BE91-C4F2-C582-1097-D381AA0BE329}"/>
          </ac:graphicFrameMkLst>
        </pc:graphicFrameChg>
      </pc:sldChg>
      <pc:sldChg chg="addSp delSp modSp add mod ord setBg">
        <pc:chgData name="Aurore Demoulin (Student at CentraleSupelec)" userId="8586c54a-e12e-4ea3-9b65-4428e4302b50" providerId="ADAL" clId="{E5297846-AE51-4E76-84E4-EFBB3AC64802}" dt="2022-11-25T08:58:03.434" v="3530" actId="14100"/>
        <pc:sldMkLst>
          <pc:docMk/>
          <pc:sldMk cId="3359315074" sldId="278"/>
        </pc:sldMkLst>
        <pc:spChg chg="mod">
          <ac:chgData name="Aurore Demoulin (Student at CentraleSupelec)" userId="8586c54a-e12e-4ea3-9b65-4428e4302b50" providerId="ADAL" clId="{E5297846-AE51-4E76-84E4-EFBB3AC64802}" dt="2022-11-23T15:54:00.416" v="3482" actId="20577"/>
          <ac:spMkLst>
            <pc:docMk/>
            <pc:sldMk cId="3359315074" sldId="278"/>
            <ac:spMk id="2" creationId="{00000000-0000-0000-0000-000000000000}"/>
          </ac:spMkLst>
        </pc:spChg>
        <pc:spChg chg="add mod">
          <ac:chgData name="Aurore Demoulin (Student at CentraleSupelec)" userId="8586c54a-e12e-4ea3-9b65-4428e4302b50" providerId="ADAL" clId="{E5297846-AE51-4E76-84E4-EFBB3AC64802}" dt="2022-11-23T15:41:16.788" v="3236" actId="1035"/>
          <ac:spMkLst>
            <pc:docMk/>
            <pc:sldMk cId="3359315074" sldId="278"/>
            <ac:spMk id="3" creationId="{B1C1C849-ACA6-7327-03ED-65381B48024B}"/>
          </ac:spMkLst>
        </pc:spChg>
        <pc:spChg chg="add mod">
          <ac:chgData name="Aurore Demoulin (Student at CentraleSupelec)" userId="8586c54a-e12e-4ea3-9b65-4428e4302b50" providerId="ADAL" clId="{E5297846-AE51-4E76-84E4-EFBB3AC64802}" dt="2022-11-23T15:41:16.788" v="3236" actId="1035"/>
          <ac:spMkLst>
            <pc:docMk/>
            <pc:sldMk cId="3359315074" sldId="278"/>
            <ac:spMk id="5" creationId="{52C342AB-EE53-2689-167B-67776CC911A9}"/>
          </ac:spMkLst>
        </pc:spChg>
        <pc:spChg chg="add mod">
          <ac:chgData name="Aurore Demoulin (Student at CentraleSupelec)" userId="8586c54a-e12e-4ea3-9b65-4428e4302b50" providerId="ADAL" clId="{E5297846-AE51-4E76-84E4-EFBB3AC64802}" dt="2022-11-23T15:41:16.788" v="3236" actId="1035"/>
          <ac:spMkLst>
            <pc:docMk/>
            <pc:sldMk cId="3359315074" sldId="278"/>
            <ac:spMk id="6" creationId="{92E97D2F-DB87-3ADA-3C96-2D5CC7397E1A}"/>
          </ac:spMkLst>
        </pc:spChg>
        <pc:spChg chg="add mod">
          <ac:chgData name="Aurore Demoulin (Student at CentraleSupelec)" userId="8586c54a-e12e-4ea3-9b65-4428e4302b50" providerId="ADAL" clId="{E5297846-AE51-4E76-84E4-EFBB3AC64802}" dt="2022-11-23T15:41:16.788" v="3236" actId="1035"/>
          <ac:spMkLst>
            <pc:docMk/>
            <pc:sldMk cId="3359315074" sldId="278"/>
            <ac:spMk id="7" creationId="{4EC9EE0A-49BE-4F80-0599-2123F0D538A4}"/>
          </ac:spMkLst>
        </pc:spChg>
        <pc:spChg chg="add mod">
          <ac:chgData name="Aurore Demoulin (Student at CentraleSupelec)" userId="8586c54a-e12e-4ea3-9b65-4428e4302b50" providerId="ADAL" clId="{E5297846-AE51-4E76-84E4-EFBB3AC64802}" dt="2022-11-23T15:41:16.788" v="3236" actId="1035"/>
          <ac:spMkLst>
            <pc:docMk/>
            <pc:sldMk cId="3359315074" sldId="278"/>
            <ac:spMk id="8" creationId="{1DCA34C7-3325-35C6-595C-06EC02124086}"/>
          </ac:spMkLst>
        </pc:spChg>
        <pc:spChg chg="add del mod">
          <ac:chgData name="Aurore Demoulin (Student at CentraleSupelec)" userId="8586c54a-e12e-4ea3-9b65-4428e4302b50" providerId="ADAL" clId="{E5297846-AE51-4E76-84E4-EFBB3AC64802}" dt="2022-11-23T15:38:31.741" v="3203" actId="478"/>
          <ac:spMkLst>
            <pc:docMk/>
            <pc:sldMk cId="3359315074" sldId="278"/>
            <ac:spMk id="9" creationId="{1FF41C50-74D4-E117-ED16-419FE9FED5FA}"/>
          </ac:spMkLst>
        </pc:spChg>
        <pc:spChg chg="add mod">
          <ac:chgData name="Aurore Demoulin (Student at CentraleSupelec)" userId="8586c54a-e12e-4ea3-9b65-4428e4302b50" providerId="ADAL" clId="{E5297846-AE51-4E76-84E4-EFBB3AC64802}" dt="2022-11-23T15:50:43.441" v="3377" actId="1076"/>
          <ac:spMkLst>
            <pc:docMk/>
            <pc:sldMk cId="3359315074" sldId="278"/>
            <ac:spMk id="14" creationId="{4C7465A2-9335-77DD-9487-A0C5F5C37997}"/>
          </ac:spMkLst>
        </pc:spChg>
        <pc:spChg chg="add mod">
          <ac:chgData name="Aurore Demoulin (Student at CentraleSupelec)" userId="8586c54a-e12e-4ea3-9b65-4428e4302b50" providerId="ADAL" clId="{E5297846-AE51-4E76-84E4-EFBB3AC64802}" dt="2022-11-23T15:48:06.521" v="3330" actId="1076"/>
          <ac:spMkLst>
            <pc:docMk/>
            <pc:sldMk cId="3359315074" sldId="278"/>
            <ac:spMk id="15" creationId="{8E67D450-952C-8B90-E4CD-3BBC732ABBA2}"/>
          </ac:spMkLst>
        </pc:spChg>
        <pc:spChg chg="add mod">
          <ac:chgData name="Aurore Demoulin (Student at CentraleSupelec)" userId="8586c54a-e12e-4ea3-9b65-4428e4302b50" providerId="ADAL" clId="{E5297846-AE51-4E76-84E4-EFBB3AC64802}" dt="2022-11-23T15:50:19.401" v="3372" actId="14100"/>
          <ac:spMkLst>
            <pc:docMk/>
            <pc:sldMk cId="3359315074" sldId="278"/>
            <ac:spMk id="16" creationId="{3E2135F1-638F-20E2-CADC-D65D474FB752}"/>
          </ac:spMkLst>
        </pc:spChg>
        <pc:spChg chg="add mod">
          <ac:chgData name="Aurore Demoulin (Student at CentraleSupelec)" userId="8586c54a-e12e-4ea3-9b65-4428e4302b50" providerId="ADAL" clId="{E5297846-AE51-4E76-84E4-EFBB3AC64802}" dt="2022-11-23T15:50:59.053" v="3399" actId="20577"/>
          <ac:spMkLst>
            <pc:docMk/>
            <pc:sldMk cId="3359315074" sldId="278"/>
            <ac:spMk id="17" creationId="{1A378B59-9105-26E3-5DC9-37FD942890AE}"/>
          </ac:spMkLst>
        </pc:spChg>
        <pc:spChg chg="del mod">
          <ac:chgData name="Aurore Demoulin (Student at CentraleSupelec)" userId="8586c54a-e12e-4ea3-9b65-4428e4302b50" providerId="ADAL" clId="{E5297846-AE51-4E76-84E4-EFBB3AC64802}" dt="2022-11-22T14:16:25.918" v="1524" actId="478"/>
          <ac:spMkLst>
            <pc:docMk/>
            <pc:sldMk cId="3359315074" sldId="278"/>
            <ac:spMk id="22" creationId="{00000000-0000-0000-0000-000000000000}"/>
          </ac:spMkLst>
        </pc:spChg>
        <pc:grpChg chg="add mod">
          <ac:chgData name="Aurore Demoulin (Student at CentraleSupelec)" userId="8586c54a-e12e-4ea3-9b65-4428e4302b50" providerId="ADAL" clId="{E5297846-AE51-4E76-84E4-EFBB3AC64802}" dt="2022-11-23T15:41:16.788" v="3236" actId="1035"/>
          <ac:grpSpMkLst>
            <pc:docMk/>
            <pc:sldMk cId="3359315074" sldId="278"/>
            <ac:grpSpMk id="10" creationId="{C4DCF802-51E8-D8C1-7571-4144CA2A8F55}"/>
          </ac:grpSpMkLst>
        </pc:grpChg>
        <pc:graphicFrameChg chg="add del modGraphic">
          <ac:chgData name="Aurore Demoulin (Student at CentraleSupelec)" userId="8586c54a-e12e-4ea3-9b65-4428e4302b50" providerId="ADAL" clId="{E5297846-AE51-4E76-84E4-EFBB3AC64802}" dt="2022-11-23T15:33:45.771" v="3108" actId="478"/>
          <ac:graphicFrameMkLst>
            <pc:docMk/>
            <pc:sldMk cId="3359315074" sldId="278"/>
            <ac:graphicFrameMk id="4" creationId="{5853E9B1-7636-BDD6-B536-630A85F99127}"/>
          </ac:graphicFrameMkLst>
        </pc:graphicFrameChg>
        <pc:graphicFrameChg chg="add mod modGraphic">
          <ac:chgData name="Aurore Demoulin (Student at CentraleSupelec)" userId="8586c54a-e12e-4ea3-9b65-4428e4302b50" providerId="ADAL" clId="{E5297846-AE51-4E76-84E4-EFBB3AC64802}" dt="2022-11-23T15:49:24.676" v="3346" actId="1076"/>
          <ac:graphicFrameMkLst>
            <pc:docMk/>
            <pc:sldMk cId="3359315074" sldId="278"/>
            <ac:graphicFrameMk id="11" creationId="{693FBC7A-BEFE-645C-285B-8F240D8AC143}"/>
          </ac:graphicFrameMkLst>
        </pc:graphicFrameChg>
        <pc:graphicFrameChg chg="add mod">
          <ac:chgData name="Aurore Demoulin (Student at CentraleSupelec)" userId="8586c54a-e12e-4ea3-9b65-4428e4302b50" providerId="ADAL" clId="{E5297846-AE51-4E76-84E4-EFBB3AC64802}" dt="2022-11-25T08:57:44.277" v="3529" actId="14100"/>
          <ac:graphicFrameMkLst>
            <pc:docMk/>
            <pc:sldMk cId="3359315074" sldId="278"/>
            <ac:graphicFrameMk id="12" creationId="{E21B0575-2BCA-E02A-89F7-630061FDAD5E}"/>
          </ac:graphicFrameMkLst>
        </pc:graphicFrameChg>
        <pc:graphicFrameChg chg="add mod">
          <ac:chgData name="Aurore Demoulin (Student at CentraleSupelec)" userId="8586c54a-e12e-4ea3-9b65-4428e4302b50" providerId="ADAL" clId="{E5297846-AE51-4E76-84E4-EFBB3AC64802}" dt="2022-11-25T08:58:03.434" v="3530" actId="14100"/>
          <ac:graphicFrameMkLst>
            <pc:docMk/>
            <pc:sldMk cId="3359315074" sldId="278"/>
            <ac:graphicFrameMk id="13" creationId="{ED825DC3-4F49-9B29-91CD-7847FC2A0DF0}"/>
          </ac:graphicFrameMkLst>
        </pc:graphicFrameChg>
      </pc:sldChg>
      <pc:sldChg chg="delSp modSp add del mod setBg">
        <pc:chgData name="Aurore Demoulin (Student at CentraleSupelec)" userId="8586c54a-e12e-4ea3-9b65-4428e4302b50" providerId="ADAL" clId="{E5297846-AE51-4E76-84E4-EFBB3AC64802}" dt="2022-11-22T15:43:18.542" v="1747" actId="47"/>
        <pc:sldMkLst>
          <pc:docMk/>
          <pc:sldMk cId="31402586" sldId="279"/>
        </pc:sldMkLst>
        <pc:spChg chg="mod">
          <ac:chgData name="Aurore Demoulin (Student at CentraleSupelec)" userId="8586c54a-e12e-4ea3-9b65-4428e4302b50" providerId="ADAL" clId="{E5297846-AE51-4E76-84E4-EFBB3AC64802}" dt="2022-11-22T14:12:53.713" v="1428" actId="20577"/>
          <ac:spMkLst>
            <pc:docMk/>
            <pc:sldMk cId="31402586" sldId="279"/>
            <ac:spMk id="2" creationId="{00000000-0000-0000-0000-000000000000}"/>
          </ac:spMkLst>
        </pc:spChg>
        <pc:spChg chg="del mod">
          <ac:chgData name="Aurore Demoulin (Student at CentraleSupelec)" userId="8586c54a-e12e-4ea3-9b65-4428e4302b50" providerId="ADAL" clId="{E5297846-AE51-4E76-84E4-EFBB3AC64802}" dt="2022-11-22T14:16:31.881" v="1526" actId="478"/>
          <ac:spMkLst>
            <pc:docMk/>
            <pc:sldMk cId="31402586" sldId="279"/>
            <ac:spMk id="22" creationId="{00000000-0000-0000-0000-000000000000}"/>
          </ac:spMkLst>
        </pc:spChg>
      </pc:sldChg>
      <pc:sldChg chg="addSp delSp modSp add mod ord">
        <pc:chgData name="Aurore Demoulin (Student at CentraleSupelec)" userId="8586c54a-e12e-4ea3-9b65-4428e4302b50" providerId="ADAL" clId="{E5297846-AE51-4E76-84E4-EFBB3AC64802}" dt="2022-11-30T09:27:12.247" v="8010" actId="20577"/>
        <pc:sldMkLst>
          <pc:docMk/>
          <pc:sldMk cId="1312230870" sldId="280"/>
        </pc:sldMkLst>
        <pc:spChg chg="mod">
          <ac:chgData name="Aurore Demoulin (Student at CentraleSupelec)" userId="8586c54a-e12e-4ea3-9b65-4428e4302b50" providerId="ADAL" clId="{E5297846-AE51-4E76-84E4-EFBB3AC64802}" dt="2022-11-23T14:25:37.442" v="2609" actId="20577"/>
          <ac:spMkLst>
            <pc:docMk/>
            <pc:sldMk cId="1312230870" sldId="280"/>
            <ac:spMk id="5" creationId="{00000000-0000-0000-0000-000000000000}"/>
          </ac:spMkLst>
        </pc:spChg>
        <pc:spChg chg="mod">
          <ac:chgData name="Aurore Demoulin (Student at CentraleSupelec)" userId="8586c54a-e12e-4ea3-9b65-4428e4302b50" providerId="ADAL" clId="{E5297846-AE51-4E76-84E4-EFBB3AC64802}" dt="2022-11-30T09:27:12.247" v="8010" actId="20577"/>
          <ac:spMkLst>
            <pc:docMk/>
            <pc:sldMk cId="1312230870" sldId="280"/>
            <ac:spMk id="6" creationId="{00000000-0000-0000-0000-000000000000}"/>
          </ac:spMkLst>
        </pc:spChg>
        <pc:spChg chg="mod">
          <ac:chgData name="Aurore Demoulin (Student at CentraleSupelec)" userId="8586c54a-e12e-4ea3-9b65-4428e4302b50" providerId="ADAL" clId="{E5297846-AE51-4E76-84E4-EFBB3AC64802}" dt="2022-11-30T09:21:02.549" v="7758"/>
          <ac:spMkLst>
            <pc:docMk/>
            <pc:sldMk cId="1312230870" sldId="280"/>
            <ac:spMk id="9" creationId="{9E3540B6-687E-EDE6-4FCD-B1DDA3ED8714}"/>
          </ac:spMkLst>
        </pc:spChg>
        <pc:spChg chg="mod">
          <ac:chgData name="Aurore Demoulin (Student at CentraleSupelec)" userId="8586c54a-e12e-4ea3-9b65-4428e4302b50" providerId="ADAL" clId="{E5297846-AE51-4E76-84E4-EFBB3AC64802}" dt="2022-11-30T09:21:02.549" v="7758"/>
          <ac:spMkLst>
            <pc:docMk/>
            <pc:sldMk cId="1312230870" sldId="280"/>
            <ac:spMk id="10" creationId="{9E0D03BE-9DCC-6437-BF04-C5840FEF5BE9}"/>
          </ac:spMkLst>
        </pc:spChg>
        <pc:spChg chg="mod">
          <ac:chgData name="Aurore Demoulin (Student at CentraleSupelec)" userId="8586c54a-e12e-4ea3-9b65-4428e4302b50" providerId="ADAL" clId="{E5297846-AE51-4E76-84E4-EFBB3AC64802}" dt="2022-11-22T14:20:40.524" v="1709"/>
          <ac:spMkLst>
            <pc:docMk/>
            <pc:sldMk cId="1312230870" sldId="280"/>
            <ac:spMk id="13" creationId="{2A2D63EF-7B6B-A5F1-E626-213BC8F3326B}"/>
          </ac:spMkLst>
        </pc:spChg>
        <pc:spChg chg="mod">
          <ac:chgData name="Aurore Demoulin (Student at CentraleSupelec)" userId="8586c54a-e12e-4ea3-9b65-4428e4302b50" providerId="ADAL" clId="{E5297846-AE51-4E76-84E4-EFBB3AC64802}" dt="2022-11-22T14:20:40.524" v="1709"/>
          <ac:spMkLst>
            <pc:docMk/>
            <pc:sldMk cId="1312230870" sldId="280"/>
            <ac:spMk id="14" creationId="{C3FE6BD8-1181-5044-DA45-054C170977AA}"/>
          </ac:spMkLst>
        </pc:spChg>
        <pc:spChg chg="mod">
          <ac:chgData name="Aurore Demoulin (Student at CentraleSupelec)" userId="8586c54a-e12e-4ea3-9b65-4428e4302b50" providerId="ADAL" clId="{E5297846-AE51-4E76-84E4-EFBB3AC64802}" dt="2022-11-30T09:21:14.610" v="7760"/>
          <ac:spMkLst>
            <pc:docMk/>
            <pc:sldMk cId="1312230870" sldId="280"/>
            <ac:spMk id="33" creationId="{D250C171-D80A-E1D8-D771-29CA2B9D1AF3}"/>
          </ac:spMkLst>
        </pc:spChg>
        <pc:spChg chg="mod">
          <ac:chgData name="Aurore Demoulin (Student at CentraleSupelec)" userId="8586c54a-e12e-4ea3-9b65-4428e4302b50" providerId="ADAL" clId="{E5297846-AE51-4E76-84E4-EFBB3AC64802}" dt="2022-11-30T09:21:14.610" v="7760"/>
          <ac:spMkLst>
            <pc:docMk/>
            <pc:sldMk cId="1312230870" sldId="280"/>
            <ac:spMk id="34" creationId="{4E504499-7A95-AF84-75F5-33437FC678B3}"/>
          </ac:spMkLst>
        </pc:spChg>
        <pc:spChg chg="mod">
          <ac:chgData name="Aurore Demoulin (Student at CentraleSupelec)" userId="8586c54a-e12e-4ea3-9b65-4428e4302b50" providerId="ADAL" clId="{E5297846-AE51-4E76-84E4-EFBB3AC64802}" dt="2022-11-30T09:21:21.843" v="7762"/>
          <ac:spMkLst>
            <pc:docMk/>
            <pc:sldMk cId="1312230870" sldId="280"/>
            <ac:spMk id="37" creationId="{56F70C9A-21FC-82E0-AF7D-29FA269D38E8}"/>
          </ac:spMkLst>
        </pc:spChg>
        <pc:spChg chg="mod">
          <ac:chgData name="Aurore Demoulin (Student at CentraleSupelec)" userId="8586c54a-e12e-4ea3-9b65-4428e4302b50" providerId="ADAL" clId="{E5297846-AE51-4E76-84E4-EFBB3AC64802}" dt="2022-11-30T09:21:21.843" v="7762"/>
          <ac:spMkLst>
            <pc:docMk/>
            <pc:sldMk cId="1312230870" sldId="280"/>
            <ac:spMk id="38" creationId="{710F3830-7AED-3B0C-3AB6-8444DD7EC1E8}"/>
          </ac:spMkLst>
        </pc:spChg>
        <pc:grpChg chg="add mod">
          <ac:chgData name="Aurore Demoulin (Student at CentraleSupelec)" userId="8586c54a-e12e-4ea3-9b65-4428e4302b50" providerId="ADAL" clId="{E5297846-AE51-4E76-84E4-EFBB3AC64802}" dt="2022-11-22T14:21:21.360" v="1742" actId="1036"/>
          <ac:grpSpMkLst>
            <pc:docMk/>
            <pc:sldMk cId="1312230870" sldId="280"/>
            <ac:grpSpMk id="7" creationId="{EBCBC409-F5B2-14E6-696B-5234AE707DE7}"/>
          </ac:grpSpMkLst>
        </pc:grpChg>
        <pc:grpChg chg="del">
          <ac:chgData name="Aurore Demoulin (Student at CentraleSupelec)" userId="8586c54a-e12e-4ea3-9b65-4428e4302b50" providerId="ADAL" clId="{E5297846-AE51-4E76-84E4-EFBB3AC64802}" dt="2022-11-22T14:18:43.741" v="1672" actId="478"/>
          <ac:grpSpMkLst>
            <pc:docMk/>
            <pc:sldMk cId="1312230870" sldId="280"/>
            <ac:grpSpMk id="8" creationId="{00000000-0000-0000-0000-000000000000}"/>
          </ac:grpSpMkLst>
        </pc:grpChg>
        <pc:grpChg chg="add mod">
          <ac:chgData name="Aurore Demoulin (Student at CentraleSupelec)" userId="8586c54a-e12e-4ea3-9b65-4428e4302b50" providerId="ADAL" clId="{E5297846-AE51-4E76-84E4-EFBB3AC64802}" dt="2022-11-30T09:21:13.904" v="7759" actId="1076"/>
          <ac:grpSpMkLst>
            <pc:docMk/>
            <pc:sldMk cId="1312230870" sldId="280"/>
            <ac:grpSpMk id="8" creationId="{42D1FE3F-FA50-F611-CAC5-14790175D6F2}"/>
          </ac:grpSpMkLst>
        </pc:grpChg>
        <pc:grpChg chg="mod">
          <ac:chgData name="Aurore Demoulin (Student at CentraleSupelec)" userId="8586c54a-e12e-4ea3-9b65-4428e4302b50" providerId="ADAL" clId="{E5297846-AE51-4E76-84E4-EFBB3AC64802}" dt="2022-11-22T14:21:21.360" v="1742" actId="1036"/>
          <ac:grpSpMkLst>
            <pc:docMk/>
            <pc:sldMk cId="1312230870" sldId="280"/>
            <ac:grpSpMk id="15" creationId="{D835FFA2-6A7B-A46F-1720-297DCB2BDE3A}"/>
          </ac:grpSpMkLst>
        </pc:grpChg>
        <pc:grpChg chg="mod">
          <ac:chgData name="Aurore Demoulin (Student at CentraleSupelec)" userId="8586c54a-e12e-4ea3-9b65-4428e4302b50" providerId="ADAL" clId="{E5297846-AE51-4E76-84E4-EFBB3AC64802}" dt="2022-11-30T09:20:50.813" v="7756" actId="1076"/>
          <ac:grpSpMkLst>
            <pc:docMk/>
            <pc:sldMk cId="1312230870" sldId="280"/>
            <ac:grpSpMk id="19" creationId="{E9107C90-DFAE-5999-84DA-915E410202CA}"/>
          </ac:grpSpMkLst>
        </pc:grpChg>
        <pc:grpChg chg="mod">
          <ac:chgData name="Aurore Demoulin (Student at CentraleSupelec)" userId="8586c54a-e12e-4ea3-9b65-4428e4302b50" providerId="ADAL" clId="{E5297846-AE51-4E76-84E4-EFBB3AC64802}" dt="2022-11-22T14:21:21.360" v="1742" actId="1036"/>
          <ac:grpSpMkLst>
            <pc:docMk/>
            <pc:sldMk cId="1312230870" sldId="280"/>
            <ac:grpSpMk id="23" creationId="{4492E367-D2C8-F366-4391-00DF1CDC19B2}"/>
          </ac:grpSpMkLst>
        </pc:grpChg>
        <pc:grpChg chg="mod">
          <ac:chgData name="Aurore Demoulin (Student at CentraleSupelec)" userId="8586c54a-e12e-4ea3-9b65-4428e4302b50" providerId="ADAL" clId="{E5297846-AE51-4E76-84E4-EFBB3AC64802}" dt="2022-11-30T09:23:01.609" v="7826" actId="1035"/>
          <ac:grpSpMkLst>
            <pc:docMk/>
            <pc:sldMk cId="1312230870" sldId="280"/>
            <ac:grpSpMk id="27" creationId="{6C13903A-411A-563E-9072-763FA3B1134E}"/>
          </ac:grpSpMkLst>
        </pc:grpChg>
        <pc:grpChg chg="add mod">
          <ac:chgData name="Aurore Demoulin (Student at CentraleSupelec)" userId="8586c54a-e12e-4ea3-9b65-4428e4302b50" providerId="ADAL" clId="{E5297846-AE51-4E76-84E4-EFBB3AC64802}" dt="2022-11-30T09:21:21.088" v="7761" actId="1076"/>
          <ac:grpSpMkLst>
            <pc:docMk/>
            <pc:sldMk cId="1312230870" sldId="280"/>
            <ac:grpSpMk id="32" creationId="{61DE7489-5853-D92A-5D5C-6E7D12D1F55C}"/>
          </ac:grpSpMkLst>
        </pc:grpChg>
        <pc:grpChg chg="add mod">
          <ac:chgData name="Aurore Demoulin (Student at CentraleSupelec)" userId="8586c54a-e12e-4ea3-9b65-4428e4302b50" providerId="ADAL" clId="{E5297846-AE51-4E76-84E4-EFBB3AC64802}" dt="2022-11-30T09:23:08.035" v="7846" actId="1035"/>
          <ac:grpSpMkLst>
            <pc:docMk/>
            <pc:sldMk cId="1312230870" sldId="280"/>
            <ac:grpSpMk id="36" creationId="{60D00CF8-B4F7-5212-2398-DC043C22A310}"/>
          </ac:grpSpMkLst>
        </pc:grpChg>
        <pc:picChg chg="mod">
          <ac:chgData name="Aurore Demoulin (Student at CentraleSupelec)" userId="8586c54a-e12e-4ea3-9b65-4428e4302b50" providerId="ADAL" clId="{E5297846-AE51-4E76-84E4-EFBB3AC64802}" dt="2022-11-30T09:21:02.549" v="7758"/>
          <ac:picMkLst>
            <pc:docMk/>
            <pc:sldMk cId="1312230870" sldId="280"/>
            <ac:picMk id="11" creationId="{EB7FD056-ACC0-4800-30B4-F51A6F949209}"/>
          </ac:picMkLst>
        </pc:picChg>
        <pc:picChg chg="mod">
          <ac:chgData name="Aurore Demoulin (Student at CentraleSupelec)" userId="8586c54a-e12e-4ea3-9b65-4428e4302b50" providerId="ADAL" clId="{E5297846-AE51-4E76-84E4-EFBB3AC64802}" dt="2022-11-22T14:20:40.524" v="1709"/>
          <ac:picMkLst>
            <pc:docMk/>
            <pc:sldMk cId="1312230870" sldId="280"/>
            <ac:picMk id="31" creationId="{85573FF2-040F-0266-BDA4-520B75CB992D}"/>
          </ac:picMkLst>
        </pc:picChg>
        <pc:picChg chg="mod">
          <ac:chgData name="Aurore Demoulin (Student at CentraleSupelec)" userId="8586c54a-e12e-4ea3-9b65-4428e4302b50" providerId="ADAL" clId="{E5297846-AE51-4E76-84E4-EFBB3AC64802}" dt="2022-11-30T09:21:14.610" v="7760"/>
          <ac:picMkLst>
            <pc:docMk/>
            <pc:sldMk cId="1312230870" sldId="280"/>
            <ac:picMk id="35" creationId="{5ED924AC-1A19-A5E4-8CF8-A1F979818E90}"/>
          </ac:picMkLst>
        </pc:picChg>
        <pc:picChg chg="mod">
          <ac:chgData name="Aurore Demoulin (Student at CentraleSupelec)" userId="8586c54a-e12e-4ea3-9b65-4428e4302b50" providerId="ADAL" clId="{E5297846-AE51-4E76-84E4-EFBB3AC64802}" dt="2022-11-30T09:21:21.843" v="7762"/>
          <ac:picMkLst>
            <pc:docMk/>
            <pc:sldMk cId="1312230870" sldId="280"/>
            <ac:picMk id="39" creationId="{EDC11CF9-4453-6B38-AB07-E63891B7A297}"/>
          </ac:picMkLst>
        </pc:picChg>
      </pc:sldChg>
      <pc:sldChg chg="new add del">
        <pc:chgData name="Aurore Demoulin (Student at CentraleSupelec)" userId="8586c54a-e12e-4ea3-9b65-4428e4302b50" providerId="ADAL" clId="{E5297846-AE51-4E76-84E4-EFBB3AC64802}" dt="2022-11-22T15:44:18.705" v="1767" actId="47"/>
        <pc:sldMkLst>
          <pc:docMk/>
          <pc:sldMk cId="1839520311" sldId="281"/>
        </pc:sldMkLst>
      </pc:sldChg>
      <pc:sldChg chg="modSp add mod setBg">
        <pc:chgData name="Aurore Demoulin (Student at CentraleSupelec)" userId="8586c54a-e12e-4ea3-9b65-4428e4302b50" providerId="ADAL" clId="{E5297846-AE51-4E76-84E4-EFBB3AC64802}" dt="2022-11-23T13:22:16.729" v="1887" actId="5793"/>
        <pc:sldMkLst>
          <pc:docMk/>
          <pc:sldMk cId="2635926730" sldId="282"/>
        </pc:sldMkLst>
        <pc:spChg chg="mod">
          <ac:chgData name="Aurore Demoulin (Student at CentraleSupelec)" userId="8586c54a-e12e-4ea3-9b65-4428e4302b50" providerId="ADAL" clId="{E5297846-AE51-4E76-84E4-EFBB3AC64802}" dt="2022-11-23T13:22:16.729" v="1887" actId="5793"/>
          <ac:spMkLst>
            <pc:docMk/>
            <pc:sldMk cId="2635926730" sldId="282"/>
            <ac:spMk id="2" creationId="{00000000-0000-0000-0000-000000000000}"/>
          </ac:spMkLst>
        </pc:spChg>
      </pc:sldChg>
      <pc:sldChg chg="addSp delSp modSp add mod ord setBg">
        <pc:chgData name="Aurore Demoulin (Student at CentraleSupelec)" userId="8586c54a-e12e-4ea3-9b65-4428e4302b50" providerId="ADAL" clId="{E5297846-AE51-4E76-84E4-EFBB3AC64802}" dt="2022-11-23T16:05:47.958" v="3522" actId="1076"/>
        <pc:sldMkLst>
          <pc:docMk/>
          <pc:sldMk cId="1965452385" sldId="283"/>
        </pc:sldMkLst>
        <pc:spChg chg="mod">
          <ac:chgData name="Aurore Demoulin (Student at CentraleSupelec)" userId="8586c54a-e12e-4ea3-9b65-4428e4302b50" providerId="ADAL" clId="{E5297846-AE51-4E76-84E4-EFBB3AC64802}" dt="2022-11-23T14:25:15.315" v="2607" actId="20577"/>
          <ac:spMkLst>
            <pc:docMk/>
            <pc:sldMk cId="1965452385" sldId="283"/>
            <ac:spMk id="2" creationId="{00000000-0000-0000-0000-000000000000}"/>
          </ac:spMkLst>
        </pc:spChg>
        <pc:graphicFrameChg chg="add mod modGraphic">
          <ac:chgData name="Aurore Demoulin (Student at CentraleSupelec)" userId="8586c54a-e12e-4ea3-9b65-4428e4302b50" providerId="ADAL" clId="{E5297846-AE51-4E76-84E4-EFBB3AC64802}" dt="2022-11-23T14:53:34.326" v="2920" actId="1076"/>
          <ac:graphicFrameMkLst>
            <pc:docMk/>
            <pc:sldMk cId="1965452385" sldId="283"/>
            <ac:graphicFrameMk id="3" creationId="{8CAFE477-FFBD-F1D2-A101-B1DA771C80DF}"/>
          </ac:graphicFrameMkLst>
        </pc:graphicFrameChg>
        <pc:picChg chg="add del mod">
          <ac:chgData name="Aurore Demoulin (Student at CentraleSupelec)" userId="8586c54a-e12e-4ea3-9b65-4428e4302b50" providerId="ADAL" clId="{E5297846-AE51-4E76-84E4-EFBB3AC64802}" dt="2022-11-23T16:03:37.450" v="3500" actId="478"/>
          <ac:picMkLst>
            <pc:docMk/>
            <pc:sldMk cId="1965452385" sldId="283"/>
            <ac:picMk id="5" creationId="{D6CFD2D4-5DCB-9DF3-DBC6-9E177B67BD31}"/>
          </ac:picMkLst>
        </pc:picChg>
        <pc:picChg chg="add del mod">
          <ac:chgData name="Aurore Demoulin (Student at CentraleSupelec)" userId="8586c54a-e12e-4ea3-9b65-4428e4302b50" providerId="ADAL" clId="{E5297846-AE51-4E76-84E4-EFBB3AC64802}" dt="2022-11-23T16:05:35.521" v="3518" actId="478"/>
          <ac:picMkLst>
            <pc:docMk/>
            <pc:sldMk cId="1965452385" sldId="283"/>
            <ac:picMk id="6" creationId="{F78A09B7-1EFF-87CA-10CE-E9D48BADFEB0}"/>
          </ac:picMkLst>
        </pc:picChg>
        <pc:picChg chg="add del mod">
          <ac:chgData name="Aurore Demoulin (Student at CentraleSupelec)" userId="8586c54a-e12e-4ea3-9b65-4428e4302b50" providerId="ADAL" clId="{E5297846-AE51-4E76-84E4-EFBB3AC64802}" dt="2022-11-23T16:04:13.932" v="3505" actId="478"/>
          <ac:picMkLst>
            <pc:docMk/>
            <pc:sldMk cId="1965452385" sldId="283"/>
            <ac:picMk id="7" creationId="{29D87CBF-ADEC-4805-50DA-7FC174310E5E}"/>
          </ac:picMkLst>
        </pc:picChg>
        <pc:picChg chg="add del mod">
          <ac:chgData name="Aurore Demoulin (Student at CentraleSupelec)" userId="8586c54a-e12e-4ea3-9b65-4428e4302b50" providerId="ADAL" clId="{E5297846-AE51-4E76-84E4-EFBB3AC64802}" dt="2022-11-23T16:04:15.762" v="3506" actId="478"/>
          <ac:picMkLst>
            <pc:docMk/>
            <pc:sldMk cId="1965452385" sldId="283"/>
            <ac:picMk id="8" creationId="{375DF748-C3CB-0F87-26EE-703F4AE45820}"/>
          </ac:picMkLst>
        </pc:picChg>
        <pc:picChg chg="add del mod">
          <ac:chgData name="Aurore Demoulin (Student at CentraleSupelec)" userId="8586c54a-e12e-4ea3-9b65-4428e4302b50" providerId="ADAL" clId="{E5297846-AE51-4E76-84E4-EFBB3AC64802}" dt="2022-11-23T16:03:28.213" v="3498" actId="478"/>
          <ac:picMkLst>
            <pc:docMk/>
            <pc:sldMk cId="1965452385" sldId="283"/>
            <ac:picMk id="9" creationId="{58040BB5-71B3-7A4E-F6CB-F1E2BBE089F2}"/>
          </ac:picMkLst>
        </pc:picChg>
        <pc:picChg chg="add del mod">
          <ac:chgData name="Aurore Demoulin (Student at CentraleSupelec)" userId="8586c54a-e12e-4ea3-9b65-4428e4302b50" providerId="ADAL" clId="{E5297846-AE51-4E76-84E4-EFBB3AC64802}" dt="2022-11-23T16:04:17.450" v="3507" actId="478"/>
          <ac:picMkLst>
            <pc:docMk/>
            <pc:sldMk cId="1965452385" sldId="283"/>
            <ac:picMk id="10" creationId="{FCAC5C1A-4AAE-3E0F-08AC-E16E6B8430CA}"/>
          </ac:picMkLst>
        </pc:picChg>
        <pc:picChg chg="add del mod">
          <ac:chgData name="Aurore Demoulin (Student at CentraleSupelec)" userId="8586c54a-e12e-4ea3-9b65-4428e4302b50" providerId="ADAL" clId="{E5297846-AE51-4E76-84E4-EFBB3AC64802}" dt="2022-11-23T14:55:27.031" v="2935" actId="478"/>
          <ac:picMkLst>
            <pc:docMk/>
            <pc:sldMk cId="1965452385" sldId="283"/>
            <ac:picMk id="11" creationId="{F69B16BB-C815-D045-F7BA-45551924127F}"/>
          </ac:picMkLst>
        </pc:picChg>
        <pc:picChg chg="add mod">
          <ac:chgData name="Aurore Demoulin (Student at CentraleSupelec)" userId="8586c54a-e12e-4ea3-9b65-4428e4302b50" providerId="ADAL" clId="{E5297846-AE51-4E76-84E4-EFBB3AC64802}" dt="2022-11-23T16:03:34.616" v="3499" actId="1076"/>
          <ac:picMkLst>
            <pc:docMk/>
            <pc:sldMk cId="1965452385" sldId="283"/>
            <ac:picMk id="13" creationId="{37A46EFC-2B28-0902-6CDD-5CB64A4B7A3F}"/>
          </ac:picMkLst>
        </pc:picChg>
        <pc:picChg chg="add del">
          <ac:chgData name="Aurore Demoulin (Student at CentraleSupelec)" userId="8586c54a-e12e-4ea3-9b65-4428e4302b50" providerId="ADAL" clId="{E5297846-AE51-4E76-84E4-EFBB3AC64802}" dt="2022-11-23T16:03:15.326" v="3496" actId="478"/>
          <ac:picMkLst>
            <pc:docMk/>
            <pc:sldMk cId="1965452385" sldId="283"/>
            <ac:picMk id="15" creationId="{27122215-654B-EFF3-5716-83F5C60C886A}"/>
          </ac:picMkLst>
        </pc:picChg>
        <pc:picChg chg="add del">
          <ac:chgData name="Aurore Demoulin (Student at CentraleSupelec)" userId="8586c54a-e12e-4ea3-9b65-4428e4302b50" providerId="ADAL" clId="{E5297846-AE51-4E76-84E4-EFBB3AC64802}" dt="2022-11-23T16:03:40.702" v="3502" actId="478"/>
          <ac:picMkLst>
            <pc:docMk/>
            <pc:sldMk cId="1965452385" sldId="283"/>
            <ac:picMk id="17" creationId="{22BE1CFC-7271-CAF6-9522-003B78B29EA4}"/>
          </ac:picMkLst>
        </pc:picChg>
        <pc:picChg chg="add mod">
          <ac:chgData name="Aurore Demoulin (Student at CentraleSupelec)" userId="8586c54a-e12e-4ea3-9b65-4428e4302b50" providerId="ADAL" clId="{E5297846-AE51-4E76-84E4-EFBB3AC64802}" dt="2022-11-23T16:03:55.471" v="3504" actId="1076"/>
          <ac:picMkLst>
            <pc:docMk/>
            <pc:sldMk cId="1965452385" sldId="283"/>
            <ac:picMk id="18" creationId="{E37F56F5-234F-731F-CCBA-8B9FC592F28C}"/>
          </ac:picMkLst>
        </pc:picChg>
        <pc:picChg chg="add mod modCrop">
          <ac:chgData name="Aurore Demoulin (Student at CentraleSupelec)" userId="8586c54a-e12e-4ea3-9b65-4428e4302b50" providerId="ADAL" clId="{E5297846-AE51-4E76-84E4-EFBB3AC64802}" dt="2022-11-23T16:04:56.343" v="3510" actId="1076"/>
          <ac:picMkLst>
            <pc:docMk/>
            <pc:sldMk cId="1965452385" sldId="283"/>
            <ac:picMk id="19" creationId="{C6528322-1335-E008-AFC6-4D358CB6BD90}"/>
          </ac:picMkLst>
        </pc:picChg>
        <pc:picChg chg="add del mod">
          <ac:chgData name="Aurore Demoulin (Student at CentraleSupelec)" userId="8586c54a-e12e-4ea3-9b65-4428e4302b50" providerId="ADAL" clId="{E5297846-AE51-4E76-84E4-EFBB3AC64802}" dt="2022-11-23T16:05:01.552" v="3512" actId="478"/>
          <ac:picMkLst>
            <pc:docMk/>
            <pc:sldMk cId="1965452385" sldId="283"/>
            <ac:picMk id="20" creationId="{7AB7F938-2FA7-A353-3008-05A8B4966B5D}"/>
          </ac:picMkLst>
        </pc:picChg>
        <pc:picChg chg="add mod">
          <ac:chgData name="Aurore Demoulin (Student at CentraleSupelec)" userId="8586c54a-e12e-4ea3-9b65-4428e4302b50" providerId="ADAL" clId="{E5297846-AE51-4E76-84E4-EFBB3AC64802}" dt="2022-11-23T16:05:12.962" v="3514" actId="1076"/>
          <ac:picMkLst>
            <pc:docMk/>
            <pc:sldMk cId="1965452385" sldId="283"/>
            <ac:picMk id="21" creationId="{5AB951C8-29D8-6483-74C5-90EE1D0FCC07}"/>
          </ac:picMkLst>
        </pc:picChg>
        <pc:picChg chg="add mod modCrop">
          <ac:chgData name="Aurore Demoulin (Student at CentraleSupelec)" userId="8586c54a-e12e-4ea3-9b65-4428e4302b50" providerId="ADAL" clId="{E5297846-AE51-4E76-84E4-EFBB3AC64802}" dt="2022-11-23T16:05:33.302" v="3517" actId="1076"/>
          <ac:picMkLst>
            <pc:docMk/>
            <pc:sldMk cId="1965452385" sldId="283"/>
            <ac:picMk id="22" creationId="{81B821AA-E9D5-63FD-7AAE-321F141ADD3B}"/>
          </ac:picMkLst>
        </pc:picChg>
        <pc:picChg chg="add del mod">
          <ac:chgData name="Aurore Demoulin (Student at CentraleSupelec)" userId="8586c54a-e12e-4ea3-9b65-4428e4302b50" providerId="ADAL" clId="{E5297846-AE51-4E76-84E4-EFBB3AC64802}" dt="2022-11-23T16:05:38.322" v="3520" actId="478"/>
          <ac:picMkLst>
            <pc:docMk/>
            <pc:sldMk cId="1965452385" sldId="283"/>
            <ac:picMk id="23" creationId="{89CC35B1-B08B-6298-33D6-DAFC6287F28A}"/>
          </ac:picMkLst>
        </pc:picChg>
        <pc:picChg chg="add mod">
          <ac:chgData name="Aurore Demoulin (Student at CentraleSupelec)" userId="8586c54a-e12e-4ea3-9b65-4428e4302b50" providerId="ADAL" clId="{E5297846-AE51-4E76-84E4-EFBB3AC64802}" dt="2022-11-23T16:05:47.958" v="3522" actId="1076"/>
          <ac:picMkLst>
            <pc:docMk/>
            <pc:sldMk cId="1965452385" sldId="283"/>
            <ac:picMk id="24" creationId="{8263759E-49BE-3A3B-9FE0-86706B97BE8A}"/>
          </ac:picMkLst>
        </pc:picChg>
      </pc:sldChg>
      <pc:sldChg chg="modSp mod ord setBg">
        <pc:chgData name="Aurore Demoulin (Student at CentraleSupelec)" userId="8586c54a-e12e-4ea3-9b65-4428e4302b50" providerId="ADAL" clId="{E5297846-AE51-4E76-84E4-EFBB3AC64802}" dt="2022-11-30T09:28:15.454" v="8033"/>
        <pc:sldMkLst>
          <pc:docMk/>
          <pc:sldMk cId="531656296" sldId="287"/>
        </pc:sldMkLst>
        <pc:spChg chg="mod">
          <ac:chgData name="Aurore Demoulin (Student at CentraleSupelec)" userId="8586c54a-e12e-4ea3-9b65-4428e4302b50" providerId="ADAL" clId="{E5297846-AE51-4E76-84E4-EFBB3AC64802}" dt="2022-11-30T09:28:04.589" v="8031" actId="1076"/>
          <ac:spMkLst>
            <pc:docMk/>
            <pc:sldMk cId="531656296" sldId="287"/>
            <ac:spMk id="16" creationId="{2B9B8881-9AB3-BF71-7A4A-0B688D80E9BF}"/>
          </ac:spMkLst>
        </pc:spChg>
      </pc:sldChg>
      <pc:sldChg chg="del mod modShow">
        <pc:chgData name="Aurore Demoulin (Student at CentraleSupelec)" userId="8586c54a-e12e-4ea3-9b65-4428e4302b50" providerId="ADAL" clId="{E5297846-AE51-4E76-84E4-EFBB3AC64802}" dt="2022-12-01T15:56:29.264" v="11807" actId="47"/>
        <pc:sldMkLst>
          <pc:docMk/>
          <pc:sldMk cId="2074534126" sldId="292"/>
        </pc:sldMkLst>
      </pc:sldChg>
      <pc:sldChg chg="modSp mod ord setBg">
        <pc:chgData name="Aurore Demoulin (Student at CentraleSupelec)" userId="8586c54a-e12e-4ea3-9b65-4428e4302b50" providerId="ADAL" clId="{E5297846-AE51-4E76-84E4-EFBB3AC64802}" dt="2022-11-30T09:22:33.141" v="7798" actId="20577"/>
        <pc:sldMkLst>
          <pc:docMk/>
          <pc:sldMk cId="179811998" sldId="293"/>
        </pc:sldMkLst>
        <pc:spChg chg="mod">
          <ac:chgData name="Aurore Demoulin (Student at CentraleSupelec)" userId="8586c54a-e12e-4ea3-9b65-4428e4302b50" providerId="ADAL" clId="{E5297846-AE51-4E76-84E4-EFBB3AC64802}" dt="2022-11-30T09:22:33.141" v="7798" actId="20577"/>
          <ac:spMkLst>
            <pc:docMk/>
            <pc:sldMk cId="179811998" sldId="293"/>
            <ac:spMk id="3" creationId="{00000000-0000-0000-0000-000000000000}"/>
          </ac:spMkLst>
        </pc:spChg>
        <pc:spChg chg="mod">
          <ac:chgData name="Aurore Demoulin (Student at CentraleSupelec)" userId="8586c54a-e12e-4ea3-9b65-4428e4302b50" providerId="ADAL" clId="{E5297846-AE51-4E76-84E4-EFBB3AC64802}" dt="2022-11-25T09:48:37.810" v="3539" actId="1076"/>
          <ac:spMkLst>
            <pc:docMk/>
            <pc:sldMk cId="179811998" sldId="293"/>
            <ac:spMk id="9" creationId="{A8D0194B-D17D-F740-29A8-3E0E87AA329B}"/>
          </ac:spMkLst>
        </pc:spChg>
        <pc:spChg chg="mod">
          <ac:chgData name="Aurore Demoulin (Student at CentraleSupelec)" userId="8586c54a-e12e-4ea3-9b65-4428e4302b50" providerId="ADAL" clId="{E5297846-AE51-4E76-84E4-EFBB3AC64802}" dt="2022-11-25T09:48:48.044" v="3540" actId="1076"/>
          <ac:spMkLst>
            <pc:docMk/>
            <pc:sldMk cId="179811998" sldId="293"/>
            <ac:spMk id="12" creationId="{9D2EBCC8-9B32-A4AF-9405-BE39510DA3CC}"/>
          </ac:spMkLst>
        </pc:spChg>
        <pc:spChg chg="mod">
          <ac:chgData name="Aurore Demoulin (Student at CentraleSupelec)" userId="8586c54a-e12e-4ea3-9b65-4428e4302b50" providerId="ADAL" clId="{E5297846-AE51-4E76-84E4-EFBB3AC64802}" dt="2022-11-25T09:48:25.471" v="3538" actId="1076"/>
          <ac:spMkLst>
            <pc:docMk/>
            <pc:sldMk cId="179811998" sldId="293"/>
            <ac:spMk id="19" creationId="{C93CF4DF-5E53-BD8E-33D0-937C18A7187B}"/>
          </ac:spMkLst>
        </pc:spChg>
        <pc:picChg chg="mod">
          <ac:chgData name="Aurore Demoulin (Student at CentraleSupelec)" userId="8586c54a-e12e-4ea3-9b65-4428e4302b50" providerId="ADAL" clId="{E5297846-AE51-4E76-84E4-EFBB3AC64802}" dt="2022-11-25T09:50:32.122" v="3547" actId="1076"/>
          <ac:picMkLst>
            <pc:docMk/>
            <pc:sldMk cId="179811998" sldId="293"/>
            <ac:picMk id="6" creationId="{73AD0F3A-3C45-7DFD-EDBA-3DC158631711}"/>
          </ac:picMkLst>
        </pc:picChg>
        <pc:picChg chg="mod">
          <ac:chgData name="Aurore Demoulin (Student at CentraleSupelec)" userId="8586c54a-e12e-4ea3-9b65-4428e4302b50" providerId="ADAL" clId="{E5297846-AE51-4E76-84E4-EFBB3AC64802}" dt="2022-11-25T09:50:23.573" v="3546" actId="1076"/>
          <ac:picMkLst>
            <pc:docMk/>
            <pc:sldMk cId="179811998" sldId="293"/>
            <ac:picMk id="18" creationId="{7C6996E0-D9E6-FDB7-4684-12236C40586E}"/>
          </ac:picMkLst>
        </pc:picChg>
        <pc:picChg chg="mod">
          <ac:chgData name="Aurore Demoulin (Student at CentraleSupelec)" userId="8586c54a-e12e-4ea3-9b65-4428e4302b50" providerId="ADAL" clId="{E5297846-AE51-4E76-84E4-EFBB3AC64802}" dt="2022-11-25T09:50:17.147" v="3545" actId="1076"/>
          <ac:picMkLst>
            <pc:docMk/>
            <pc:sldMk cId="179811998" sldId="293"/>
            <ac:picMk id="20" creationId="{31DF2577-2B03-DF33-6237-BBE0517AB9C6}"/>
          </ac:picMkLst>
        </pc:picChg>
        <pc:picChg chg="mod">
          <ac:chgData name="Aurore Demoulin (Student at CentraleSupelec)" userId="8586c54a-e12e-4ea3-9b65-4428e4302b50" providerId="ADAL" clId="{E5297846-AE51-4E76-84E4-EFBB3AC64802}" dt="2022-11-25T09:50:40.031" v="3548" actId="1076"/>
          <ac:picMkLst>
            <pc:docMk/>
            <pc:sldMk cId="179811998" sldId="293"/>
            <ac:picMk id="21" creationId="{CEDA1A99-D2AC-1144-4746-EC39C70A6E95}"/>
          </ac:picMkLst>
        </pc:picChg>
      </pc:sldChg>
      <pc:sldChg chg="addSp modSp mod ord setBg">
        <pc:chgData name="Aurore Demoulin (Student at CentraleSupelec)" userId="8586c54a-e12e-4ea3-9b65-4428e4302b50" providerId="ADAL" clId="{E5297846-AE51-4E76-84E4-EFBB3AC64802}" dt="2022-12-01T15:16:28.917" v="11327" actId="20577"/>
        <pc:sldMkLst>
          <pc:docMk/>
          <pc:sldMk cId="199762290" sldId="294"/>
        </pc:sldMkLst>
        <pc:spChg chg="mod">
          <ac:chgData name="Aurore Demoulin (Student at CentraleSupelec)" userId="8586c54a-e12e-4ea3-9b65-4428e4302b50" providerId="ADAL" clId="{E5297846-AE51-4E76-84E4-EFBB3AC64802}" dt="2022-12-01T15:16:28.917" v="11327" actId="20577"/>
          <ac:spMkLst>
            <pc:docMk/>
            <pc:sldMk cId="199762290" sldId="294"/>
            <ac:spMk id="2" creationId="{00000000-0000-0000-0000-000000000000}"/>
          </ac:spMkLst>
        </pc:spChg>
        <pc:spChg chg="add mod">
          <ac:chgData name="Aurore Demoulin (Student at CentraleSupelec)" userId="8586c54a-e12e-4ea3-9b65-4428e4302b50" providerId="ADAL" clId="{E5297846-AE51-4E76-84E4-EFBB3AC64802}" dt="2022-11-25T10:42:14.790" v="4690" actId="207"/>
          <ac:spMkLst>
            <pc:docMk/>
            <pc:sldMk cId="199762290" sldId="294"/>
            <ac:spMk id="4" creationId="{B66E7230-46E2-6107-D124-0F5847C71900}"/>
          </ac:spMkLst>
        </pc:spChg>
        <pc:graphicFrameChg chg="mod">
          <ac:chgData name="Aurore Demoulin (Student at CentraleSupelec)" userId="8586c54a-e12e-4ea3-9b65-4428e4302b50" providerId="ADAL" clId="{E5297846-AE51-4E76-84E4-EFBB3AC64802}" dt="2022-11-25T10:41:33.468" v="4679" actId="1037"/>
          <ac:graphicFrameMkLst>
            <pc:docMk/>
            <pc:sldMk cId="199762290" sldId="294"/>
            <ac:graphicFrameMk id="3" creationId="{8CAFE477-FFBD-F1D2-A101-B1DA771C80DF}"/>
          </ac:graphicFrameMkLst>
        </pc:graphicFrameChg>
        <pc:picChg chg="mod">
          <ac:chgData name="Aurore Demoulin (Student at CentraleSupelec)" userId="8586c54a-e12e-4ea3-9b65-4428e4302b50" providerId="ADAL" clId="{E5297846-AE51-4E76-84E4-EFBB3AC64802}" dt="2022-11-25T10:41:33.468" v="4679" actId="1037"/>
          <ac:picMkLst>
            <pc:docMk/>
            <pc:sldMk cId="199762290" sldId="294"/>
            <ac:picMk id="13" creationId="{37A46EFC-2B28-0902-6CDD-5CB64A4B7A3F}"/>
          </ac:picMkLst>
        </pc:picChg>
        <pc:picChg chg="mod">
          <ac:chgData name="Aurore Demoulin (Student at CentraleSupelec)" userId="8586c54a-e12e-4ea3-9b65-4428e4302b50" providerId="ADAL" clId="{E5297846-AE51-4E76-84E4-EFBB3AC64802}" dt="2022-11-25T10:41:33.468" v="4679" actId="1037"/>
          <ac:picMkLst>
            <pc:docMk/>
            <pc:sldMk cId="199762290" sldId="294"/>
            <ac:picMk id="18" creationId="{E37F56F5-234F-731F-CCBA-8B9FC592F28C}"/>
          </ac:picMkLst>
        </pc:picChg>
        <pc:picChg chg="mod">
          <ac:chgData name="Aurore Demoulin (Student at CentraleSupelec)" userId="8586c54a-e12e-4ea3-9b65-4428e4302b50" providerId="ADAL" clId="{E5297846-AE51-4E76-84E4-EFBB3AC64802}" dt="2022-11-25T10:41:33.468" v="4679" actId="1037"/>
          <ac:picMkLst>
            <pc:docMk/>
            <pc:sldMk cId="199762290" sldId="294"/>
            <ac:picMk id="19" creationId="{C6528322-1335-E008-AFC6-4D358CB6BD90}"/>
          </ac:picMkLst>
        </pc:picChg>
        <pc:picChg chg="mod">
          <ac:chgData name="Aurore Demoulin (Student at CentraleSupelec)" userId="8586c54a-e12e-4ea3-9b65-4428e4302b50" providerId="ADAL" clId="{E5297846-AE51-4E76-84E4-EFBB3AC64802}" dt="2022-11-25T10:41:33.468" v="4679" actId="1037"/>
          <ac:picMkLst>
            <pc:docMk/>
            <pc:sldMk cId="199762290" sldId="294"/>
            <ac:picMk id="21" creationId="{5AB951C8-29D8-6483-74C5-90EE1D0FCC07}"/>
          </ac:picMkLst>
        </pc:picChg>
        <pc:picChg chg="mod">
          <ac:chgData name="Aurore Demoulin (Student at CentraleSupelec)" userId="8586c54a-e12e-4ea3-9b65-4428e4302b50" providerId="ADAL" clId="{E5297846-AE51-4E76-84E4-EFBB3AC64802}" dt="2022-11-25T10:41:33.468" v="4679" actId="1037"/>
          <ac:picMkLst>
            <pc:docMk/>
            <pc:sldMk cId="199762290" sldId="294"/>
            <ac:picMk id="22" creationId="{81B821AA-E9D5-63FD-7AAE-321F141ADD3B}"/>
          </ac:picMkLst>
        </pc:picChg>
        <pc:picChg chg="mod">
          <ac:chgData name="Aurore Demoulin (Student at CentraleSupelec)" userId="8586c54a-e12e-4ea3-9b65-4428e4302b50" providerId="ADAL" clId="{E5297846-AE51-4E76-84E4-EFBB3AC64802}" dt="2022-11-25T10:41:33.468" v="4679" actId="1037"/>
          <ac:picMkLst>
            <pc:docMk/>
            <pc:sldMk cId="199762290" sldId="294"/>
            <ac:picMk id="24" creationId="{8263759E-49BE-3A3B-9FE0-86706B97BE8A}"/>
          </ac:picMkLst>
        </pc:picChg>
      </pc:sldChg>
      <pc:sldChg chg="modSp mod">
        <pc:chgData name="Aurore Demoulin (Student at CentraleSupelec)" userId="8586c54a-e12e-4ea3-9b65-4428e4302b50" providerId="ADAL" clId="{E5297846-AE51-4E76-84E4-EFBB3AC64802}" dt="2022-12-01T14:07:15.989" v="9312" actId="20577"/>
        <pc:sldMkLst>
          <pc:docMk/>
          <pc:sldMk cId="2108961930" sldId="295"/>
        </pc:sldMkLst>
        <pc:spChg chg="mod">
          <ac:chgData name="Aurore Demoulin (Student at CentraleSupelec)" userId="8586c54a-e12e-4ea3-9b65-4428e4302b50" providerId="ADAL" clId="{E5297846-AE51-4E76-84E4-EFBB3AC64802}" dt="2022-12-01T14:07:15.989" v="9312" actId="20577"/>
          <ac:spMkLst>
            <pc:docMk/>
            <pc:sldMk cId="2108961930" sldId="295"/>
            <ac:spMk id="3" creationId="{00000000-0000-0000-0000-000000000000}"/>
          </ac:spMkLst>
        </pc:spChg>
        <pc:graphicFrameChg chg="mod">
          <ac:chgData name="Aurore Demoulin (Student at CentraleSupelec)" userId="8586c54a-e12e-4ea3-9b65-4428e4302b50" providerId="ADAL" clId="{E5297846-AE51-4E76-84E4-EFBB3AC64802}" dt="2022-12-01T13:47:08.264" v="9268" actId="1582"/>
          <ac:graphicFrameMkLst>
            <pc:docMk/>
            <pc:sldMk cId="2108961930" sldId="295"/>
            <ac:graphicFrameMk id="14" creationId="{6BF42E3F-1D15-9538-B5D4-9953836C7559}"/>
          </ac:graphicFrameMkLst>
        </pc:graphicFrameChg>
      </pc:sldChg>
      <pc:sldChg chg="addSp delSp modSp mod">
        <pc:chgData name="Aurore Demoulin (Student at CentraleSupelec)" userId="8586c54a-e12e-4ea3-9b65-4428e4302b50" providerId="ADAL" clId="{E5297846-AE51-4E76-84E4-EFBB3AC64802}" dt="2022-12-01T15:32:06.758" v="11414" actId="20577"/>
        <pc:sldMkLst>
          <pc:docMk/>
          <pc:sldMk cId="2258179845" sldId="296"/>
        </pc:sldMkLst>
        <pc:spChg chg="del mod">
          <ac:chgData name="Aurore Demoulin (Student at CentraleSupelec)" userId="8586c54a-e12e-4ea3-9b65-4428e4302b50" providerId="ADAL" clId="{E5297846-AE51-4E76-84E4-EFBB3AC64802}" dt="2022-12-01T14:31:49.688" v="9500" actId="478"/>
          <ac:spMkLst>
            <pc:docMk/>
            <pc:sldMk cId="2258179845" sldId="296"/>
            <ac:spMk id="2" creationId="{EFB91388-940E-0DAC-1B46-B9F63010731D}"/>
          </ac:spMkLst>
        </pc:spChg>
        <pc:spChg chg="mod">
          <ac:chgData name="Aurore Demoulin (Student at CentraleSupelec)" userId="8586c54a-e12e-4ea3-9b65-4428e4302b50" providerId="ADAL" clId="{E5297846-AE51-4E76-84E4-EFBB3AC64802}" dt="2022-12-01T14:07:43.773" v="9316" actId="20577"/>
          <ac:spMkLst>
            <pc:docMk/>
            <pc:sldMk cId="2258179845" sldId="296"/>
            <ac:spMk id="3" creationId="{00000000-0000-0000-0000-000000000000}"/>
          </ac:spMkLst>
        </pc:spChg>
        <pc:spChg chg="del mod">
          <ac:chgData name="Aurore Demoulin (Student at CentraleSupelec)" userId="8586c54a-e12e-4ea3-9b65-4428e4302b50" providerId="ADAL" clId="{E5297846-AE51-4E76-84E4-EFBB3AC64802}" dt="2022-12-01T14:31:47.401" v="9499" actId="478"/>
          <ac:spMkLst>
            <pc:docMk/>
            <pc:sldMk cId="2258179845" sldId="296"/>
            <ac:spMk id="8" creationId="{3C7104CA-CE0D-B4A9-A88C-3A519FBF7C59}"/>
          </ac:spMkLst>
        </pc:spChg>
        <pc:spChg chg="add mod">
          <ac:chgData name="Aurore Demoulin (Student at CentraleSupelec)" userId="8586c54a-e12e-4ea3-9b65-4428e4302b50" providerId="ADAL" clId="{E5297846-AE51-4E76-84E4-EFBB3AC64802}" dt="2022-12-01T14:25:25.174" v="9400" actId="12789"/>
          <ac:spMkLst>
            <pc:docMk/>
            <pc:sldMk cId="2258179845" sldId="296"/>
            <ac:spMk id="16" creationId="{2AEBE5D4-D8E9-EC04-ADFF-B3E4DE109B52}"/>
          </ac:spMkLst>
        </pc:spChg>
        <pc:spChg chg="add mod">
          <ac:chgData name="Aurore Demoulin (Student at CentraleSupelec)" userId="8586c54a-e12e-4ea3-9b65-4428e4302b50" providerId="ADAL" clId="{E5297846-AE51-4E76-84E4-EFBB3AC64802}" dt="2022-12-01T14:32:14.778" v="9515" actId="207"/>
          <ac:spMkLst>
            <pc:docMk/>
            <pc:sldMk cId="2258179845" sldId="296"/>
            <ac:spMk id="32" creationId="{D3577452-B991-BED5-38D3-F1BE83532D1C}"/>
          </ac:spMkLst>
        </pc:spChg>
        <pc:spChg chg="mod">
          <ac:chgData name="Aurore Demoulin (Student at CentraleSupelec)" userId="8586c54a-e12e-4ea3-9b65-4428e4302b50" providerId="ADAL" clId="{E5297846-AE51-4E76-84E4-EFBB3AC64802}" dt="2022-12-01T14:22:23.723" v="9368" actId="21"/>
          <ac:spMkLst>
            <pc:docMk/>
            <pc:sldMk cId="2258179845" sldId="296"/>
            <ac:spMk id="38" creationId="{81D4CBA3-FE50-000E-6D72-7D5053794CAD}"/>
          </ac:spMkLst>
        </pc:spChg>
        <pc:spChg chg="mod">
          <ac:chgData name="Aurore Demoulin (Student at CentraleSupelec)" userId="8586c54a-e12e-4ea3-9b65-4428e4302b50" providerId="ADAL" clId="{E5297846-AE51-4E76-84E4-EFBB3AC64802}" dt="2022-12-01T15:32:06.758" v="11414" actId="20577"/>
          <ac:spMkLst>
            <pc:docMk/>
            <pc:sldMk cId="2258179845" sldId="296"/>
            <ac:spMk id="39" creationId="{16609CEB-0B65-05D9-C3AC-E3B5AA26999D}"/>
          </ac:spMkLst>
        </pc:spChg>
        <pc:spChg chg="mod">
          <ac:chgData name="Aurore Demoulin (Student at CentraleSupelec)" userId="8586c54a-e12e-4ea3-9b65-4428e4302b50" providerId="ADAL" clId="{E5297846-AE51-4E76-84E4-EFBB3AC64802}" dt="2022-12-01T15:14:54.077" v="11314" actId="20577"/>
          <ac:spMkLst>
            <pc:docMk/>
            <pc:sldMk cId="2258179845" sldId="296"/>
            <ac:spMk id="40" creationId="{431E5C93-D149-45D7-A46F-5A2777723CDA}"/>
          </ac:spMkLst>
        </pc:spChg>
        <pc:spChg chg="mod">
          <ac:chgData name="Aurore Demoulin (Student at CentraleSupelec)" userId="8586c54a-e12e-4ea3-9b65-4428e4302b50" providerId="ADAL" clId="{E5297846-AE51-4E76-84E4-EFBB3AC64802}" dt="2022-12-01T14:25:25.174" v="9400" actId="12789"/>
          <ac:spMkLst>
            <pc:docMk/>
            <pc:sldMk cId="2258179845" sldId="296"/>
            <ac:spMk id="48" creationId="{B545042F-F63D-28EA-5173-D3A6F9201011}"/>
          </ac:spMkLst>
        </pc:spChg>
        <pc:spChg chg="mod">
          <ac:chgData name="Aurore Demoulin (Student at CentraleSupelec)" userId="8586c54a-e12e-4ea3-9b65-4428e4302b50" providerId="ADAL" clId="{E5297846-AE51-4E76-84E4-EFBB3AC64802}" dt="2022-12-01T14:28:59.947" v="9415" actId="20577"/>
          <ac:spMkLst>
            <pc:docMk/>
            <pc:sldMk cId="2258179845" sldId="296"/>
            <ac:spMk id="49" creationId="{52C01335-73F2-80E5-D687-D36FC05D517B}"/>
          </ac:spMkLst>
        </pc:spChg>
        <pc:spChg chg="mod">
          <ac:chgData name="Aurore Demoulin (Student at CentraleSupelec)" userId="8586c54a-e12e-4ea3-9b65-4428e4302b50" providerId="ADAL" clId="{E5297846-AE51-4E76-84E4-EFBB3AC64802}" dt="2022-12-01T15:14:57.986" v="11318" actId="20577"/>
          <ac:spMkLst>
            <pc:docMk/>
            <pc:sldMk cId="2258179845" sldId="296"/>
            <ac:spMk id="52" creationId="{3E085C28-A2AF-6A7B-5CD5-CB4EE5A2AA9B}"/>
          </ac:spMkLst>
        </pc:spChg>
        <pc:spChg chg="mod">
          <ac:chgData name="Aurore Demoulin (Student at CentraleSupelec)" userId="8586c54a-e12e-4ea3-9b65-4428e4302b50" providerId="ADAL" clId="{E5297846-AE51-4E76-84E4-EFBB3AC64802}" dt="2022-12-01T14:25:25.174" v="9400" actId="12789"/>
          <ac:spMkLst>
            <pc:docMk/>
            <pc:sldMk cId="2258179845" sldId="296"/>
            <ac:spMk id="57" creationId="{6BD639C4-1D16-5213-405A-0D3A45152682}"/>
          </ac:spMkLst>
        </pc:spChg>
        <pc:spChg chg="mod">
          <ac:chgData name="Aurore Demoulin (Student at CentraleSupelec)" userId="8586c54a-e12e-4ea3-9b65-4428e4302b50" providerId="ADAL" clId="{E5297846-AE51-4E76-84E4-EFBB3AC64802}" dt="2022-12-01T14:29:41.883" v="9426" actId="20577"/>
          <ac:spMkLst>
            <pc:docMk/>
            <pc:sldMk cId="2258179845" sldId="296"/>
            <ac:spMk id="58" creationId="{CC81F074-70E3-3666-F774-860E9C5AF070}"/>
          </ac:spMkLst>
        </pc:spChg>
        <pc:spChg chg="mod">
          <ac:chgData name="Aurore Demoulin (Student at CentraleSupelec)" userId="8586c54a-e12e-4ea3-9b65-4428e4302b50" providerId="ADAL" clId="{E5297846-AE51-4E76-84E4-EFBB3AC64802}" dt="2022-12-01T15:15:06.383" v="11322" actId="20577"/>
          <ac:spMkLst>
            <pc:docMk/>
            <pc:sldMk cId="2258179845" sldId="296"/>
            <ac:spMk id="59" creationId="{85D94BA3-7B29-C2A3-11DE-E280FBE4C710}"/>
          </ac:spMkLst>
        </pc:spChg>
        <pc:picChg chg="add mod">
          <ac:chgData name="Aurore Demoulin (Student at CentraleSupelec)" userId="8586c54a-e12e-4ea3-9b65-4428e4302b50" providerId="ADAL" clId="{E5297846-AE51-4E76-84E4-EFBB3AC64802}" dt="2022-12-01T14:26:35.793" v="9407" actId="1076"/>
          <ac:picMkLst>
            <pc:docMk/>
            <pc:sldMk cId="2258179845" sldId="296"/>
            <ac:picMk id="20" creationId="{C547C74C-597C-37EB-948E-B8C54FA0B6D0}"/>
          </ac:picMkLst>
        </pc:picChg>
        <pc:picChg chg="add mod">
          <ac:chgData name="Aurore Demoulin (Student at CentraleSupelec)" userId="8586c54a-e12e-4ea3-9b65-4428e4302b50" providerId="ADAL" clId="{E5297846-AE51-4E76-84E4-EFBB3AC64802}" dt="2022-12-01T14:28:46.882" v="9413" actId="1076"/>
          <ac:picMkLst>
            <pc:docMk/>
            <pc:sldMk cId="2258179845" sldId="296"/>
            <ac:picMk id="30" creationId="{A894DCD4-FECE-5061-8A04-7DCA50C609F5}"/>
          </ac:picMkLst>
        </pc:picChg>
        <pc:cxnChg chg="del">
          <ac:chgData name="Aurore Demoulin (Student at CentraleSupelec)" userId="8586c54a-e12e-4ea3-9b65-4428e4302b50" providerId="ADAL" clId="{E5297846-AE51-4E76-84E4-EFBB3AC64802}" dt="2022-12-01T13:50:06.236" v="9297" actId="478"/>
          <ac:cxnSpMkLst>
            <pc:docMk/>
            <pc:sldMk cId="2258179845" sldId="296"/>
            <ac:cxnSpMk id="19" creationId="{93A0E6E8-AABC-4F9A-7145-3605EB44AF5D}"/>
          </ac:cxnSpMkLst>
        </pc:cxnChg>
        <pc:cxnChg chg="del">
          <ac:chgData name="Aurore Demoulin (Student at CentraleSupelec)" userId="8586c54a-e12e-4ea3-9b65-4428e4302b50" providerId="ADAL" clId="{E5297846-AE51-4E76-84E4-EFBB3AC64802}" dt="2022-12-01T13:49:49.732" v="9283" actId="478"/>
          <ac:cxnSpMkLst>
            <pc:docMk/>
            <pc:sldMk cId="2258179845" sldId="296"/>
            <ac:cxnSpMk id="36" creationId="{FCA7BA67-E803-C225-20C1-2A570636F5E8}"/>
          </ac:cxnSpMkLst>
        </pc:cxnChg>
      </pc:sldChg>
      <pc:sldChg chg="modSp mod ord">
        <pc:chgData name="Aurore Demoulin (Student at CentraleSupelec)" userId="8586c54a-e12e-4ea3-9b65-4428e4302b50" providerId="ADAL" clId="{E5297846-AE51-4E76-84E4-EFBB3AC64802}" dt="2022-11-30T09:28:22.880" v="8035" actId="20577"/>
        <pc:sldMkLst>
          <pc:docMk/>
          <pc:sldMk cId="2450467116" sldId="301"/>
        </pc:sldMkLst>
        <pc:spChg chg="mod">
          <ac:chgData name="Aurore Demoulin (Student at CentraleSupelec)" userId="8586c54a-e12e-4ea3-9b65-4428e4302b50" providerId="ADAL" clId="{E5297846-AE51-4E76-84E4-EFBB3AC64802}" dt="2022-11-30T09:28:22.880" v="8035" actId="20577"/>
          <ac:spMkLst>
            <pc:docMk/>
            <pc:sldMk cId="2450467116" sldId="301"/>
            <ac:spMk id="2" creationId="{2E7D7E47-8883-FFA1-6233-F06BB274F14C}"/>
          </ac:spMkLst>
        </pc:spChg>
      </pc:sldChg>
      <pc:sldChg chg="modSp mod ord setBg">
        <pc:chgData name="Aurore Demoulin (Student at CentraleSupelec)" userId="8586c54a-e12e-4ea3-9b65-4428e4302b50" providerId="ADAL" clId="{E5297846-AE51-4E76-84E4-EFBB3AC64802}" dt="2022-11-30T09:24:25.833" v="7884" actId="20577"/>
        <pc:sldMkLst>
          <pc:docMk/>
          <pc:sldMk cId="4032139296" sldId="303"/>
        </pc:sldMkLst>
        <pc:spChg chg="mod">
          <ac:chgData name="Aurore Demoulin (Student at CentraleSupelec)" userId="8586c54a-e12e-4ea3-9b65-4428e4302b50" providerId="ADAL" clId="{E5297846-AE51-4E76-84E4-EFBB3AC64802}" dt="2022-11-30T09:24:25.833" v="7884" actId="20577"/>
          <ac:spMkLst>
            <pc:docMk/>
            <pc:sldMk cId="4032139296" sldId="303"/>
            <ac:spMk id="3" creationId="{00000000-0000-0000-0000-000000000000}"/>
          </ac:spMkLst>
        </pc:spChg>
      </pc:sldChg>
      <pc:sldChg chg="modSp mod ord setBg">
        <pc:chgData name="Aurore Demoulin (Student at CentraleSupelec)" userId="8586c54a-e12e-4ea3-9b65-4428e4302b50" providerId="ADAL" clId="{E5297846-AE51-4E76-84E4-EFBB3AC64802}" dt="2022-11-30T09:24:44.054" v="7899" actId="20577"/>
        <pc:sldMkLst>
          <pc:docMk/>
          <pc:sldMk cId="2887040492" sldId="304"/>
        </pc:sldMkLst>
        <pc:spChg chg="mod">
          <ac:chgData name="Aurore Demoulin (Student at CentraleSupelec)" userId="8586c54a-e12e-4ea3-9b65-4428e4302b50" providerId="ADAL" clId="{E5297846-AE51-4E76-84E4-EFBB3AC64802}" dt="2022-11-30T09:24:44.054" v="7899" actId="20577"/>
          <ac:spMkLst>
            <pc:docMk/>
            <pc:sldMk cId="2887040492" sldId="304"/>
            <ac:spMk id="3" creationId="{00000000-0000-0000-0000-000000000000}"/>
          </ac:spMkLst>
        </pc:spChg>
      </pc:sldChg>
      <pc:sldChg chg="add del mod modShow">
        <pc:chgData name="Aurore Demoulin (Student at CentraleSupelec)" userId="8586c54a-e12e-4ea3-9b65-4428e4302b50" providerId="ADAL" clId="{E5297846-AE51-4E76-84E4-EFBB3AC64802}" dt="2022-12-01T15:56:32.051" v="11808" actId="47"/>
        <pc:sldMkLst>
          <pc:docMk/>
          <pc:sldMk cId="1960100333" sldId="324"/>
        </pc:sldMkLst>
      </pc:sldChg>
      <pc:sldChg chg="del">
        <pc:chgData name="Aurore Demoulin (Student at CentraleSupelec)" userId="8586c54a-e12e-4ea3-9b65-4428e4302b50" providerId="ADAL" clId="{E5297846-AE51-4E76-84E4-EFBB3AC64802}" dt="2022-11-25T10:39:16.186" v="4637" actId="47"/>
        <pc:sldMkLst>
          <pc:docMk/>
          <pc:sldMk cId="4085207894" sldId="2147474092"/>
        </pc:sldMkLst>
      </pc:sldChg>
      <pc:sldChg chg="addSp delSp modSp mod ord">
        <pc:chgData name="Aurore Demoulin (Student at CentraleSupelec)" userId="8586c54a-e12e-4ea3-9b65-4428e4302b50" providerId="ADAL" clId="{E5297846-AE51-4E76-84E4-EFBB3AC64802}" dt="2022-12-01T14:18:01.170" v="9350" actId="1038"/>
        <pc:sldMkLst>
          <pc:docMk/>
          <pc:sldMk cId="637570254" sldId="2147474093"/>
        </pc:sldMkLst>
        <pc:spChg chg="mod">
          <ac:chgData name="Aurore Demoulin (Student at CentraleSupelec)" userId="8586c54a-e12e-4ea3-9b65-4428e4302b50" providerId="ADAL" clId="{E5297846-AE51-4E76-84E4-EFBB3AC64802}" dt="2022-11-29T14:54:38.204" v="5399" actId="1036"/>
          <ac:spMkLst>
            <pc:docMk/>
            <pc:sldMk cId="637570254" sldId="2147474093"/>
            <ac:spMk id="2" creationId="{90DEF2C2-506B-9CF9-7D1D-775FB462248A}"/>
          </ac:spMkLst>
        </pc:spChg>
        <pc:spChg chg="del">
          <ac:chgData name="Aurore Demoulin (Student at CentraleSupelec)" userId="8586c54a-e12e-4ea3-9b65-4428e4302b50" providerId="ADAL" clId="{E5297846-AE51-4E76-84E4-EFBB3AC64802}" dt="2022-12-01T14:17:47.644" v="9334" actId="478"/>
          <ac:spMkLst>
            <pc:docMk/>
            <pc:sldMk cId="637570254" sldId="2147474093"/>
            <ac:spMk id="6" creationId="{9D0D5264-5C25-7BA8-C06E-629FFEDE0164}"/>
          </ac:spMkLst>
        </pc:spChg>
        <pc:spChg chg="del mod">
          <ac:chgData name="Aurore Demoulin (Student at CentraleSupelec)" userId="8586c54a-e12e-4ea3-9b65-4428e4302b50" providerId="ADAL" clId="{E5297846-AE51-4E76-84E4-EFBB3AC64802}" dt="2022-11-29T14:09:50.584" v="4826" actId="478"/>
          <ac:spMkLst>
            <pc:docMk/>
            <pc:sldMk cId="637570254" sldId="2147474093"/>
            <ac:spMk id="6" creationId="{CB27D6FF-C335-C8BC-08F3-02B49CCC8B89}"/>
          </ac:spMkLst>
        </pc:spChg>
        <pc:spChg chg="del mod">
          <ac:chgData name="Aurore Demoulin (Student at CentraleSupelec)" userId="8586c54a-e12e-4ea3-9b65-4428e4302b50" providerId="ADAL" clId="{E5297846-AE51-4E76-84E4-EFBB3AC64802}" dt="2022-11-29T14:09:50.584" v="4826" actId="478"/>
          <ac:spMkLst>
            <pc:docMk/>
            <pc:sldMk cId="637570254" sldId="2147474093"/>
            <ac:spMk id="7" creationId="{9656FDE7-01A0-5BF2-7BD5-A5E84E65DFEC}"/>
          </ac:spMkLst>
        </pc:spChg>
        <pc:spChg chg="del mod">
          <ac:chgData name="Aurore Demoulin (Student at CentraleSupelec)" userId="8586c54a-e12e-4ea3-9b65-4428e4302b50" providerId="ADAL" clId="{E5297846-AE51-4E76-84E4-EFBB3AC64802}" dt="2022-11-29T14:09:50.584" v="4826" actId="478"/>
          <ac:spMkLst>
            <pc:docMk/>
            <pc:sldMk cId="637570254" sldId="2147474093"/>
            <ac:spMk id="8" creationId="{1C460580-A0FD-FEDB-BDB1-4F0C2AC9B1ED}"/>
          </ac:spMkLst>
        </pc:spChg>
        <pc:spChg chg="mod">
          <ac:chgData name="Aurore Demoulin (Student at CentraleSupelec)" userId="8586c54a-e12e-4ea3-9b65-4428e4302b50" providerId="ADAL" clId="{E5297846-AE51-4E76-84E4-EFBB3AC64802}" dt="2022-11-29T14:54:38.204" v="5399" actId="1036"/>
          <ac:spMkLst>
            <pc:docMk/>
            <pc:sldMk cId="637570254" sldId="2147474093"/>
            <ac:spMk id="10" creationId="{6A106C1A-9164-3626-4AAD-215D48E49F2C}"/>
          </ac:spMkLst>
        </pc:spChg>
        <pc:spChg chg="mod">
          <ac:chgData name="Aurore Demoulin (Student at CentraleSupelec)" userId="8586c54a-e12e-4ea3-9b65-4428e4302b50" providerId="ADAL" clId="{E5297846-AE51-4E76-84E4-EFBB3AC64802}" dt="2022-11-29T14:54:38.204" v="5399" actId="1036"/>
          <ac:spMkLst>
            <pc:docMk/>
            <pc:sldMk cId="637570254" sldId="2147474093"/>
            <ac:spMk id="27" creationId="{F108D217-EA76-2262-C703-E0210CCA56FF}"/>
          </ac:spMkLst>
        </pc:spChg>
        <pc:spChg chg="mod">
          <ac:chgData name="Aurore Demoulin (Student at CentraleSupelec)" userId="8586c54a-e12e-4ea3-9b65-4428e4302b50" providerId="ADAL" clId="{E5297846-AE51-4E76-84E4-EFBB3AC64802}" dt="2022-11-29T14:54:38.204" v="5399" actId="1036"/>
          <ac:spMkLst>
            <pc:docMk/>
            <pc:sldMk cId="637570254" sldId="2147474093"/>
            <ac:spMk id="28" creationId="{122BBF48-BCE2-1791-826F-A9CFA3E95178}"/>
          </ac:spMkLst>
        </pc:spChg>
        <pc:spChg chg="mod">
          <ac:chgData name="Aurore Demoulin (Student at CentraleSupelec)" userId="8586c54a-e12e-4ea3-9b65-4428e4302b50" providerId="ADAL" clId="{E5297846-AE51-4E76-84E4-EFBB3AC64802}" dt="2022-11-29T14:54:38.204" v="5399" actId="1036"/>
          <ac:spMkLst>
            <pc:docMk/>
            <pc:sldMk cId="637570254" sldId="2147474093"/>
            <ac:spMk id="29" creationId="{B430FEEE-0D20-2CEB-BF68-3E2D9A209468}"/>
          </ac:spMkLst>
        </pc:spChg>
        <pc:spChg chg="mod">
          <ac:chgData name="Aurore Demoulin (Student at CentraleSupelec)" userId="8586c54a-e12e-4ea3-9b65-4428e4302b50" providerId="ADAL" clId="{E5297846-AE51-4E76-84E4-EFBB3AC64802}" dt="2022-11-29T14:54:38.204" v="5399" actId="1036"/>
          <ac:spMkLst>
            <pc:docMk/>
            <pc:sldMk cId="637570254" sldId="2147474093"/>
            <ac:spMk id="30" creationId="{644C3D78-5DD5-337B-E6E6-276BFF0A94BD}"/>
          </ac:spMkLst>
        </pc:spChg>
        <pc:spChg chg="del">
          <ac:chgData name="Aurore Demoulin (Student at CentraleSupelec)" userId="8586c54a-e12e-4ea3-9b65-4428e4302b50" providerId="ADAL" clId="{E5297846-AE51-4E76-84E4-EFBB3AC64802}" dt="2022-11-29T14:20:27.494" v="5136" actId="478"/>
          <ac:spMkLst>
            <pc:docMk/>
            <pc:sldMk cId="637570254" sldId="2147474093"/>
            <ac:spMk id="31" creationId="{8F421582-F59D-624D-8D98-828F8E21480E}"/>
          </ac:spMkLst>
        </pc:spChg>
        <pc:spChg chg="mod">
          <ac:chgData name="Aurore Demoulin (Student at CentraleSupelec)" userId="8586c54a-e12e-4ea3-9b65-4428e4302b50" providerId="ADAL" clId="{E5297846-AE51-4E76-84E4-EFBB3AC64802}" dt="2022-11-29T14:54:38.204" v="5399" actId="1036"/>
          <ac:spMkLst>
            <pc:docMk/>
            <pc:sldMk cId="637570254" sldId="2147474093"/>
            <ac:spMk id="32" creationId="{CDDE42D9-39FC-E92B-3CC4-2D7AEF707C41}"/>
          </ac:spMkLst>
        </pc:spChg>
        <pc:spChg chg="mod">
          <ac:chgData name="Aurore Demoulin (Student at CentraleSupelec)" userId="8586c54a-e12e-4ea3-9b65-4428e4302b50" providerId="ADAL" clId="{E5297846-AE51-4E76-84E4-EFBB3AC64802}" dt="2022-11-29T14:54:38.204" v="5399" actId="1036"/>
          <ac:spMkLst>
            <pc:docMk/>
            <pc:sldMk cId="637570254" sldId="2147474093"/>
            <ac:spMk id="33" creationId="{FE2FA2B3-DE45-BA04-2943-8B1D220C1BB3}"/>
          </ac:spMkLst>
        </pc:spChg>
        <pc:spChg chg="mod">
          <ac:chgData name="Aurore Demoulin (Student at CentraleSupelec)" userId="8586c54a-e12e-4ea3-9b65-4428e4302b50" providerId="ADAL" clId="{E5297846-AE51-4E76-84E4-EFBB3AC64802}" dt="2022-11-29T14:54:38.204" v="5399" actId="1036"/>
          <ac:spMkLst>
            <pc:docMk/>
            <pc:sldMk cId="637570254" sldId="2147474093"/>
            <ac:spMk id="34" creationId="{5CAF548E-E53E-FD25-4FB7-58FF0CDCB5A9}"/>
          </ac:spMkLst>
        </pc:spChg>
        <pc:spChg chg="mod">
          <ac:chgData name="Aurore Demoulin (Student at CentraleSupelec)" userId="8586c54a-e12e-4ea3-9b65-4428e4302b50" providerId="ADAL" clId="{E5297846-AE51-4E76-84E4-EFBB3AC64802}" dt="2022-11-29T14:54:38.204" v="5399" actId="1036"/>
          <ac:spMkLst>
            <pc:docMk/>
            <pc:sldMk cId="637570254" sldId="2147474093"/>
            <ac:spMk id="35" creationId="{FA489989-F77B-4F97-1321-EC6BEAF37C43}"/>
          </ac:spMkLst>
        </pc:spChg>
        <pc:spChg chg="add mod">
          <ac:chgData name="Aurore Demoulin (Student at CentraleSupelec)" userId="8586c54a-e12e-4ea3-9b65-4428e4302b50" providerId="ADAL" clId="{E5297846-AE51-4E76-84E4-EFBB3AC64802}" dt="2022-11-29T14:54:38.204" v="5399" actId="1036"/>
          <ac:spMkLst>
            <pc:docMk/>
            <pc:sldMk cId="637570254" sldId="2147474093"/>
            <ac:spMk id="40" creationId="{070819DA-56AB-0CEB-BAB2-02CF2E1D913D}"/>
          </ac:spMkLst>
        </pc:spChg>
        <pc:spChg chg="mod">
          <ac:chgData name="Aurore Demoulin (Student at CentraleSupelec)" userId="8586c54a-e12e-4ea3-9b65-4428e4302b50" providerId="ADAL" clId="{E5297846-AE51-4E76-84E4-EFBB3AC64802}" dt="2022-11-30T09:14:14.020" v="7465" actId="1037"/>
          <ac:spMkLst>
            <pc:docMk/>
            <pc:sldMk cId="637570254" sldId="2147474093"/>
            <ac:spMk id="42" creationId="{6CC908C3-C3C6-8A05-8891-122D66532322}"/>
          </ac:spMkLst>
        </pc:spChg>
        <pc:spChg chg="mod">
          <ac:chgData name="Aurore Demoulin (Student at CentraleSupelec)" userId="8586c54a-e12e-4ea3-9b65-4428e4302b50" providerId="ADAL" clId="{E5297846-AE51-4E76-84E4-EFBB3AC64802}" dt="2022-11-30T09:14:20.005" v="7467" actId="1037"/>
          <ac:spMkLst>
            <pc:docMk/>
            <pc:sldMk cId="637570254" sldId="2147474093"/>
            <ac:spMk id="43" creationId="{81CB6141-A3F6-54DC-92FD-59A5694C8F9D}"/>
          </ac:spMkLst>
        </pc:spChg>
        <pc:spChg chg="mod">
          <ac:chgData name="Aurore Demoulin (Student at CentraleSupelec)" userId="8586c54a-e12e-4ea3-9b65-4428e4302b50" providerId="ADAL" clId="{E5297846-AE51-4E76-84E4-EFBB3AC64802}" dt="2022-11-30T09:14:32.643" v="7470" actId="1038"/>
          <ac:spMkLst>
            <pc:docMk/>
            <pc:sldMk cId="637570254" sldId="2147474093"/>
            <ac:spMk id="44" creationId="{130CC202-160C-D64E-5DEC-A28C25F80244}"/>
          </ac:spMkLst>
        </pc:spChg>
        <pc:spChg chg="mod">
          <ac:chgData name="Aurore Demoulin (Student at CentraleSupelec)" userId="8586c54a-e12e-4ea3-9b65-4428e4302b50" providerId="ADAL" clId="{E5297846-AE51-4E76-84E4-EFBB3AC64802}" dt="2022-11-29T14:54:38.204" v="5399" actId="1036"/>
          <ac:spMkLst>
            <pc:docMk/>
            <pc:sldMk cId="637570254" sldId="2147474093"/>
            <ac:spMk id="45" creationId="{290C1246-F13A-4FCE-78DD-569CEE59A522}"/>
          </ac:spMkLst>
        </pc:spChg>
        <pc:spChg chg="mod">
          <ac:chgData name="Aurore Demoulin (Student at CentraleSupelec)" userId="8586c54a-e12e-4ea3-9b65-4428e4302b50" providerId="ADAL" clId="{E5297846-AE51-4E76-84E4-EFBB3AC64802}" dt="2022-11-29T14:54:38.204" v="5399" actId="1036"/>
          <ac:spMkLst>
            <pc:docMk/>
            <pc:sldMk cId="637570254" sldId="2147474093"/>
            <ac:spMk id="46" creationId="{0B610090-5000-B931-9897-61D54EE4771E}"/>
          </ac:spMkLst>
        </pc:spChg>
        <pc:spChg chg="mod">
          <ac:chgData name="Aurore Demoulin (Student at CentraleSupelec)" userId="8586c54a-e12e-4ea3-9b65-4428e4302b50" providerId="ADAL" clId="{E5297846-AE51-4E76-84E4-EFBB3AC64802}" dt="2022-11-29T14:54:38.204" v="5399" actId="1036"/>
          <ac:spMkLst>
            <pc:docMk/>
            <pc:sldMk cId="637570254" sldId="2147474093"/>
            <ac:spMk id="47" creationId="{549F2403-B670-8A99-5C69-16609F66F49F}"/>
          </ac:spMkLst>
        </pc:spChg>
        <pc:spChg chg="del">
          <ac:chgData name="Aurore Demoulin (Student at CentraleSupelec)" userId="8586c54a-e12e-4ea3-9b65-4428e4302b50" providerId="ADAL" clId="{E5297846-AE51-4E76-84E4-EFBB3AC64802}" dt="2022-11-29T14:20:30.321" v="5137" actId="478"/>
          <ac:spMkLst>
            <pc:docMk/>
            <pc:sldMk cId="637570254" sldId="2147474093"/>
            <ac:spMk id="48" creationId="{D19E177D-E4B0-5121-79C2-E173BEDDB39A}"/>
          </ac:spMkLst>
        </pc:spChg>
        <pc:spChg chg="add mod">
          <ac:chgData name="Aurore Demoulin (Student at CentraleSupelec)" userId="8586c54a-e12e-4ea3-9b65-4428e4302b50" providerId="ADAL" clId="{E5297846-AE51-4E76-84E4-EFBB3AC64802}" dt="2022-11-29T14:54:38.204" v="5399" actId="1036"/>
          <ac:spMkLst>
            <pc:docMk/>
            <pc:sldMk cId="637570254" sldId="2147474093"/>
            <ac:spMk id="49" creationId="{D0CCCAC3-F7E0-615E-D9C0-4B1C06530E1A}"/>
          </ac:spMkLst>
        </pc:spChg>
        <pc:spChg chg="add mod">
          <ac:chgData name="Aurore Demoulin (Student at CentraleSupelec)" userId="8586c54a-e12e-4ea3-9b65-4428e4302b50" providerId="ADAL" clId="{E5297846-AE51-4E76-84E4-EFBB3AC64802}" dt="2022-11-29T14:54:38.204" v="5399" actId="1036"/>
          <ac:spMkLst>
            <pc:docMk/>
            <pc:sldMk cId="637570254" sldId="2147474093"/>
            <ac:spMk id="50" creationId="{4FE24475-92CC-4E23-4965-A78206A62209}"/>
          </ac:spMkLst>
        </pc:spChg>
        <pc:spChg chg="add del mod">
          <ac:chgData name="Aurore Demoulin (Student at CentraleSupelec)" userId="8586c54a-e12e-4ea3-9b65-4428e4302b50" providerId="ADAL" clId="{E5297846-AE51-4E76-84E4-EFBB3AC64802}" dt="2022-11-29T14:14:04.292" v="4945" actId="478"/>
          <ac:spMkLst>
            <pc:docMk/>
            <pc:sldMk cId="637570254" sldId="2147474093"/>
            <ac:spMk id="51" creationId="{9B0E6456-FBDE-262A-7238-EAE852CF44C0}"/>
          </ac:spMkLst>
        </pc:spChg>
        <pc:spChg chg="add del mod">
          <ac:chgData name="Aurore Demoulin (Student at CentraleSupelec)" userId="8586c54a-e12e-4ea3-9b65-4428e4302b50" providerId="ADAL" clId="{E5297846-AE51-4E76-84E4-EFBB3AC64802}" dt="2022-11-29T14:14:04.292" v="4945" actId="478"/>
          <ac:spMkLst>
            <pc:docMk/>
            <pc:sldMk cId="637570254" sldId="2147474093"/>
            <ac:spMk id="52" creationId="{26ACB4D6-C624-7FE9-77D8-5C20E9EE903E}"/>
          </ac:spMkLst>
        </pc:spChg>
        <pc:spChg chg="add del mod">
          <ac:chgData name="Aurore Demoulin (Student at CentraleSupelec)" userId="8586c54a-e12e-4ea3-9b65-4428e4302b50" providerId="ADAL" clId="{E5297846-AE51-4E76-84E4-EFBB3AC64802}" dt="2022-11-29T14:14:04.292" v="4945" actId="478"/>
          <ac:spMkLst>
            <pc:docMk/>
            <pc:sldMk cId="637570254" sldId="2147474093"/>
            <ac:spMk id="53" creationId="{44FB7AEB-988E-0685-27E0-C7BE80E42F10}"/>
          </ac:spMkLst>
        </pc:spChg>
        <pc:spChg chg="add del mod">
          <ac:chgData name="Aurore Demoulin (Student at CentraleSupelec)" userId="8586c54a-e12e-4ea3-9b65-4428e4302b50" providerId="ADAL" clId="{E5297846-AE51-4E76-84E4-EFBB3AC64802}" dt="2022-11-29T14:14:04.292" v="4945" actId="478"/>
          <ac:spMkLst>
            <pc:docMk/>
            <pc:sldMk cId="637570254" sldId="2147474093"/>
            <ac:spMk id="54" creationId="{8C62EC26-9D48-F013-999D-AF559391BAF0}"/>
          </ac:spMkLst>
        </pc:spChg>
        <pc:spChg chg="add del mod">
          <ac:chgData name="Aurore Demoulin (Student at CentraleSupelec)" userId="8586c54a-e12e-4ea3-9b65-4428e4302b50" providerId="ADAL" clId="{E5297846-AE51-4E76-84E4-EFBB3AC64802}" dt="2022-11-25T10:01:48.234" v="3699" actId="478"/>
          <ac:spMkLst>
            <pc:docMk/>
            <pc:sldMk cId="637570254" sldId="2147474093"/>
            <ac:spMk id="55" creationId="{D76F9F3B-B6F2-9BD4-AC2B-A3052B4A7DAA}"/>
          </ac:spMkLst>
        </pc:spChg>
        <pc:spChg chg="add del mod">
          <ac:chgData name="Aurore Demoulin (Student at CentraleSupelec)" userId="8586c54a-e12e-4ea3-9b65-4428e4302b50" providerId="ADAL" clId="{E5297846-AE51-4E76-84E4-EFBB3AC64802}" dt="2022-11-29T14:14:04.292" v="4945" actId="478"/>
          <ac:spMkLst>
            <pc:docMk/>
            <pc:sldMk cId="637570254" sldId="2147474093"/>
            <ac:spMk id="56" creationId="{E252175A-FC1E-03A9-42AA-56E68F63AFAA}"/>
          </ac:spMkLst>
        </pc:spChg>
        <pc:spChg chg="add del mod">
          <ac:chgData name="Aurore Demoulin (Student at CentraleSupelec)" userId="8586c54a-e12e-4ea3-9b65-4428e4302b50" providerId="ADAL" clId="{E5297846-AE51-4E76-84E4-EFBB3AC64802}" dt="2022-11-29T14:14:04.292" v="4945" actId="478"/>
          <ac:spMkLst>
            <pc:docMk/>
            <pc:sldMk cId="637570254" sldId="2147474093"/>
            <ac:spMk id="57" creationId="{51915291-2D33-AC1E-67CE-54B32D4AA2A0}"/>
          </ac:spMkLst>
        </pc:spChg>
        <pc:spChg chg="add del mod">
          <ac:chgData name="Aurore Demoulin (Student at CentraleSupelec)" userId="8586c54a-e12e-4ea3-9b65-4428e4302b50" providerId="ADAL" clId="{E5297846-AE51-4E76-84E4-EFBB3AC64802}" dt="2022-11-29T14:14:04.292" v="4945" actId="478"/>
          <ac:spMkLst>
            <pc:docMk/>
            <pc:sldMk cId="637570254" sldId="2147474093"/>
            <ac:spMk id="58" creationId="{7E68FA54-0216-D79F-2EEF-0A62DE700E89}"/>
          </ac:spMkLst>
        </pc:spChg>
        <pc:spChg chg="add del mod">
          <ac:chgData name="Aurore Demoulin (Student at CentraleSupelec)" userId="8586c54a-e12e-4ea3-9b65-4428e4302b50" providerId="ADAL" clId="{E5297846-AE51-4E76-84E4-EFBB3AC64802}" dt="2022-11-29T14:14:04.292" v="4945" actId="478"/>
          <ac:spMkLst>
            <pc:docMk/>
            <pc:sldMk cId="637570254" sldId="2147474093"/>
            <ac:spMk id="59" creationId="{AD50A3AE-BEF0-F1DE-BD00-3238D767D691}"/>
          </ac:spMkLst>
        </pc:spChg>
        <pc:spChg chg="add del mod">
          <ac:chgData name="Aurore Demoulin (Student at CentraleSupelec)" userId="8586c54a-e12e-4ea3-9b65-4428e4302b50" providerId="ADAL" clId="{E5297846-AE51-4E76-84E4-EFBB3AC64802}" dt="2022-11-29T14:14:04.292" v="4945" actId="478"/>
          <ac:spMkLst>
            <pc:docMk/>
            <pc:sldMk cId="637570254" sldId="2147474093"/>
            <ac:spMk id="60" creationId="{5789850E-7674-EA5D-1DCE-C39F0BD4D8AA}"/>
          </ac:spMkLst>
        </pc:spChg>
        <pc:spChg chg="add del mod">
          <ac:chgData name="Aurore Demoulin (Student at CentraleSupelec)" userId="8586c54a-e12e-4ea3-9b65-4428e4302b50" providerId="ADAL" clId="{E5297846-AE51-4E76-84E4-EFBB3AC64802}" dt="2022-11-29T14:14:04.292" v="4945" actId="478"/>
          <ac:spMkLst>
            <pc:docMk/>
            <pc:sldMk cId="637570254" sldId="2147474093"/>
            <ac:spMk id="61" creationId="{72522832-44BA-35B2-DD84-A19DBD66E302}"/>
          </ac:spMkLst>
        </pc:spChg>
        <pc:spChg chg="add del mod">
          <ac:chgData name="Aurore Demoulin (Student at CentraleSupelec)" userId="8586c54a-e12e-4ea3-9b65-4428e4302b50" providerId="ADAL" clId="{E5297846-AE51-4E76-84E4-EFBB3AC64802}" dt="2022-11-29T14:14:04.292" v="4945" actId="478"/>
          <ac:spMkLst>
            <pc:docMk/>
            <pc:sldMk cId="637570254" sldId="2147474093"/>
            <ac:spMk id="62" creationId="{FA4F20D1-CE1C-5090-36B1-44BD5F1BB76C}"/>
          </ac:spMkLst>
        </pc:spChg>
        <pc:spChg chg="add del mod">
          <ac:chgData name="Aurore Demoulin (Student at CentraleSupelec)" userId="8586c54a-e12e-4ea3-9b65-4428e4302b50" providerId="ADAL" clId="{E5297846-AE51-4E76-84E4-EFBB3AC64802}" dt="2022-11-29T14:14:04.292" v="4945" actId="478"/>
          <ac:spMkLst>
            <pc:docMk/>
            <pc:sldMk cId="637570254" sldId="2147474093"/>
            <ac:spMk id="63" creationId="{0ED17457-590C-CB67-0FDB-218B629EB415}"/>
          </ac:spMkLst>
        </pc:spChg>
        <pc:spChg chg="add del mod">
          <ac:chgData name="Aurore Demoulin (Student at CentraleSupelec)" userId="8586c54a-e12e-4ea3-9b65-4428e4302b50" providerId="ADAL" clId="{E5297846-AE51-4E76-84E4-EFBB3AC64802}" dt="2022-11-29T14:14:04.292" v="4945" actId="478"/>
          <ac:spMkLst>
            <pc:docMk/>
            <pc:sldMk cId="637570254" sldId="2147474093"/>
            <ac:spMk id="64" creationId="{67698BFF-B3D0-F2D2-0747-4E0B0DDCBD50}"/>
          </ac:spMkLst>
        </pc:spChg>
        <pc:spChg chg="add del mod">
          <ac:chgData name="Aurore Demoulin (Student at CentraleSupelec)" userId="8586c54a-e12e-4ea3-9b65-4428e4302b50" providerId="ADAL" clId="{E5297846-AE51-4E76-84E4-EFBB3AC64802}" dt="2022-11-29T14:14:04.292" v="4945" actId="478"/>
          <ac:spMkLst>
            <pc:docMk/>
            <pc:sldMk cId="637570254" sldId="2147474093"/>
            <ac:spMk id="65" creationId="{428644FE-657E-4417-A515-4D4A4BE5898A}"/>
          </ac:spMkLst>
        </pc:spChg>
        <pc:spChg chg="add del mod">
          <ac:chgData name="Aurore Demoulin (Student at CentraleSupelec)" userId="8586c54a-e12e-4ea3-9b65-4428e4302b50" providerId="ADAL" clId="{E5297846-AE51-4E76-84E4-EFBB3AC64802}" dt="2022-11-25T10:18:55.036" v="4191" actId="478"/>
          <ac:spMkLst>
            <pc:docMk/>
            <pc:sldMk cId="637570254" sldId="2147474093"/>
            <ac:spMk id="66" creationId="{B9D774E1-F811-D5E3-E38D-1FB65D2FCEAA}"/>
          </ac:spMkLst>
        </pc:spChg>
        <pc:spChg chg="add del mod">
          <ac:chgData name="Aurore Demoulin (Student at CentraleSupelec)" userId="8586c54a-e12e-4ea3-9b65-4428e4302b50" providerId="ADAL" clId="{E5297846-AE51-4E76-84E4-EFBB3AC64802}" dt="2022-11-29T14:14:04.292" v="4945" actId="478"/>
          <ac:spMkLst>
            <pc:docMk/>
            <pc:sldMk cId="637570254" sldId="2147474093"/>
            <ac:spMk id="67" creationId="{F0A9D3D0-EA18-5B4B-0096-CB4471302A9C}"/>
          </ac:spMkLst>
        </pc:spChg>
        <pc:spChg chg="add del mod">
          <ac:chgData name="Aurore Demoulin (Student at CentraleSupelec)" userId="8586c54a-e12e-4ea3-9b65-4428e4302b50" providerId="ADAL" clId="{E5297846-AE51-4E76-84E4-EFBB3AC64802}" dt="2022-11-29T14:14:04.292" v="4945" actId="478"/>
          <ac:spMkLst>
            <pc:docMk/>
            <pc:sldMk cId="637570254" sldId="2147474093"/>
            <ac:spMk id="68" creationId="{2039ED7B-E0B3-B248-AC4C-3FEDF44E658A}"/>
          </ac:spMkLst>
        </pc:spChg>
        <pc:spChg chg="add del mod">
          <ac:chgData name="Aurore Demoulin (Student at CentraleSupelec)" userId="8586c54a-e12e-4ea3-9b65-4428e4302b50" providerId="ADAL" clId="{E5297846-AE51-4E76-84E4-EFBB3AC64802}" dt="2022-11-29T14:14:04.292" v="4945" actId="478"/>
          <ac:spMkLst>
            <pc:docMk/>
            <pc:sldMk cId="637570254" sldId="2147474093"/>
            <ac:spMk id="69" creationId="{F6FF1E2B-1BC9-A582-2CAF-A9D9853DB080}"/>
          </ac:spMkLst>
        </pc:spChg>
        <pc:spChg chg="add del mod">
          <ac:chgData name="Aurore Demoulin (Student at CentraleSupelec)" userId="8586c54a-e12e-4ea3-9b65-4428e4302b50" providerId="ADAL" clId="{E5297846-AE51-4E76-84E4-EFBB3AC64802}" dt="2022-11-29T14:14:04.292" v="4945" actId="478"/>
          <ac:spMkLst>
            <pc:docMk/>
            <pc:sldMk cId="637570254" sldId="2147474093"/>
            <ac:spMk id="70" creationId="{21C5A4F8-E38A-9829-A799-90F0DB99E52E}"/>
          </ac:spMkLst>
        </pc:spChg>
        <pc:spChg chg="add del mod">
          <ac:chgData name="Aurore Demoulin (Student at CentraleSupelec)" userId="8586c54a-e12e-4ea3-9b65-4428e4302b50" providerId="ADAL" clId="{E5297846-AE51-4E76-84E4-EFBB3AC64802}" dt="2022-11-29T14:14:04.292" v="4945" actId="478"/>
          <ac:spMkLst>
            <pc:docMk/>
            <pc:sldMk cId="637570254" sldId="2147474093"/>
            <ac:spMk id="71" creationId="{1BAA6B72-5F19-2700-1669-C1472D3D6107}"/>
          </ac:spMkLst>
        </pc:spChg>
        <pc:spChg chg="add del mod">
          <ac:chgData name="Aurore Demoulin (Student at CentraleSupelec)" userId="8586c54a-e12e-4ea3-9b65-4428e4302b50" providerId="ADAL" clId="{E5297846-AE51-4E76-84E4-EFBB3AC64802}" dt="2022-11-29T14:14:04.292" v="4945" actId="478"/>
          <ac:spMkLst>
            <pc:docMk/>
            <pc:sldMk cId="637570254" sldId="2147474093"/>
            <ac:spMk id="72" creationId="{FFEA6292-D626-B77E-9DA8-7C1DB74C2DC0}"/>
          </ac:spMkLst>
        </pc:spChg>
        <pc:spChg chg="add del mod">
          <ac:chgData name="Aurore Demoulin (Student at CentraleSupelec)" userId="8586c54a-e12e-4ea3-9b65-4428e4302b50" providerId="ADAL" clId="{E5297846-AE51-4E76-84E4-EFBB3AC64802}" dt="2022-11-29T14:14:04.292" v="4945" actId="478"/>
          <ac:spMkLst>
            <pc:docMk/>
            <pc:sldMk cId="637570254" sldId="2147474093"/>
            <ac:spMk id="73" creationId="{B9412279-CF03-5AE5-FA5A-4F70420B6C21}"/>
          </ac:spMkLst>
        </pc:spChg>
        <pc:spChg chg="del">
          <ac:chgData name="Aurore Demoulin (Student at CentraleSupelec)" userId="8586c54a-e12e-4ea3-9b65-4428e4302b50" providerId="ADAL" clId="{E5297846-AE51-4E76-84E4-EFBB3AC64802}" dt="2022-11-29T14:02:09.619" v="4693" actId="478"/>
          <ac:spMkLst>
            <pc:docMk/>
            <pc:sldMk cId="637570254" sldId="2147474093"/>
            <ac:spMk id="74" creationId="{B6E8BF3D-A9BD-EE8E-511A-552829E5EA8C}"/>
          </ac:spMkLst>
        </pc:spChg>
        <pc:spChg chg="del">
          <ac:chgData name="Aurore Demoulin (Student at CentraleSupelec)" userId="8586c54a-e12e-4ea3-9b65-4428e4302b50" providerId="ADAL" clId="{E5297846-AE51-4E76-84E4-EFBB3AC64802}" dt="2022-11-29T14:02:09.619" v="4693" actId="478"/>
          <ac:spMkLst>
            <pc:docMk/>
            <pc:sldMk cId="637570254" sldId="2147474093"/>
            <ac:spMk id="75" creationId="{A0827A10-49E2-6A7D-0058-71FBD625487D}"/>
          </ac:spMkLst>
        </pc:spChg>
        <pc:spChg chg="add del mod">
          <ac:chgData name="Aurore Demoulin (Student at CentraleSupelec)" userId="8586c54a-e12e-4ea3-9b65-4428e4302b50" providerId="ADAL" clId="{E5297846-AE51-4E76-84E4-EFBB3AC64802}" dt="2022-11-29T14:09:50.584" v="4826" actId="478"/>
          <ac:spMkLst>
            <pc:docMk/>
            <pc:sldMk cId="637570254" sldId="2147474093"/>
            <ac:spMk id="77" creationId="{72319420-E481-DA78-4A1D-62DA645703C7}"/>
          </ac:spMkLst>
        </pc:spChg>
        <pc:spChg chg="add del mod">
          <ac:chgData name="Aurore Demoulin (Student at CentraleSupelec)" userId="8586c54a-e12e-4ea3-9b65-4428e4302b50" providerId="ADAL" clId="{E5297846-AE51-4E76-84E4-EFBB3AC64802}" dt="2022-11-29T14:09:50.584" v="4826" actId="478"/>
          <ac:spMkLst>
            <pc:docMk/>
            <pc:sldMk cId="637570254" sldId="2147474093"/>
            <ac:spMk id="78" creationId="{6C749AD2-9173-07CD-867B-9A070F5C3073}"/>
          </ac:spMkLst>
        </pc:spChg>
        <pc:spChg chg="add del mod">
          <ac:chgData name="Aurore Demoulin (Student at CentraleSupelec)" userId="8586c54a-e12e-4ea3-9b65-4428e4302b50" providerId="ADAL" clId="{E5297846-AE51-4E76-84E4-EFBB3AC64802}" dt="2022-11-29T14:09:50.584" v="4826" actId="478"/>
          <ac:spMkLst>
            <pc:docMk/>
            <pc:sldMk cId="637570254" sldId="2147474093"/>
            <ac:spMk id="79" creationId="{133C76EC-DA2A-BAEF-041A-D3028D423EA8}"/>
          </ac:spMkLst>
        </pc:spChg>
        <pc:spChg chg="add del mod">
          <ac:chgData name="Aurore Demoulin (Student at CentraleSupelec)" userId="8586c54a-e12e-4ea3-9b65-4428e4302b50" providerId="ADAL" clId="{E5297846-AE51-4E76-84E4-EFBB3AC64802}" dt="2022-11-29T14:09:50.584" v="4826" actId="478"/>
          <ac:spMkLst>
            <pc:docMk/>
            <pc:sldMk cId="637570254" sldId="2147474093"/>
            <ac:spMk id="80" creationId="{319F9633-2462-FF7E-CEB5-C3CA6E67EBED}"/>
          </ac:spMkLst>
        </pc:spChg>
        <pc:spChg chg="add del mod">
          <ac:chgData name="Aurore Demoulin (Student at CentraleSupelec)" userId="8586c54a-e12e-4ea3-9b65-4428e4302b50" providerId="ADAL" clId="{E5297846-AE51-4E76-84E4-EFBB3AC64802}" dt="2022-11-29T14:09:50.584" v="4826" actId="478"/>
          <ac:spMkLst>
            <pc:docMk/>
            <pc:sldMk cId="637570254" sldId="2147474093"/>
            <ac:spMk id="81" creationId="{A23F4FD2-7BF1-6E1A-C3E0-F13268E1664E}"/>
          </ac:spMkLst>
        </pc:spChg>
        <pc:spChg chg="add del mod">
          <ac:chgData name="Aurore Demoulin (Student at CentraleSupelec)" userId="8586c54a-e12e-4ea3-9b65-4428e4302b50" providerId="ADAL" clId="{E5297846-AE51-4E76-84E4-EFBB3AC64802}" dt="2022-11-29T14:09:50.584" v="4826" actId="478"/>
          <ac:spMkLst>
            <pc:docMk/>
            <pc:sldMk cId="637570254" sldId="2147474093"/>
            <ac:spMk id="82" creationId="{2806569E-7610-15B3-0A7F-0C8541A91C39}"/>
          </ac:spMkLst>
        </pc:spChg>
        <pc:spChg chg="add del mod">
          <ac:chgData name="Aurore Demoulin (Student at CentraleSupelec)" userId="8586c54a-e12e-4ea3-9b65-4428e4302b50" providerId="ADAL" clId="{E5297846-AE51-4E76-84E4-EFBB3AC64802}" dt="2022-11-29T14:09:50.584" v="4826" actId="478"/>
          <ac:spMkLst>
            <pc:docMk/>
            <pc:sldMk cId="637570254" sldId="2147474093"/>
            <ac:spMk id="83" creationId="{4C4A1C3E-287A-C696-2333-CF293BAF2E33}"/>
          </ac:spMkLst>
        </pc:spChg>
        <pc:spChg chg="add del mod">
          <ac:chgData name="Aurore Demoulin (Student at CentraleSupelec)" userId="8586c54a-e12e-4ea3-9b65-4428e4302b50" providerId="ADAL" clId="{E5297846-AE51-4E76-84E4-EFBB3AC64802}" dt="2022-11-29T14:09:50.584" v="4826" actId="478"/>
          <ac:spMkLst>
            <pc:docMk/>
            <pc:sldMk cId="637570254" sldId="2147474093"/>
            <ac:spMk id="84" creationId="{B8DFD13B-F1F4-F35D-6A51-27F242FEF6B5}"/>
          </ac:spMkLst>
        </pc:spChg>
        <pc:spChg chg="add mod">
          <ac:chgData name="Aurore Demoulin (Student at CentraleSupelec)" userId="8586c54a-e12e-4ea3-9b65-4428e4302b50" providerId="ADAL" clId="{E5297846-AE51-4E76-84E4-EFBB3AC64802}" dt="2022-11-25T10:32:01.282" v="4363" actId="1038"/>
          <ac:spMkLst>
            <pc:docMk/>
            <pc:sldMk cId="637570254" sldId="2147474093"/>
            <ac:spMk id="85" creationId="{9E427A03-2E3A-3D1A-A530-5651C8FA22D0}"/>
          </ac:spMkLst>
        </pc:spChg>
        <pc:spChg chg="add del mod">
          <ac:chgData name="Aurore Demoulin (Student at CentraleSupelec)" userId="8586c54a-e12e-4ea3-9b65-4428e4302b50" providerId="ADAL" clId="{E5297846-AE51-4E76-84E4-EFBB3AC64802}" dt="2022-11-29T14:09:50.584" v="4826" actId="478"/>
          <ac:spMkLst>
            <pc:docMk/>
            <pc:sldMk cId="637570254" sldId="2147474093"/>
            <ac:spMk id="86" creationId="{F38791AA-6A80-93FC-CE03-66AAABE804E5}"/>
          </ac:spMkLst>
        </pc:spChg>
        <pc:spChg chg="del">
          <ac:chgData name="Aurore Demoulin (Student at CentraleSupelec)" userId="8586c54a-e12e-4ea3-9b65-4428e4302b50" providerId="ADAL" clId="{E5297846-AE51-4E76-84E4-EFBB3AC64802}" dt="2022-11-29T14:02:12.962" v="4694" actId="478"/>
          <ac:spMkLst>
            <pc:docMk/>
            <pc:sldMk cId="637570254" sldId="2147474093"/>
            <ac:spMk id="87" creationId="{D36EE1E4-BFE6-C601-D2D2-31C2FBEC29FD}"/>
          </ac:spMkLst>
        </pc:spChg>
        <pc:spChg chg="del">
          <ac:chgData name="Aurore Demoulin (Student at CentraleSupelec)" userId="8586c54a-e12e-4ea3-9b65-4428e4302b50" providerId="ADAL" clId="{E5297846-AE51-4E76-84E4-EFBB3AC64802}" dt="2022-11-29T14:02:09.619" v="4693" actId="478"/>
          <ac:spMkLst>
            <pc:docMk/>
            <pc:sldMk cId="637570254" sldId="2147474093"/>
            <ac:spMk id="88" creationId="{AA612397-D4BF-E35B-0737-C483DF960DED}"/>
          </ac:spMkLst>
        </pc:spChg>
        <pc:spChg chg="del">
          <ac:chgData name="Aurore Demoulin (Student at CentraleSupelec)" userId="8586c54a-e12e-4ea3-9b65-4428e4302b50" providerId="ADAL" clId="{E5297846-AE51-4E76-84E4-EFBB3AC64802}" dt="2022-11-29T14:02:09.619" v="4693" actId="478"/>
          <ac:spMkLst>
            <pc:docMk/>
            <pc:sldMk cId="637570254" sldId="2147474093"/>
            <ac:spMk id="89" creationId="{0066D537-78C4-B9D6-0AFC-10362BEEA838}"/>
          </ac:spMkLst>
        </pc:spChg>
        <pc:spChg chg="add mod">
          <ac:chgData name="Aurore Demoulin (Student at CentraleSupelec)" userId="8586c54a-e12e-4ea3-9b65-4428e4302b50" providerId="ADAL" clId="{E5297846-AE51-4E76-84E4-EFBB3AC64802}" dt="2022-11-25T10:33:30.585" v="4377" actId="1076"/>
          <ac:spMkLst>
            <pc:docMk/>
            <pc:sldMk cId="637570254" sldId="2147474093"/>
            <ac:spMk id="90" creationId="{CB27D6FF-C335-C8BC-08F3-02B49CCC8B89}"/>
          </ac:spMkLst>
        </pc:spChg>
        <pc:spChg chg="del">
          <ac:chgData name="Aurore Demoulin (Student at CentraleSupelec)" userId="8586c54a-e12e-4ea3-9b65-4428e4302b50" providerId="ADAL" clId="{E5297846-AE51-4E76-84E4-EFBB3AC64802}" dt="2022-11-29T14:02:09.619" v="4693" actId="478"/>
          <ac:spMkLst>
            <pc:docMk/>
            <pc:sldMk cId="637570254" sldId="2147474093"/>
            <ac:spMk id="90" creationId="{F460FFDB-E9BD-3EE7-BE79-7EB94A747A22}"/>
          </ac:spMkLst>
        </pc:spChg>
        <pc:spChg chg="del">
          <ac:chgData name="Aurore Demoulin (Student at CentraleSupelec)" userId="8586c54a-e12e-4ea3-9b65-4428e4302b50" providerId="ADAL" clId="{E5297846-AE51-4E76-84E4-EFBB3AC64802}" dt="2022-11-29T14:02:09.619" v="4693" actId="478"/>
          <ac:spMkLst>
            <pc:docMk/>
            <pc:sldMk cId="637570254" sldId="2147474093"/>
            <ac:spMk id="91" creationId="{EF3225A2-458C-6D79-37FE-30B6FF39C130}"/>
          </ac:spMkLst>
        </pc:spChg>
        <pc:spChg chg="del">
          <ac:chgData name="Aurore Demoulin (Student at CentraleSupelec)" userId="8586c54a-e12e-4ea3-9b65-4428e4302b50" providerId="ADAL" clId="{E5297846-AE51-4E76-84E4-EFBB3AC64802}" dt="2022-11-29T14:02:09.619" v="4693" actId="478"/>
          <ac:spMkLst>
            <pc:docMk/>
            <pc:sldMk cId="637570254" sldId="2147474093"/>
            <ac:spMk id="92" creationId="{B5B23DE4-016B-5F63-3C3F-974BB4F29F50}"/>
          </ac:spMkLst>
        </pc:spChg>
        <pc:spChg chg="del">
          <ac:chgData name="Aurore Demoulin (Student at CentraleSupelec)" userId="8586c54a-e12e-4ea3-9b65-4428e4302b50" providerId="ADAL" clId="{E5297846-AE51-4E76-84E4-EFBB3AC64802}" dt="2022-11-29T14:02:09.619" v="4693" actId="478"/>
          <ac:spMkLst>
            <pc:docMk/>
            <pc:sldMk cId="637570254" sldId="2147474093"/>
            <ac:spMk id="93" creationId="{B1A76FF3-9DB2-22F6-4B5E-5CA5AD57506E}"/>
          </ac:spMkLst>
        </pc:spChg>
        <pc:spChg chg="del">
          <ac:chgData name="Aurore Demoulin (Student at CentraleSupelec)" userId="8586c54a-e12e-4ea3-9b65-4428e4302b50" providerId="ADAL" clId="{E5297846-AE51-4E76-84E4-EFBB3AC64802}" dt="2022-11-29T14:02:09.619" v="4693" actId="478"/>
          <ac:spMkLst>
            <pc:docMk/>
            <pc:sldMk cId="637570254" sldId="2147474093"/>
            <ac:spMk id="94" creationId="{739003B6-B831-B22A-780A-4B848085E11D}"/>
          </ac:spMkLst>
        </pc:spChg>
        <pc:spChg chg="del">
          <ac:chgData name="Aurore Demoulin (Student at CentraleSupelec)" userId="8586c54a-e12e-4ea3-9b65-4428e4302b50" providerId="ADAL" clId="{E5297846-AE51-4E76-84E4-EFBB3AC64802}" dt="2022-11-29T14:02:09.619" v="4693" actId="478"/>
          <ac:spMkLst>
            <pc:docMk/>
            <pc:sldMk cId="637570254" sldId="2147474093"/>
            <ac:spMk id="95" creationId="{A39D1610-260A-7705-4905-428FA5FBB988}"/>
          </ac:spMkLst>
        </pc:spChg>
        <pc:spChg chg="add mod">
          <ac:chgData name="Aurore Demoulin (Student at CentraleSupelec)" userId="8586c54a-e12e-4ea3-9b65-4428e4302b50" providerId="ADAL" clId="{E5297846-AE51-4E76-84E4-EFBB3AC64802}" dt="2022-11-25T10:35:10.956" v="4450" actId="1076"/>
          <ac:spMkLst>
            <pc:docMk/>
            <pc:sldMk cId="637570254" sldId="2147474093"/>
            <ac:spMk id="97" creationId="{9656FDE7-01A0-5BF2-7BD5-A5E84E65DFEC}"/>
          </ac:spMkLst>
        </pc:spChg>
        <pc:spChg chg="del">
          <ac:chgData name="Aurore Demoulin (Student at CentraleSupelec)" userId="8586c54a-e12e-4ea3-9b65-4428e4302b50" providerId="ADAL" clId="{E5297846-AE51-4E76-84E4-EFBB3AC64802}" dt="2022-11-29T14:02:09.619" v="4693" actId="478"/>
          <ac:spMkLst>
            <pc:docMk/>
            <pc:sldMk cId="637570254" sldId="2147474093"/>
            <ac:spMk id="97" creationId="{DF09C53B-1A2C-6948-EB37-E416C594095C}"/>
          </ac:spMkLst>
        </pc:spChg>
        <pc:spChg chg="add mod">
          <ac:chgData name="Aurore Demoulin (Student at CentraleSupelec)" userId="8586c54a-e12e-4ea3-9b65-4428e4302b50" providerId="ADAL" clId="{E5297846-AE51-4E76-84E4-EFBB3AC64802}" dt="2022-11-25T10:35:10.956" v="4450" actId="1076"/>
          <ac:spMkLst>
            <pc:docMk/>
            <pc:sldMk cId="637570254" sldId="2147474093"/>
            <ac:spMk id="98" creationId="{1C460580-A0FD-FEDB-BDB1-4F0C2AC9B1ED}"/>
          </ac:spMkLst>
        </pc:spChg>
        <pc:spChg chg="del">
          <ac:chgData name="Aurore Demoulin (Student at CentraleSupelec)" userId="8586c54a-e12e-4ea3-9b65-4428e4302b50" providerId="ADAL" clId="{E5297846-AE51-4E76-84E4-EFBB3AC64802}" dt="2022-11-29T14:02:09.619" v="4693" actId="478"/>
          <ac:spMkLst>
            <pc:docMk/>
            <pc:sldMk cId="637570254" sldId="2147474093"/>
            <ac:spMk id="98" creationId="{751D4708-BCEC-A26E-6C55-F5BE8D002BAF}"/>
          </ac:spMkLst>
        </pc:spChg>
        <pc:spChg chg="add del mod">
          <ac:chgData name="Aurore Demoulin (Student at CentraleSupelec)" userId="8586c54a-e12e-4ea3-9b65-4428e4302b50" providerId="ADAL" clId="{E5297846-AE51-4E76-84E4-EFBB3AC64802}" dt="2022-11-29T14:09:50.584" v="4826" actId="478"/>
          <ac:spMkLst>
            <pc:docMk/>
            <pc:sldMk cId="637570254" sldId="2147474093"/>
            <ac:spMk id="99" creationId="{69F6B5B4-DB67-AC6D-5E40-B8987E3665B3}"/>
          </ac:spMkLst>
        </pc:spChg>
        <pc:spChg chg="add del mod">
          <ac:chgData name="Aurore Demoulin (Student at CentraleSupelec)" userId="8586c54a-e12e-4ea3-9b65-4428e4302b50" providerId="ADAL" clId="{E5297846-AE51-4E76-84E4-EFBB3AC64802}" dt="2022-11-29T14:09:50.584" v="4826" actId="478"/>
          <ac:spMkLst>
            <pc:docMk/>
            <pc:sldMk cId="637570254" sldId="2147474093"/>
            <ac:spMk id="100" creationId="{43F51095-5B13-3B1E-427A-EB27E350E102}"/>
          </ac:spMkLst>
        </pc:spChg>
        <pc:spChg chg="add del mod">
          <ac:chgData name="Aurore Demoulin (Student at CentraleSupelec)" userId="8586c54a-e12e-4ea3-9b65-4428e4302b50" providerId="ADAL" clId="{E5297846-AE51-4E76-84E4-EFBB3AC64802}" dt="2022-11-29T14:09:50.584" v="4826" actId="478"/>
          <ac:spMkLst>
            <pc:docMk/>
            <pc:sldMk cId="637570254" sldId="2147474093"/>
            <ac:spMk id="101" creationId="{8A644B4E-C687-FA17-8EAF-4936ADE24746}"/>
          </ac:spMkLst>
        </pc:spChg>
        <pc:spChg chg="add del mod">
          <ac:chgData name="Aurore Demoulin (Student at CentraleSupelec)" userId="8586c54a-e12e-4ea3-9b65-4428e4302b50" providerId="ADAL" clId="{E5297846-AE51-4E76-84E4-EFBB3AC64802}" dt="2022-11-29T14:09:50.584" v="4826" actId="478"/>
          <ac:spMkLst>
            <pc:docMk/>
            <pc:sldMk cId="637570254" sldId="2147474093"/>
            <ac:spMk id="102" creationId="{DB3151F7-907C-600B-30E9-86B48B538B74}"/>
          </ac:spMkLst>
        </pc:spChg>
        <pc:spChg chg="add del mod">
          <ac:chgData name="Aurore Demoulin (Student at CentraleSupelec)" userId="8586c54a-e12e-4ea3-9b65-4428e4302b50" providerId="ADAL" clId="{E5297846-AE51-4E76-84E4-EFBB3AC64802}" dt="2022-11-29T14:09:50.584" v="4826" actId="478"/>
          <ac:spMkLst>
            <pc:docMk/>
            <pc:sldMk cId="637570254" sldId="2147474093"/>
            <ac:spMk id="103" creationId="{3419B77A-303C-DDF4-20EA-264A56359B9F}"/>
          </ac:spMkLst>
        </pc:spChg>
        <pc:spChg chg="add del mod">
          <ac:chgData name="Aurore Demoulin (Student at CentraleSupelec)" userId="8586c54a-e12e-4ea3-9b65-4428e4302b50" providerId="ADAL" clId="{E5297846-AE51-4E76-84E4-EFBB3AC64802}" dt="2022-11-29T14:09:50.584" v="4826" actId="478"/>
          <ac:spMkLst>
            <pc:docMk/>
            <pc:sldMk cId="637570254" sldId="2147474093"/>
            <ac:spMk id="104" creationId="{46F9BB08-FBA1-5032-CE43-DF4FB87E6470}"/>
          </ac:spMkLst>
        </pc:spChg>
        <pc:spChg chg="add del mod">
          <ac:chgData name="Aurore Demoulin (Student at CentraleSupelec)" userId="8586c54a-e12e-4ea3-9b65-4428e4302b50" providerId="ADAL" clId="{E5297846-AE51-4E76-84E4-EFBB3AC64802}" dt="2022-11-29T14:09:50.584" v="4826" actId="478"/>
          <ac:spMkLst>
            <pc:docMk/>
            <pc:sldMk cId="637570254" sldId="2147474093"/>
            <ac:spMk id="105" creationId="{8341381B-EAAF-C099-4EF8-BBE42A5793B8}"/>
          </ac:spMkLst>
        </pc:spChg>
        <pc:spChg chg="add del mod">
          <ac:chgData name="Aurore Demoulin (Student at CentraleSupelec)" userId="8586c54a-e12e-4ea3-9b65-4428e4302b50" providerId="ADAL" clId="{E5297846-AE51-4E76-84E4-EFBB3AC64802}" dt="2022-11-29T14:09:50.584" v="4826" actId="478"/>
          <ac:spMkLst>
            <pc:docMk/>
            <pc:sldMk cId="637570254" sldId="2147474093"/>
            <ac:spMk id="106" creationId="{884D087F-9020-7F7D-77D2-210E95457385}"/>
          </ac:spMkLst>
        </pc:spChg>
        <pc:spChg chg="add del mod">
          <ac:chgData name="Aurore Demoulin (Student at CentraleSupelec)" userId="8586c54a-e12e-4ea3-9b65-4428e4302b50" providerId="ADAL" clId="{E5297846-AE51-4E76-84E4-EFBB3AC64802}" dt="2022-11-29T14:09:50.584" v="4826" actId="478"/>
          <ac:spMkLst>
            <pc:docMk/>
            <pc:sldMk cId="637570254" sldId="2147474093"/>
            <ac:spMk id="107" creationId="{CB1ED617-5951-886E-85E0-BE8894CAC067}"/>
          </ac:spMkLst>
        </pc:spChg>
        <pc:spChg chg="add del mod">
          <ac:chgData name="Aurore Demoulin (Student at CentraleSupelec)" userId="8586c54a-e12e-4ea3-9b65-4428e4302b50" providerId="ADAL" clId="{E5297846-AE51-4E76-84E4-EFBB3AC64802}" dt="2022-11-29T14:09:50.584" v="4826" actId="478"/>
          <ac:spMkLst>
            <pc:docMk/>
            <pc:sldMk cId="637570254" sldId="2147474093"/>
            <ac:spMk id="108" creationId="{224521DA-4B47-5633-87B9-BA3379146FEB}"/>
          </ac:spMkLst>
        </pc:spChg>
        <pc:spChg chg="add del mod">
          <ac:chgData name="Aurore Demoulin (Student at CentraleSupelec)" userId="8586c54a-e12e-4ea3-9b65-4428e4302b50" providerId="ADAL" clId="{E5297846-AE51-4E76-84E4-EFBB3AC64802}" dt="2022-11-29T14:09:50.584" v="4826" actId="478"/>
          <ac:spMkLst>
            <pc:docMk/>
            <pc:sldMk cId="637570254" sldId="2147474093"/>
            <ac:spMk id="109" creationId="{7FC4805B-08C8-D400-D9DB-CC72DBE3FFA1}"/>
          </ac:spMkLst>
        </pc:spChg>
        <pc:spChg chg="add del mod">
          <ac:chgData name="Aurore Demoulin (Student at CentraleSupelec)" userId="8586c54a-e12e-4ea3-9b65-4428e4302b50" providerId="ADAL" clId="{E5297846-AE51-4E76-84E4-EFBB3AC64802}" dt="2022-11-29T14:09:50.584" v="4826" actId="478"/>
          <ac:spMkLst>
            <pc:docMk/>
            <pc:sldMk cId="637570254" sldId="2147474093"/>
            <ac:spMk id="110" creationId="{28A31D7D-BE30-45C3-C6B4-2A24EE127A6B}"/>
          </ac:spMkLst>
        </pc:spChg>
        <pc:spChg chg="del">
          <ac:chgData name="Aurore Demoulin (Student at CentraleSupelec)" userId="8586c54a-e12e-4ea3-9b65-4428e4302b50" providerId="ADAL" clId="{E5297846-AE51-4E76-84E4-EFBB3AC64802}" dt="2022-11-29T14:09:50.584" v="4826" actId="478"/>
          <ac:spMkLst>
            <pc:docMk/>
            <pc:sldMk cId="637570254" sldId="2147474093"/>
            <ac:spMk id="111" creationId="{177A799C-60CF-22F5-BC24-BD15F596A038}"/>
          </ac:spMkLst>
        </pc:spChg>
        <pc:spChg chg="add mod">
          <ac:chgData name="Aurore Demoulin (Student at CentraleSupelec)" userId="8586c54a-e12e-4ea3-9b65-4428e4302b50" providerId="ADAL" clId="{E5297846-AE51-4E76-84E4-EFBB3AC64802}" dt="2022-11-29T14:54:38.204" v="5399" actId="1036"/>
          <ac:spMkLst>
            <pc:docMk/>
            <pc:sldMk cId="637570254" sldId="2147474093"/>
            <ac:spMk id="112" creationId="{0289EF64-88D1-64AC-6B69-FD4734519E7A}"/>
          </ac:spMkLst>
        </pc:spChg>
        <pc:spChg chg="add mod">
          <ac:chgData name="Aurore Demoulin (Student at CentraleSupelec)" userId="8586c54a-e12e-4ea3-9b65-4428e4302b50" providerId="ADAL" clId="{E5297846-AE51-4E76-84E4-EFBB3AC64802}" dt="2022-11-29T14:54:38.204" v="5399" actId="1036"/>
          <ac:spMkLst>
            <pc:docMk/>
            <pc:sldMk cId="637570254" sldId="2147474093"/>
            <ac:spMk id="113" creationId="{60009E6D-6850-2CB2-F475-B07C0C72538D}"/>
          </ac:spMkLst>
        </pc:spChg>
        <pc:spChg chg="add mod">
          <ac:chgData name="Aurore Demoulin (Student at CentraleSupelec)" userId="8586c54a-e12e-4ea3-9b65-4428e4302b50" providerId="ADAL" clId="{E5297846-AE51-4E76-84E4-EFBB3AC64802}" dt="2022-11-29T14:54:38.204" v="5399" actId="1036"/>
          <ac:spMkLst>
            <pc:docMk/>
            <pc:sldMk cId="637570254" sldId="2147474093"/>
            <ac:spMk id="114" creationId="{FC488AA6-7168-EB3F-A631-11A9E6DA20C7}"/>
          </ac:spMkLst>
        </pc:spChg>
        <pc:spChg chg="add mod">
          <ac:chgData name="Aurore Demoulin (Student at CentraleSupelec)" userId="8586c54a-e12e-4ea3-9b65-4428e4302b50" providerId="ADAL" clId="{E5297846-AE51-4E76-84E4-EFBB3AC64802}" dt="2022-11-29T14:54:38.204" v="5399" actId="1036"/>
          <ac:spMkLst>
            <pc:docMk/>
            <pc:sldMk cId="637570254" sldId="2147474093"/>
            <ac:spMk id="115" creationId="{7BC75E30-61C3-96A1-52DB-803B6E7B474A}"/>
          </ac:spMkLst>
        </pc:spChg>
        <pc:spChg chg="add mod">
          <ac:chgData name="Aurore Demoulin (Student at CentraleSupelec)" userId="8586c54a-e12e-4ea3-9b65-4428e4302b50" providerId="ADAL" clId="{E5297846-AE51-4E76-84E4-EFBB3AC64802}" dt="2022-11-29T14:54:38.204" v="5399" actId="1036"/>
          <ac:spMkLst>
            <pc:docMk/>
            <pc:sldMk cId="637570254" sldId="2147474093"/>
            <ac:spMk id="116" creationId="{2A10A409-6D28-D2B9-EA09-8392E5B94457}"/>
          </ac:spMkLst>
        </pc:spChg>
        <pc:spChg chg="add mod">
          <ac:chgData name="Aurore Demoulin (Student at CentraleSupelec)" userId="8586c54a-e12e-4ea3-9b65-4428e4302b50" providerId="ADAL" clId="{E5297846-AE51-4E76-84E4-EFBB3AC64802}" dt="2022-11-29T14:54:38.204" v="5399" actId="1036"/>
          <ac:spMkLst>
            <pc:docMk/>
            <pc:sldMk cId="637570254" sldId="2147474093"/>
            <ac:spMk id="117" creationId="{00194FD7-CD64-11B7-0AD2-B7E00C58152C}"/>
          </ac:spMkLst>
        </pc:spChg>
        <pc:spChg chg="add mod">
          <ac:chgData name="Aurore Demoulin (Student at CentraleSupelec)" userId="8586c54a-e12e-4ea3-9b65-4428e4302b50" providerId="ADAL" clId="{E5297846-AE51-4E76-84E4-EFBB3AC64802}" dt="2022-11-29T14:54:38.204" v="5399" actId="1036"/>
          <ac:spMkLst>
            <pc:docMk/>
            <pc:sldMk cId="637570254" sldId="2147474093"/>
            <ac:spMk id="118" creationId="{BB5309F6-6B69-92F2-DD4E-0BEF01A39052}"/>
          </ac:spMkLst>
        </pc:spChg>
        <pc:spChg chg="add mod">
          <ac:chgData name="Aurore Demoulin (Student at CentraleSupelec)" userId="8586c54a-e12e-4ea3-9b65-4428e4302b50" providerId="ADAL" clId="{E5297846-AE51-4E76-84E4-EFBB3AC64802}" dt="2022-11-29T14:54:38.204" v="5399" actId="1036"/>
          <ac:spMkLst>
            <pc:docMk/>
            <pc:sldMk cId="637570254" sldId="2147474093"/>
            <ac:spMk id="119" creationId="{8ACF4EA5-FC9A-132C-9B0B-886C1F845C36}"/>
          </ac:spMkLst>
        </pc:spChg>
        <pc:spChg chg="add mod">
          <ac:chgData name="Aurore Demoulin (Student at CentraleSupelec)" userId="8586c54a-e12e-4ea3-9b65-4428e4302b50" providerId="ADAL" clId="{E5297846-AE51-4E76-84E4-EFBB3AC64802}" dt="2022-11-29T14:54:38.204" v="5399" actId="1036"/>
          <ac:spMkLst>
            <pc:docMk/>
            <pc:sldMk cId="637570254" sldId="2147474093"/>
            <ac:spMk id="120" creationId="{495127DA-16B8-387C-5B4C-FDD963AFE48B}"/>
          </ac:spMkLst>
        </pc:spChg>
        <pc:spChg chg="add mod">
          <ac:chgData name="Aurore Demoulin (Student at CentraleSupelec)" userId="8586c54a-e12e-4ea3-9b65-4428e4302b50" providerId="ADAL" clId="{E5297846-AE51-4E76-84E4-EFBB3AC64802}" dt="2022-11-29T14:54:38.204" v="5399" actId="1036"/>
          <ac:spMkLst>
            <pc:docMk/>
            <pc:sldMk cId="637570254" sldId="2147474093"/>
            <ac:spMk id="121" creationId="{0A08F4C0-7ADD-1F5B-A6C6-BB8760557FB9}"/>
          </ac:spMkLst>
        </pc:spChg>
        <pc:spChg chg="add mod">
          <ac:chgData name="Aurore Demoulin (Student at CentraleSupelec)" userId="8586c54a-e12e-4ea3-9b65-4428e4302b50" providerId="ADAL" clId="{E5297846-AE51-4E76-84E4-EFBB3AC64802}" dt="2022-11-29T14:54:38.204" v="5399" actId="1036"/>
          <ac:spMkLst>
            <pc:docMk/>
            <pc:sldMk cId="637570254" sldId="2147474093"/>
            <ac:spMk id="122" creationId="{C870823F-A29B-6059-7C1C-EA5A02596708}"/>
          </ac:spMkLst>
        </pc:spChg>
        <pc:spChg chg="add mod">
          <ac:chgData name="Aurore Demoulin (Student at CentraleSupelec)" userId="8586c54a-e12e-4ea3-9b65-4428e4302b50" providerId="ADAL" clId="{E5297846-AE51-4E76-84E4-EFBB3AC64802}" dt="2022-11-29T14:54:38.204" v="5399" actId="1036"/>
          <ac:spMkLst>
            <pc:docMk/>
            <pc:sldMk cId="637570254" sldId="2147474093"/>
            <ac:spMk id="123" creationId="{D490F960-68A5-7ADB-AA41-43746C5DDE3F}"/>
          </ac:spMkLst>
        </pc:spChg>
        <pc:spChg chg="add mod">
          <ac:chgData name="Aurore Demoulin (Student at CentraleSupelec)" userId="8586c54a-e12e-4ea3-9b65-4428e4302b50" providerId="ADAL" clId="{E5297846-AE51-4E76-84E4-EFBB3AC64802}" dt="2022-11-29T14:54:38.204" v="5399" actId="1036"/>
          <ac:spMkLst>
            <pc:docMk/>
            <pc:sldMk cId="637570254" sldId="2147474093"/>
            <ac:spMk id="124" creationId="{6F2E483C-A298-FC8D-1FB7-89DE6DF2E89A}"/>
          </ac:spMkLst>
        </pc:spChg>
        <pc:spChg chg="add mod">
          <ac:chgData name="Aurore Demoulin (Student at CentraleSupelec)" userId="8586c54a-e12e-4ea3-9b65-4428e4302b50" providerId="ADAL" clId="{E5297846-AE51-4E76-84E4-EFBB3AC64802}" dt="2022-11-29T14:54:38.204" v="5399" actId="1036"/>
          <ac:spMkLst>
            <pc:docMk/>
            <pc:sldMk cId="637570254" sldId="2147474093"/>
            <ac:spMk id="125" creationId="{643E599D-5CCE-AA4B-2C15-051A61BD9E99}"/>
          </ac:spMkLst>
        </pc:spChg>
        <pc:spChg chg="add mod">
          <ac:chgData name="Aurore Demoulin (Student at CentraleSupelec)" userId="8586c54a-e12e-4ea3-9b65-4428e4302b50" providerId="ADAL" clId="{E5297846-AE51-4E76-84E4-EFBB3AC64802}" dt="2022-11-29T14:54:38.204" v="5399" actId="1036"/>
          <ac:spMkLst>
            <pc:docMk/>
            <pc:sldMk cId="637570254" sldId="2147474093"/>
            <ac:spMk id="126" creationId="{898701CE-2ABB-72E4-277C-7DF54628925D}"/>
          </ac:spMkLst>
        </pc:spChg>
        <pc:spChg chg="add mod">
          <ac:chgData name="Aurore Demoulin (Student at CentraleSupelec)" userId="8586c54a-e12e-4ea3-9b65-4428e4302b50" providerId="ADAL" clId="{E5297846-AE51-4E76-84E4-EFBB3AC64802}" dt="2022-11-29T14:54:38.204" v="5399" actId="1036"/>
          <ac:spMkLst>
            <pc:docMk/>
            <pc:sldMk cId="637570254" sldId="2147474093"/>
            <ac:spMk id="127" creationId="{42E3E54C-63C4-62AA-557F-617B095FA420}"/>
          </ac:spMkLst>
        </pc:spChg>
        <pc:spChg chg="add mod">
          <ac:chgData name="Aurore Demoulin (Student at CentraleSupelec)" userId="8586c54a-e12e-4ea3-9b65-4428e4302b50" providerId="ADAL" clId="{E5297846-AE51-4E76-84E4-EFBB3AC64802}" dt="2022-11-29T14:54:38.204" v="5399" actId="1036"/>
          <ac:spMkLst>
            <pc:docMk/>
            <pc:sldMk cId="637570254" sldId="2147474093"/>
            <ac:spMk id="128" creationId="{2230567F-A3EA-3AC7-EE8F-CE7D1B7ED7C4}"/>
          </ac:spMkLst>
        </pc:spChg>
        <pc:spChg chg="add mod">
          <ac:chgData name="Aurore Demoulin (Student at CentraleSupelec)" userId="8586c54a-e12e-4ea3-9b65-4428e4302b50" providerId="ADAL" clId="{E5297846-AE51-4E76-84E4-EFBB3AC64802}" dt="2022-11-29T14:54:38.204" v="5399" actId="1036"/>
          <ac:spMkLst>
            <pc:docMk/>
            <pc:sldMk cId="637570254" sldId="2147474093"/>
            <ac:spMk id="129" creationId="{097CBAFC-0A9F-7B46-C6B9-88458DC4C706}"/>
          </ac:spMkLst>
        </pc:spChg>
        <pc:spChg chg="add mod">
          <ac:chgData name="Aurore Demoulin (Student at CentraleSupelec)" userId="8586c54a-e12e-4ea3-9b65-4428e4302b50" providerId="ADAL" clId="{E5297846-AE51-4E76-84E4-EFBB3AC64802}" dt="2022-11-29T14:54:38.204" v="5399" actId="1036"/>
          <ac:spMkLst>
            <pc:docMk/>
            <pc:sldMk cId="637570254" sldId="2147474093"/>
            <ac:spMk id="130" creationId="{4EFADC26-255C-4308-F3B9-B39F306A1874}"/>
          </ac:spMkLst>
        </pc:spChg>
        <pc:spChg chg="add mod">
          <ac:chgData name="Aurore Demoulin (Student at CentraleSupelec)" userId="8586c54a-e12e-4ea3-9b65-4428e4302b50" providerId="ADAL" clId="{E5297846-AE51-4E76-84E4-EFBB3AC64802}" dt="2022-11-29T14:54:38.204" v="5399" actId="1036"/>
          <ac:spMkLst>
            <pc:docMk/>
            <pc:sldMk cId="637570254" sldId="2147474093"/>
            <ac:spMk id="131" creationId="{CBEC2A06-E497-A736-3C19-EE6FA110C479}"/>
          </ac:spMkLst>
        </pc:spChg>
        <pc:spChg chg="add mod">
          <ac:chgData name="Aurore Demoulin (Student at CentraleSupelec)" userId="8586c54a-e12e-4ea3-9b65-4428e4302b50" providerId="ADAL" clId="{E5297846-AE51-4E76-84E4-EFBB3AC64802}" dt="2022-11-29T14:54:38.204" v="5399" actId="1036"/>
          <ac:spMkLst>
            <pc:docMk/>
            <pc:sldMk cId="637570254" sldId="2147474093"/>
            <ac:spMk id="132" creationId="{EF27F43E-56A3-9CBD-E606-E7591A2CB99A}"/>
          </ac:spMkLst>
        </pc:spChg>
        <pc:spChg chg="add mod">
          <ac:chgData name="Aurore Demoulin (Student at CentraleSupelec)" userId="8586c54a-e12e-4ea3-9b65-4428e4302b50" providerId="ADAL" clId="{E5297846-AE51-4E76-84E4-EFBB3AC64802}" dt="2022-11-29T14:54:38.204" v="5399" actId="1036"/>
          <ac:spMkLst>
            <pc:docMk/>
            <pc:sldMk cId="637570254" sldId="2147474093"/>
            <ac:spMk id="133" creationId="{90836001-713A-118B-B6E9-1A872F3E0D88}"/>
          </ac:spMkLst>
        </pc:spChg>
        <pc:spChg chg="add mod">
          <ac:chgData name="Aurore Demoulin (Student at CentraleSupelec)" userId="8586c54a-e12e-4ea3-9b65-4428e4302b50" providerId="ADAL" clId="{E5297846-AE51-4E76-84E4-EFBB3AC64802}" dt="2022-11-29T14:54:38.204" v="5399" actId="1036"/>
          <ac:spMkLst>
            <pc:docMk/>
            <pc:sldMk cId="637570254" sldId="2147474093"/>
            <ac:spMk id="134" creationId="{995F2DD3-5BCB-25A6-4F9F-FFBB1C90D802}"/>
          </ac:spMkLst>
        </pc:spChg>
        <pc:spChg chg="add mod">
          <ac:chgData name="Aurore Demoulin (Student at CentraleSupelec)" userId="8586c54a-e12e-4ea3-9b65-4428e4302b50" providerId="ADAL" clId="{E5297846-AE51-4E76-84E4-EFBB3AC64802}" dt="2022-11-29T14:54:38.204" v="5399" actId="1036"/>
          <ac:spMkLst>
            <pc:docMk/>
            <pc:sldMk cId="637570254" sldId="2147474093"/>
            <ac:spMk id="135" creationId="{CCF09CBC-B0B7-E194-0362-21C74BBE7115}"/>
          </ac:spMkLst>
        </pc:spChg>
        <pc:spChg chg="add mod">
          <ac:chgData name="Aurore Demoulin (Student at CentraleSupelec)" userId="8586c54a-e12e-4ea3-9b65-4428e4302b50" providerId="ADAL" clId="{E5297846-AE51-4E76-84E4-EFBB3AC64802}" dt="2022-11-29T14:54:38.204" v="5399" actId="1036"/>
          <ac:spMkLst>
            <pc:docMk/>
            <pc:sldMk cId="637570254" sldId="2147474093"/>
            <ac:spMk id="136" creationId="{2BBE473F-5971-9980-F929-B9494B169784}"/>
          </ac:spMkLst>
        </pc:spChg>
        <pc:spChg chg="add mod">
          <ac:chgData name="Aurore Demoulin (Student at CentraleSupelec)" userId="8586c54a-e12e-4ea3-9b65-4428e4302b50" providerId="ADAL" clId="{E5297846-AE51-4E76-84E4-EFBB3AC64802}" dt="2022-11-29T14:54:38.204" v="5399" actId="1036"/>
          <ac:spMkLst>
            <pc:docMk/>
            <pc:sldMk cId="637570254" sldId="2147474093"/>
            <ac:spMk id="137" creationId="{3D545FB0-334F-E89C-1E7F-89EEFA6DEBEA}"/>
          </ac:spMkLst>
        </pc:spChg>
        <pc:spChg chg="add mod">
          <ac:chgData name="Aurore Demoulin (Student at CentraleSupelec)" userId="8586c54a-e12e-4ea3-9b65-4428e4302b50" providerId="ADAL" clId="{E5297846-AE51-4E76-84E4-EFBB3AC64802}" dt="2022-11-29T14:54:38.204" v="5399" actId="1036"/>
          <ac:spMkLst>
            <pc:docMk/>
            <pc:sldMk cId="637570254" sldId="2147474093"/>
            <ac:spMk id="138" creationId="{8A4F8B0A-7B1A-DA99-69BF-446CEC67380D}"/>
          </ac:spMkLst>
        </pc:spChg>
        <pc:spChg chg="add mod">
          <ac:chgData name="Aurore Demoulin (Student at CentraleSupelec)" userId="8586c54a-e12e-4ea3-9b65-4428e4302b50" providerId="ADAL" clId="{E5297846-AE51-4E76-84E4-EFBB3AC64802}" dt="2022-11-29T14:54:38.204" v="5399" actId="1036"/>
          <ac:spMkLst>
            <pc:docMk/>
            <pc:sldMk cId="637570254" sldId="2147474093"/>
            <ac:spMk id="139" creationId="{6230244D-35BF-E574-D903-864DEBC7E234}"/>
          </ac:spMkLst>
        </pc:spChg>
        <pc:spChg chg="add mod">
          <ac:chgData name="Aurore Demoulin (Student at CentraleSupelec)" userId="8586c54a-e12e-4ea3-9b65-4428e4302b50" providerId="ADAL" clId="{E5297846-AE51-4E76-84E4-EFBB3AC64802}" dt="2022-11-29T14:54:38.204" v="5399" actId="1036"/>
          <ac:spMkLst>
            <pc:docMk/>
            <pc:sldMk cId="637570254" sldId="2147474093"/>
            <ac:spMk id="140" creationId="{5EBD319C-E821-837C-450D-6C838B4D83D5}"/>
          </ac:spMkLst>
        </pc:spChg>
        <pc:spChg chg="add mod">
          <ac:chgData name="Aurore Demoulin (Student at CentraleSupelec)" userId="8586c54a-e12e-4ea3-9b65-4428e4302b50" providerId="ADAL" clId="{E5297846-AE51-4E76-84E4-EFBB3AC64802}" dt="2022-11-29T14:54:38.204" v="5399" actId="1036"/>
          <ac:spMkLst>
            <pc:docMk/>
            <pc:sldMk cId="637570254" sldId="2147474093"/>
            <ac:spMk id="141" creationId="{32F44DA2-B70E-D224-C36F-79F67B44BCA2}"/>
          </ac:spMkLst>
        </pc:spChg>
        <pc:spChg chg="add mod">
          <ac:chgData name="Aurore Demoulin (Student at CentraleSupelec)" userId="8586c54a-e12e-4ea3-9b65-4428e4302b50" providerId="ADAL" clId="{E5297846-AE51-4E76-84E4-EFBB3AC64802}" dt="2022-11-29T14:54:38.204" v="5399" actId="1036"/>
          <ac:spMkLst>
            <pc:docMk/>
            <pc:sldMk cId="637570254" sldId="2147474093"/>
            <ac:spMk id="142" creationId="{AF6E413F-E282-4AAC-92D1-1A093444EFE9}"/>
          </ac:spMkLst>
        </pc:spChg>
        <pc:spChg chg="add mod">
          <ac:chgData name="Aurore Demoulin (Student at CentraleSupelec)" userId="8586c54a-e12e-4ea3-9b65-4428e4302b50" providerId="ADAL" clId="{E5297846-AE51-4E76-84E4-EFBB3AC64802}" dt="2022-11-29T14:54:38.204" v="5399" actId="1036"/>
          <ac:spMkLst>
            <pc:docMk/>
            <pc:sldMk cId="637570254" sldId="2147474093"/>
            <ac:spMk id="143" creationId="{F7359886-FDE7-9A87-E97C-DB08B8B72184}"/>
          </ac:spMkLst>
        </pc:spChg>
        <pc:spChg chg="add mod">
          <ac:chgData name="Aurore Demoulin (Student at CentraleSupelec)" userId="8586c54a-e12e-4ea3-9b65-4428e4302b50" providerId="ADAL" clId="{E5297846-AE51-4E76-84E4-EFBB3AC64802}" dt="2022-11-30T09:42:49.915" v="8491" actId="20577"/>
          <ac:spMkLst>
            <pc:docMk/>
            <pc:sldMk cId="637570254" sldId="2147474093"/>
            <ac:spMk id="144" creationId="{7FBABEAF-5440-5E72-332D-8DF18F333C96}"/>
          </ac:spMkLst>
        </pc:spChg>
        <pc:spChg chg="add mod">
          <ac:chgData name="Aurore Demoulin (Student at CentraleSupelec)" userId="8586c54a-e12e-4ea3-9b65-4428e4302b50" providerId="ADAL" clId="{E5297846-AE51-4E76-84E4-EFBB3AC64802}" dt="2022-12-01T14:18:01.170" v="9350" actId="1038"/>
          <ac:spMkLst>
            <pc:docMk/>
            <pc:sldMk cId="637570254" sldId="2147474093"/>
            <ac:spMk id="145" creationId="{B20FAB56-77E4-B331-F9A3-D56DE6BFC202}"/>
          </ac:spMkLst>
        </pc:spChg>
        <pc:graphicFrameChg chg="del">
          <ac:chgData name="Aurore Demoulin (Student at CentraleSupelec)" userId="8586c54a-e12e-4ea3-9b65-4428e4302b50" providerId="ADAL" clId="{E5297846-AE51-4E76-84E4-EFBB3AC64802}" dt="2022-11-29T14:02:09.619" v="4693" actId="478"/>
          <ac:graphicFrameMkLst>
            <pc:docMk/>
            <pc:sldMk cId="637570254" sldId="2147474093"/>
            <ac:graphicFrameMk id="76" creationId="{3F59F270-6E63-73F5-E770-D156CC608069}"/>
          </ac:graphicFrameMkLst>
        </pc:graphicFrameChg>
      </pc:sldChg>
      <pc:sldChg chg="modSp add mod ord setBg">
        <pc:chgData name="Aurore Demoulin (Student at CentraleSupelec)" userId="8586c54a-e12e-4ea3-9b65-4428e4302b50" providerId="ADAL" clId="{E5297846-AE51-4E76-84E4-EFBB3AC64802}" dt="2022-11-30T09:26:25.454" v="7981" actId="6549"/>
        <pc:sldMkLst>
          <pc:docMk/>
          <pc:sldMk cId="3003815223" sldId="2147474094"/>
        </pc:sldMkLst>
        <pc:spChg chg="mod">
          <ac:chgData name="Aurore Demoulin (Student at CentraleSupelec)" userId="8586c54a-e12e-4ea3-9b65-4428e4302b50" providerId="ADAL" clId="{E5297846-AE51-4E76-84E4-EFBB3AC64802}" dt="2022-11-30T09:26:25.454" v="7981" actId="6549"/>
          <ac:spMkLst>
            <pc:docMk/>
            <pc:sldMk cId="3003815223" sldId="2147474094"/>
            <ac:spMk id="3" creationId="{00000000-0000-0000-0000-000000000000}"/>
          </ac:spMkLst>
        </pc:spChg>
      </pc:sldChg>
      <pc:sldChg chg="delSp modSp mod">
        <pc:chgData name="Aurore Demoulin (Student at CentraleSupelec)" userId="8586c54a-e12e-4ea3-9b65-4428e4302b50" providerId="ADAL" clId="{E5297846-AE51-4E76-84E4-EFBB3AC64802}" dt="2022-12-01T15:15:57.968" v="11323" actId="478"/>
        <pc:sldMkLst>
          <pc:docMk/>
          <pc:sldMk cId="3995472106" sldId="2147474095"/>
        </pc:sldMkLst>
        <pc:spChg chg="del">
          <ac:chgData name="Aurore Demoulin (Student at CentraleSupelec)" userId="8586c54a-e12e-4ea3-9b65-4428e4302b50" providerId="ADAL" clId="{E5297846-AE51-4E76-84E4-EFBB3AC64802}" dt="2022-12-01T15:15:57.968" v="11323" actId="478"/>
          <ac:spMkLst>
            <pc:docMk/>
            <pc:sldMk cId="3995472106" sldId="2147474095"/>
            <ac:spMk id="2" creationId="{49222D26-8678-7667-E2F2-E24F449AF7B0}"/>
          </ac:spMkLst>
        </pc:spChg>
        <pc:spChg chg="mod">
          <ac:chgData name="Aurore Demoulin (Student at CentraleSupelec)" userId="8586c54a-e12e-4ea3-9b65-4428e4302b50" providerId="ADAL" clId="{E5297846-AE51-4E76-84E4-EFBB3AC64802}" dt="2022-12-01T13:35:35.977" v="9235" actId="12788"/>
          <ac:spMkLst>
            <pc:docMk/>
            <pc:sldMk cId="3995472106" sldId="2147474095"/>
            <ac:spMk id="6" creationId="{0F67DAFF-0E61-5269-4FBD-241BA0AD1D1E}"/>
          </ac:spMkLst>
        </pc:spChg>
        <pc:spChg chg="mod">
          <ac:chgData name="Aurore Demoulin (Student at CentraleSupelec)" userId="8586c54a-e12e-4ea3-9b65-4428e4302b50" providerId="ADAL" clId="{E5297846-AE51-4E76-84E4-EFBB3AC64802}" dt="2022-12-01T13:35:35.977" v="9235" actId="12788"/>
          <ac:spMkLst>
            <pc:docMk/>
            <pc:sldMk cId="3995472106" sldId="2147474095"/>
            <ac:spMk id="8" creationId="{08EC5485-3B9F-8769-2D4E-ADCEB0B39C80}"/>
          </ac:spMkLst>
        </pc:spChg>
        <pc:spChg chg="mod">
          <ac:chgData name="Aurore Demoulin (Student at CentraleSupelec)" userId="8586c54a-e12e-4ea3-9b65-4428e4302b50" providerId="ADAL" clId="{E5297846-AE51-4E76-84E4-EFBB3AC64802}" dt="2022-12-01T13:35:14.646" v="9226" actId="12788"/>
          <ac:spMkLst>
            <pc:docMk/>
            <pc:sldMk cId="3995472106" sldId="2147474095"/>
            <ac:spMk id="12" creationId="{8B17FB5F-14A4-1EE7-E237-61E7D8237F70}"/>
          </ac:spMkLst>
        </pc:spChg>
        <pc:spChg chg="mod">
          <ac:chgData name="Aurore Demoulin (Student at CentraleSupelec)" userId="8586c54a-e12e-4ea3-9b65-4428e4302b50" providerId="ADAL" clId="{E5297846-AE51-4E76-84E4-EFBB3AC64802}" dt="2022-12-01T13:35:14.646" v="9226" actId="12788"/>
          <ac:spMkLst>
            <pc:docMk/>
            <pc:sldMk cId="3995472106" sldId="2147474095"/>
            <ac:spMk id="13" creationId="{8D31ECF2-7AA4-4112-82BB-FE5DBEE9D405}"/>
          </ac:spMkLst>
        </pc:spChg>
        <pc:spChg chg="mod">
          <ac:chgData name="Aurore Demoulin (Student at CentraleSupelec)" userId="8586c54a-e12e-4ea3-9b65-4428e4302b50" providerId="ADAL" clId="{E5297846-AE51-4E76-84E4-EFBB3AC64802}" dt="2022-12-01T13:35:35.977" v="9235" actId="12788"/>
          <ac:spMkLst>
            <pc:docMk/>
            <pc:sldMk cId="3995472106" sldId="2147474095"/>
            <ac:spMk id="17" creationId="{2ADF9FAC-B20B-C458-3D21-91D521274B85}"/>
          </ac:spMkLst>
        </pc:spChg>
        <pc:spChg chg="mod">
          <ac:chgData name="Aurore Demoulin (Student at CentraleSupelec)" userId="8586c54a-e12e-4ea3-9b65-4428e4302b50" providerId="ADAL" clId="{E5297846-AE51-4E76-84E4-EFBB3AC64802}" dt="2022-12-01T14:42:06.837" v="9563" actId="20577"/>
          <ac:spMkLst>
            <pc:docMk/>
            <pc:sldMk cId="3995472106" sldId="2147474095"/>
            <ac:spMk id="20" creationId="{4878C88E-73A0-629F-AC91-C96265CF3EEC}"/>
          </ac:spMkLst>
        </pc:spChg>
        <pc:spChg chg="mod">
          <ac:chgData name="Aurore Demoulin (Student at CentraleSupelec)" userId="8586c54a-e12e-4ea3-9b65-4428e4302b50" providerId="ADAL" clId="{E5297846-AE51-4E76-84E4-EFBB3AC64802}" dt="2022-12-01T13:35:35.977" v="9235" actId="12788"/>
          <ac:spMkLst>
            <pc:docMk/>
            <pc:sldMk cId="3995472106" sldId="2147474095"/>
            <ac:spMk id="21" creationId="{2FB8D27E-E081-3CA7-9461-D014EC256C0D}"/>
          </ac:spMkLst>
        </pc:spChg>
        <pc:spChg chg="mod">
          <ac:chgData name="Aurore Demoulin (Student at CentraleSupelec)" userId="8586c54a-e12e-4ea3-9b65-4428e4302b50" providerId="ADAL" clId="{E5297846-AE51-4E76-84E4-EFBB3AC64802}" dt="2022-12-01T13:35:14.646" v="9226" actId="12788"/>
          <ac:spMkLst>
            <pc:docMk/>
            <pc:sldMk cId="3995472106" sldId="2147474095"/>
            <ac:spMk id="27" creationId="{DB90BA12-40FF-473E-9907-E5BA4F78E058}"/>
          </ac:spMkLst>
        </pc:spChg>
        <pc:spChg chg="mod">
          <ac:chgData name="Aurore Demoulin (Student at CentraleSupelec)" userId="8586c54a-e12e-4ea3-9b65-4428e4302b50" providerId="ADAL" clId="{E5297846-AE51-4E76-84E4-EFBB3AC64802}" dt="2022-12-01T13:35:14.646" v="9226" actId="12788"/>
          <ac:spMkLst>
            <pc:docMk/>
            <pc:sldMk cId="3995472106" sldId="2147474095"/>
            <ac:spMk id="28" creationId="{7505EB15-9264-04EE-9E14-F55D0FC2E29C}"/>
          </ac:spMkLst>
        </pc:spChg>
        <pc:spChg chg="mod">
          <ac:chgData name="Aurore Demoulin (Student at CentraleSupelec)" userId="8586c54a-e12e-4ea3-9b65-4428e4302b50" providerId="ADAL" clId="{E5297846-AE51-4E76-84E4-EFBB3AC64802}" dt="2022-12-01T13:35:35.977" v="9235" actId="12788"/>
          <ac:spMkLst>
            <pc:docMk/>
            <pc:sldMk cId="3995472106" sldId="2147474095"/>
            <ac:spMk id="30" creationId="{2767F685-D8FE-4A00-92BC-EF46ACCDF2DC}"/>
          </ac:spMkLst>
        </pc:spChg>
        <pc:spChg chg="mod">
          <ac:chgData name="Aurore Demoulin (Student at CentraleSupelec)" userId="8586c54a-e12e-4ea3-9b65-4428e4302b50" providerId="ADAL" clId="{E5297846-AE51-4E76-84E4-EFBB3AC64802}" dt="2022-12-01T13:35:35.977" v="9235" actId="12788"/>
          <ac:spMkLst>
            <pc:docMk/>
            <pc:sldMk cId="3995472106" sldId="2147474095"/>
            <ac:spMk id="31" creationId="{7362207D-AC95-61B9-50FF-2BAD4BA2CEAE}"/>
          </ac:spMkLst>
        </pc:spChg>
        <pc:spChg chg="mod">
          <ac:chgData name="Aurore Demoulin (Student at CentraleSupelec)" userId="8586c54a-e12e-4ea3-9b65-4428e4302b50" providerId="ADAL" clId="{E5297846-AE51-4E76-84E4-EFBB3AC64802}" dt="2022-12-01T13:35:14.646" v="9226" actId="12788"/>
          <ac:spMkLst>
            <pc:docMk/>
            <pc:sldMk cId="3995472106" sldId="2147474095"/>
            <ac:spMk id="33" creationId="{C53E00FC-9C2D-3BC2-A72C-A2358EF607BB}"/>
          </ac:spMkLst>
        </pc:spChg>
        <pc:spChg chg="mod">
          <ac:chgData name="Aurore Demoulin (Student at CentraleSupelec)" userId="8586c54a-e12e-4ea3-9b65-4428e4302b50" providerId="ADAL" clId="{E5297846-AE51-4E76-84E4-EFBB3AC64802}" dt="2022-12-01T13:35:14.646" v="9226" actId="12788"/>
          <ac:spMkLst>
            <pc:docMk/>
            <pc:sldMk cId="3995472106" sldId="2147474095"/>
            <ac:spMk id="34" creationId="{276301E6-B652-7E50-1DBA-0C034491DA54}"/>
          </ac:spMkLst>
        </pc:spChg>
        <pc:spChg chg="mod">
          <ac:chgData name="Aurore Demoulin (Student at CentraleSupelec)" userId="8586c54a-e12e-4ea3-9b65-4428e4302b50" providerId="ADAL" clId="{E5297846-AE51-4E76-84E4-EFBB3AC64802}" dt="2022-12-01T13:35:14.646" v="9226" actId="12788"/>
          <ac:spMkLst>
            <pc:docMk/>
            <pc:sldMk cId="3995472106" sldId="2147474095"/>
            <ac:spMk id="36" creationId="{D245E236-86E9-A1C2-1084-AF35B26A83FB}"/>
          </ac:spMkLst>
        </pc:spChg>
        <pc:spChg chg="mod">
          <ac:chgData name="Aurore Demoulin (Student at CentraleSupelec)" userId="8586c54a-e12e-4ea3-9b65-4428e4302b50" providerId="ADAL" clId="{E5297846-AE51-4E76-84E4-EFBB3AC64802}" dt="2022-12-01T13:35:35.977" v="9235" actId="12788"/>
          <ac:spMkLst>
            <pc:docMk/>
            <pc:sldMk cId="3995472106" sldId="2147474095"/>
            <ac:spMk id="37" creationId="{429749C2-C885-8F14-E28E-D21B41F1A805}"/>
          </ac:spMkLst>
        </pc:spChg>
        <pc:grpChg chg="mod">
          <ac:chgData name="Aurore Demoulin (Student at CentraleSupelec)" userId="8586c54a-e12e-4ea3-9b65-4428e4302b50" providerId="ADAL" clId="{E5297846-AE51-4E76-84E4-EFBB3AC64802}" dt="2022-12-01T13:35:35.977" v="9235" actId="12788"/>
          <ac:grpSpMkLst>
            <pc:docMk/>
            <pc:sldMk cId="3995472106" sldId="2147474095"/>
            <ac:grpSpMk id="9" creationId="{27B80EC2-AC70-5CF1-31E7-504D93F313BA}"/>
          </ac:grpSpMkLst>
        </pc:grpChg>
        <pc:grpChg chg="mod">
          <ac:chgData name="Aurore Demoulin (Student at CentraleSupelec)" userId="8586c54a-e12e-4ea3-9b65-4428e4302b50" providerId="ADAL" clId="{E5297846-AE51-4E76-84E4-EFBB3AC64802}" dt="2022-12-01T13:35:14.646" v="9226" actId="12788"/>
          <ac:grpSpMkLst>
            <pc:docMk/>
            <pc:sldMk cId="3995472106" sldId="2147474095"/>
            <ac:grpSpMk id="10" creationId="{8A4A6EDD-C68B-76BA-730C-0F8E1EA76C36}"/>
          </ac:grpSpMkLst>
        </pc:grpChg>
        <pc:grpChg chg="mod">
          <ac:chgData name="Aurore Demoulin (Student at CentraleSupelec)" userId="8586c54a-e12e-4ea3-9b65-4428e4302b50" providerId="ADAL" clId="{E5297846-AE51-4E76-84E4-EFBB3AC64802}" dt="2022-12-01T13:35:35.977" v="9235" actId="12788"/>
          <ac:grpSpMkLst>
            <pc:docMk/>
            <pc:sldMk cId="3995472106" sldId="2147474095"/>
            <ac:grpSpMk id="14" creationId="{844B2285-D526-656A-1D2E-1121E9ADC1B2}"/>
          </ac:grpSpMkLst>
        </pc:grpChg>
        <pc:grpChg chg="mod">
          <ac:chgData name="Aurore Demoulin (Student at CentraleSupelec)" userId="8586c54a-e12e-4ea3-9b65-4428e4302b50" providerId="ADAL" clId="{E5297846-AE51-4E76-84E4-EFBB3AC64802}" dt="2022-12-01T13:35:14.646" v="9226" actId="12788"/>
          <ac:grpSpMkLst>
            <pc:docMk/>
            <pc:sldMk cId="3995472106" sldId="2147474095"/>
            <ac:grpSpMk id="26" creationId="{FA719013-4A1B-523A-FCA8-1549D42A8469}"/>
          </ac:grpSpMkLst>
        </pc:grpChg>
        <pc:grpChg chg="mod">
          <ac:chgData name="Aurore Demoulin (Student at CentraleSupelec)" userId="8586c54a-e12e-4ea3-9b65-4428e4302b50" providerId="ADAL" clId="{E5297846-AE51-4E76-84E4-EFBB3AC64802}" dt="2022-12-01T13:35:35.977" v="9235" actId="12788"/>
          <ac:grpSpMkLst>
            <pc:docMk/>
            <pc:sldMk cId="3995472106" sldId="2147474095"/>
            <ac:grpSpMk id="29" creationId="{817FD3D9-CA19-50D6-95A9-16D6658F5BB2}"/>
          </ac:grpSpMkLst>
        </pc:grpChg>
        <pc:grpChg chg="mod">
          <ac:chgData name="Aurore Demoulin (Student at CentraleSupelec)" userId="8586c54a-e12e-4ea3-9b65-4428e4302b50" providerId="ADAL" clId="{E5297846-AE51-4E76-84E4-EFBB3AC64802}" dt="2022-12-01T13:35:14.646" v="9226" actId="12788"/>
          <ac:grpSpMkLst>
            <pc:docMk/>
            <pc:sldMk cId="3995472106" sldId="2147474095"/>
            <ac:grpSpMk id="32" creationId="{D0F43F31-284C-C84C-0A05-EC17EC970479}"/>
          </ac:grpSpMkLst>
        </pc:grpChg>
      </pc:sldChg>
      <pc:sldChg chg="addSp delSp modSp new del mod modShow">
        <pc:chgData name="Aurore Demoulin (Student at CentraleSupelec)" userId="8586c54a-e12e-4ea3-9b65-4428e4302b50" providerId="ADAL" clId="{E5297846-AE51-4E76-84E4-EFBB3AC64802}" dt="2022-12-01T15:56:35.939" v="11809" actId="47"/>
        <pc:sldMkLst>
          <pc:docMk/>
          <pc:sldMk cId="287795975" sldId="2147474096"/>
        </pc:sldMkLst>
        <pc:spChg chg="mod">
          <ac:chgData name="Aurore Demoulin (Student at CentraleSupelec)" userId="8586c54a-e12e-4ea3-9b65-4428e4302b50" providerId="ADAL" clId="{E5297846-AE51-4E76-84E4-EFBB3AC64802}" dt="2022-11-29T14:42:30.575" v="5246" actId="20577"/>
          <ac:spMkLst>
            <pc:docMk/>
            <pc:sldMk cId="287795975" sldId="2147474096"/>
            <ac:spMk id="2" creationId="{AB6F7017-CCC7-C4BF-11A1-BC6D21A0A74F}"/>
          </ac:spMkLst>
        </pc:spChg>
        <pc:spChg chg="del">
          <ac:chgData name="Aurore Demoulin (Student at CentraleSupelec)" userId="8586c54a-e12e-4ea3-9b65-4428e4302b50" providerId="ADAL" clId="{E5297846-AE51-4E76-84E4-EFBB3AC64802}" dt="2022-11-29T14:42:21.767" v="5229" actId="478"/>
          <ac:spMkLst>
            <pc:docMk/>
            <pc:sldMk cId="287795975" sldId="2147474096"/>
            <ac:spMk id="3" creationId="{2572C1D6-777B-FAD0-90C7-CC2DA6ECC365}"/>
          </ac:spMkLst>
        </pc:spChg>
        <pc:graphicFrameChg chg="add mod">
          <ac:chgData name="Aurore Demoulin (Student at CentraleSupelec)" userId="8586c54a-e12e-4ea3-9b65-4428e4302b50" providerId="ADAL" clId="{E5297846-AE51-4E76-84E4-EFBB3AC64802}" dt="2022-11-29T14:43:03.218" v="5248" actId="1076"/>
          <ac:graphicFrameMkLst>
            <pc:docMk/>
            <pc:sldMk cId="287795975" sldId="2147474096"/>
            <ac:graphicFrameMk id="4" creationId="{D03074F4-F3B4-2C33-0F2D-4CB6D6F69301}"/>
          </ac:graphicFrameMkLst>
        </pc:graphicFrameChg>
        <pc:graphicFrameChg chg="add mod">
          <ac:chgData name="Aurore Demoulin (Student at CentraleSupelec)" userId="8586c54a-e12e-4ea3-9b65-4428e4302b50" providerId="ADAL" clId="{E5297846-AE51-4E76-84E4-EFBB3AC64802}" dt="2022-11-29T14:43:19.752" v="5250" actId="1076"/>
          <ac:graphicFrameMkLst>
            <pc:docMk/>
            <pc:sldMk cId="287795975" sldId="2147474096"/>
            <ac:graphicFrameMk id="5" creationId="{22035224-E72C-BAFE-42C6-1084079D2FF8}"/>
          </ac:graphicFrameMkLst>
        </pc:graphicFrameChg>
        <pc:graphicFrameChg chg="add mod">
          <ac:chgData name="Aurore Demoulin (Student at CentraleSupelec)" userId="8586c54a-e12e-4ea3-9b65-4428e4302b50" providerId="ADAL" clId="{E5297846-AE51-4E76-84E4-EFBB3AC64802}" dt="2022-11-29T14:43:35.480" v="5252" actId="1076"/>
          <ac:graphicFrameMkLst>
            <pc:docMk/>
            <pc:sldMk cId="287795975" sldId="2147474096"/>
            <ac:graphicFrameMk id="6" creationId="{D680D0E4-CD68-99BD-C07A-9DAFE630F090}"/>
          </ac:graphicFrameMkLst>
        </pc:graphicFrameChg>
      </pc:sldChg>
      <pc:sldChg chg="modSp mod ord setBg">
        <pc:chgData name="Aurore Demoulin (Student at CentraleSupelec)" userId="8586c54a-e12e-4ea3-9b65-4428e4302b50" providerId="ADAL" clId="{E5297846-AE51-4E76-84E4-EFBB3AC64802}" dt="2022-11-30T09:24:56.502" v="7900" actId="20577"/>
        <pc:sldMkLst>
          <pc:docMk/>
          <pc:sldMk cId="4273815538" sldId="2147474097"/>
        </pc:sldMkLst>
        <pc:spChg chg="mod">
          <ac:chgData name="Aurore Demoulin (Student at CentraleSupelec)" userId="8586c54a-e12e-4ea3-9b65-4428e4302b50" providerId="ADAL" clId="{E5297846-AE51-4E76-84E4-EFBB3AC64802}" dt="2022-11-30T09:24:56.502" v="7900" actId="20577"/>
          <ac:spMkLst>
            <pc:docMk/>
            <pc:sldMk cId="4273815538" sldId="2147474097"/>
            <ac:spMk id="3" creationId="{00000000-0000-0000-0000-000000000000}"/>
          </ac:spMkLst>
        </pc:spChg>
      </pc:sldChg>
      <pc:sldChg chg="modSp mod">
        <pc:chgData name="Aurore Demoulin (Student at CentraleSupelec)" userId="8586c54a-e12e-4ea3-9b65-4428e4302b50" providerId="ADAL" clId="{E5297846-AE51-4E76-84E4-EFBB3AC64802}" dt="2022-12-01T14:08:36.419" v="9326" actId="20577"/>
        <pc:sldMkLst>
          <pc:docMk/>
          <pc:sldMk cId="2971014534" sldId="2147474098"/>
        </pc:sldMkLst>
        <pc:spChg chg="mod">
          <ac:chgData name="Aurore Demoulin (Student at CentraleSupelec)" userId="8586c54a-e12e-4ea3-9b65-4428e4302b50" providerId="ADAL" clId="{E5297846-AE51-4E76-84E4-EFBB3AC64802}" dt="2022-12-01T14:08:36.419" v="9326" actId="20577"/>
          <ac:spMkLst>
            <pc:docMk/>
            <pc:sldMk cId="2971014534" sldId="2147474098"/>
            <ac:spMk id="3" creationId="{00000000-0000-0000-0000-000000000000}"/>
          </ac:spMkLst>
        </pc:spChg>
      </pc:sldChg>
      <pc:sldChg chg="addSp delSp modSp mod">
        <pc:chgData name="Aurore Demoulin (Student at CentraleSupelec)" userId="8586c54a-e12e-4ea3-9b65-4428e4302b50" providerId="ADAL" clId="{E5297846-AE51-4E76-84E4-EFBB3AC64802}" dt="2022-12-01T15:55:56.544" v="11806" actId="1038"/>
        <pc:sldMkLst>
          <pc:docMk/>
          <pc:sldMk cId="530476761" sldId="2147474099"/>
        </pc:sldMkLst>
        <pc:spChg chg="mod">
          <ac:chgData name="Aurore Demoulin (Student at CentraleSupelec)" userId="8586c54a-e12e-4ea3-9b65-4428e4302b50" providerId="ADAL" clId="{E5297846-AE51-4E76-84E4-EFBB3AC64802}" dt="2022-12-01T15:42:47.490" v="11482" actId="20577"/>
          <ac:spMkLst>
            <pc:docMk/>
            <pc:sldMk cId="530476761" sldId="2147474099"/>
            <ac:spMk id="3" creationId="{00000000-0000-0000-0000-000000000000}"/>
          </ac:spMkLst>
        </pc:spChg>
        <pc:spChg chg="mod">
          <ac:chgData name="Aurore Demoulin (Student at CentraleSupelec)" userId="8586c54a-e12e-4ea3-9b65-4428e4302b50" providerId="ADAL" clId="{E5297846-AE51-4E76-84E4-EFBB3AC64802}" dt="2022-12-01T15:39:35.491" v="11459" actId="21"/>
          <ac:spMkLst>
            <pc:docMk/>
            <pc:sldMk cId="530476761" sldId="2147474099"/>
            <ac:spMk id="6" creationId="{D57D9CC3-9F20-4817-0E51-4729F2EF5B61}"/>
          </ac:spMkLst>
        </pc:spChg>
        <pc:spChg chg="add mod">
          <ac:chgData name="Aurore Demoulin (Student at CentraleSupelec)" userId="8586c54a-e12e-4ea3-9b65-4428e4302b50" providerId="ADAL" clId="{E5297846-AE51-4E76-84E4-EFBB3AC64802}" dt="2022-12-01T15:55:31.702" v="11704" actId="14100"/>
          <ac:spMkLst>
            <pc:docMk/>
            <pc:sldMk cId="530476761" sldId="2147474099"/>
            <ac:spMk id="11" creationId="{52854C10-4F5E-E109-BB31-726C4E09F4F6}"/>
          </ac:spMkLst>
        </pc:spChg>
        <pc:spChg chg="del">
          <ac:chgData name="Aurore Demoulin (Student at CentraleSupelec)" userId="8586c54a-e12e-4ea3-9b65-4428e4302b50" providerId="ADAL" clId="{E5297846-AE51-4E76-84E4-EFBB3AC64802}" dt="2022-11-30T09:59:29.830" v="8603" actId="478"/>
          <ac:spMkLst>
            <pc:docMk/>
            <pc:sldMk cId="530476761" sldId="2147474099"/>
            <ac:spMk id="11" creationId="{FA651644-BAA6-188E-5350-DF3EFD5F84EF}"/>
          </ac:spMkLst>
        </pc:spChg>
        <pc:spChg chg="add mod">
          <ac:chgData name="Aurore Demoulin (Student at CentraleSupelec)" userId="8586c54a-e12e-4ea3-9b65-4428e4302b50" providerId="ADAL" clId="{E5297846-AE51-4E76-84E4-EFBB3AC64802}" dt="2022-12-01T15:55:56.544" v="11806" actId="1038"/>
          <ac:spMkLst>
            <pc:docMk/>
            <pc:sldMk cId="530476761" sldId="2147474099"/>
            <ac:spMk id="12" creationId="{4D87CF9E-B677-111E-1719-0EEA7617B27A}"/>
          </ac:spMkLst>
        </pc:spChg>
        <pc:spChg chg="del">
          <ac:chgData name="Aurore Demoulin (Student at CentraleSupelec)" userId="8586c54a-e12e-4ea3-9b65-4428e4302b50" providerId="ADAL" clId="{E5297846-AE51-4E76-84E4-EFBB3AC64802}" dt="2022-11-30T09:59:29.830" v="8603" actId="478"/>
          <ac:spMkLst>
            <pc:docMk/>
            <pc:sldMk cId="530476761" sldId="2147474099"/>
            <ac:spMk id="12" creationId="{FDB60F84-2869-354D-9BF1-3E609C000C50}"/>
          </ac:spMkLst>
        </pc:spChg>
        <pc:spChg chg="add mod">
          <ac:chgData name="Aurore Demoulin (Student at CentraleSupelec)" userId="8586c54a-e12e-4ea3-9b65-4428e4302b50" providerId="ADAL" clId="{E5297846-AE51-4E76-84E4-EFBB3AC64802}" dt="2022-12-01T15:55:56.544" v="11806" actId="1038"/>
          <ac:spMkLst>
            <pc:docMk/>
            <pc:sldMk cId="530476761" sldId="2147474099"/>
            <ac:spMk id="13" creationId="{2A8BD7C4-2045-ECD8-715E-41B9D2D99FFA}"/>
          </ac:spMkLst>
        </pc:spChg>
        <pc:spChg chg="del">
          <ac:chgData name="Aurore Demoulin (Student at CentraleSupelec)" userId="8586c54a-e12e-4ea3-9b65-4428e4302b50" providerId="ADAL" clId="{E5297846-AE51-4E76-84E4-EFBB3AC64802}" dt="2022-11-30T09:59:29.830" v="8603" actId="478"/>
          <ac:spMkLst>
            <pc:docMk/>
            <pc:sldMk cId="530476761" sldId="2147474099"/>
            <ac:spMk id="13" creationId="{81C670D0-C25C-9C7C-B784-09CB882E8002}"/>
          </ac:spMkLst>
        </pc:spChg>
        <pc:spChg chg="del">
          <ac:chgData name="Aurore Demoulin (Student at CentraleSupelec)" userId="8586c54a-e12e-4ea3-9b65-4428e4302b50" providerId="ADAL" clId="{E5297846-AE51-4E76-84E4-EFBB3AC64802}" dt="2022-11-30T09:59:29.830" v="8603" actId="478"/>
          <ac:spMkLst>
            <pc:docMk/>
            <pc:sldMk cId="530476761" sldId="2147474099"/>
            <ac:spMk id="14" creationId="{86EA0AB6-9792-3681-F7D3-03A87C515B0F}"/>
          </ac:spMkLst>
        </pc:spChg>
        <pc:spChg chg="del">
          <ac:chgData name="Aurore Demoulin (Student at CentraleSupelec)" userId="8586c54a-e12e-4ea3-9b65-4428e4302b50" providerId="ADAL" clId="{E5297846-AE51-4E76-84E4-EFBB3AC64802}" dt="2022-11-30T09:59:29.830" v="8603" actId="478"/>
          <ac:spMkLst>
            <pc:docMk/>
            <pc:sldMk cId="530476761" sldId="2147474099"/>
            <ac:spMk id="15" creationId="{855D29FA-982C-D0B8-360C-25AB00A4957B}"/>
          </ac:spMkLst>
        </pc:spChg>
        <pc:spChg chg="add mod">
          <ac:chgData name="Aurore Demoulin (Student at CentraleSupelec)" userId="8586c54a-e12e-4ea3-9b65-4428e4302b50" providerId="ADAL" clId="{E5297846-AE51-4E76-84E4-EFBB3AC64802}" dt="2022-12-01T15:52:11.444" v="11672" actId="1037"/>
          <ac:spMkLst>
            <pc:docMk/>
            <pc:sldMk cId="530476761" sldId="2147474099"/>
            <ac:spMk id="16" creationId="{C5A6110A-4A5D-4D98-6C7D-0F21CDE245DB}"/>
          </ac:spMkLst>
        </pc:spChg>
        <pc:spChg chg="del">
          <ac:chgData name="Aurore Demoulin (Student at CentraleSupelec)" userId="8586c54a-e12e-4ea3-9b65-4428e4302b50" providerId="ADAL" clId="{E5297846-AE51-4E76-84E4-EFBB3AC64802}" dt="2022-11-30T09:59:29.830" v="8603" actId="478"/>
          <ac:spMkLst>
            <pc:docMk/>
            <pc:sldMk cId="530476761" sldId="2147474099"/>
            <ac:spMk id="17" creationId="{CDCBE93F-C0AE-E463-56F2-135B0AF94CF3}"/>
          </ac:spMkLst>
        </pc:spChg>
        <pc:spChg chg="add mod">
          <ac:chgData name="Aurore Demoulin (Student at CentraleSupelec)" userId="8586c54a-e12e-4ea3-9b65-4428e4302b50" providerId="ADAL" clId="{E5297846-AE51-4E76-84E4-EFBB3AC64802}" dt="2022-12-01T13:58:35.332" v="9310" actId="14100"/>
          <ac:spMkLst>
            <pc:docMk/>
            <pc:sldMk cId="530476761" sldId="2147474099"/>
            <ac:spMk id="18" creationId="{39399445-8851-7B2B-FEE3-C08D528ACB9D}"/>
          </ac:spMkLst>
        </pc:spChg>
        <pc:spChg chg="del">
          <ac:chgData name="Aurore Demoulin (Student at CentraleSupelec)" userId="8586c54a-e12e-4ea3-9b65-4428e4302b50" providerId="ADAL" clId="{E5297846-AE51-4E76-84E4-EFBB3AC64802}" dt="2022-11-30T09:59:29.830" v="8603" actId="478"/>
          <ac:spMkLst>
            <pc:docMk/>
            <pc:sldMk cId="530476761" sldId="2147474099"/>
            <ac:spMk id="24" creationId="{20FEB8CD-2DDC-ABD8-5524-90F7752516D6}"/>
          </ac:spMkLst>
        </pc:spChg>
        <pc:spChg chg="mod">
          <ac:chgData name="Aurore Demoulin (Student at CentraleSupelec)" userId="8586c54a-e12e-4ea3-9b65-4428e4302b50" providerId="ADAL" clId="{E5297846-AE51-4E76-84E4-EFBB3AC64802}" dt="2022-12-01T15:49:13.197" v="11592" actId="408"/>
          <ac:spMkLst>
            <pc:docMk/>
            <pc:sldMk cId="530476761" sldId="2147474099"/>
            <ac:spMk id="25" creationId="{0F87EE8A-36F5-ADDD-FEB8-AEABF04D2BB8}"/>
          </ac:spMkLst>
        </pc:spChg>
        <pc:spChg chg="del">
          <ac:chgData name="Aurore Demoulin (Student at CentraleSupelec)" userId="8586c54a-e12e-4ea3-9b65-4428e4302b50" providerId="ADAL" clId="{E5297846-AE51-4E76-84E4-EFBB3AC64802}" dt="2022-11-30T09:59:29.830" v="8603" actId="478"/>
          <ac:spMkLst>
            <pc:docMk/>
            <pc:sldMk cId="530476761" sldId="2147474099"/>
            <ac:spMk id="26" creationId="{C3FEAF3C-C598-E5BE-C8A4-38D18B828D4A}"/>
          </ac:spMkLst>
        </pc:spChg>
        <pc:spChg chg="add del mod">
          <ac:chgData name="Aurore Demoulin (Student at CentraleSupelec)" userId="8586c54a-e12e-4ea3-9b65-4428e4302b50" providerId="ADAL" clId="{E5297846-AE51-4E76-84E4-EFBB3AC64802}" dt="2022-12-01T15:48:42.282" v="11575" actId="478"/>
          <ac:spMkLst>
            <pc:docMk/>
            <pc:sldMk cId="530476761" sldId="2147474099"/>
            <ac:spMk id="28" creationId="{27ECCFDB-EE7D-6259-B5A6-36AC05C5792A}"/>
          </ac:spMkLst>
        </pc:spChg>
        <pc:spChg chg="add mod">
          <ac:chgData name="Aurore Demoulin (Student at CentraleSupelec)" userId="8586c54a-e12e-4ea3-9b65-4428e4302b50" providerId="ADAL" clId="{E5297846-AE51-4E76-84E4-EFBB3AC64802}" dt="2022-11-30T10:15:47.106" v="8874" actId="1076"/>
          <ac:spMkLst>
            <pc:docMk/>
            <pc:sldMk cId="530476761" sldId="2147474099"/>
            <ac:spMk id="29" creationId="{66DA3169-130C-1A2D-E0FC-5538356FA3E8}"/>
          </ac:spMkLst>
        </pc:spChg>
        <pc:spChg chg="add mod">
          <ac:chgData name="Aurore Demoulin (Student at CentraleSupelec)" userId="8586c54a-e12e-4ea3-9b65-4428e4302b50" providerId="ADAL" clId="{E5297846-AE51-4E76-84E4-EFBB3AC64802}" dt="2022-11-30T10:16:00.640" v="8876" actId="1076"/>
          <ac:spMkLst>
            <pc:docMk/>
            <pc:sldMk cId="530476761" sldId="2147474099"/>
            <ac:spMk id="30" creationId="{9C7AF251-A87A-EE63-0220-ABA9F2FA782B}"/>
          </ac:spMkLst>
        </pc:spChg>
        <pc:spChg chg="add mod">
          <ac:chgData name="Aurore Demoulin (Student at CentraleSupelec)" userId="8586c54a-e12e-4ea3-9b65-4428e4302b50" providerId="ADAL" clId="{E5297846-AE51-4E76-84E4-EFBB3AC64802}" dt="2022-11-30T10:16:19.715" v="8879" actId="20577"/>
          <ac:spMkLst>
            <pc:docMk/>
            <pc:sldMk cId="530476761" sldId="2147474099"/>
            <ac:spMk id="31" creationId="{13BB3B62-F4F2-A5A8-BEAF-4B49C24EA5CB}"/>
          </ac:spMkLst>
        </pc:spChg>
        <pc:spChg chg="add mod">
          <ac:chgData name="Aurore Demoulin (Student at CentraleSupelec)" userId="8586c54a-e12e-4ea3-9b65-4428e4302b50" providerId="ADAL" clId="{E5297846-AE51-4E76-84E4-EFBB3AC64802}" dt="2022-11-30T10:16:29.234" v="8881" actId="1076"/>
          <ac:spMkLst>
            <pc:docMk/>
            <pc:sldMk cId="530476761" sldId="2147474099"/>
            <ac:spMk id="32" creationId="{E2317101-827D-5F3C-E8F1-A4EC131A6501}"/>
          </ac:spMkLst>
        </pc:spChg>
        <pc:spChg chg="add mod">
          <ac:chgData name="Aurore Demoulin (Student at CentraleSupelec)" userId="8586c54a-e12e-4ea3-9b65-4428e4302b50" providerId="ADAL" clId="{E5297846-AE51-4E76-84E4-EFBB3AC64802}" dt="2022-11-30T10:16:56.522" v="8904" actId="1076"/>
          <ac:spMkLst>
            <pc:docMk/>
            <pc:sldMk cId="530476761" sldId="2147474099"/>
            <ac:spMk id="33" creationId="{F3FC856F-751B-A4A4-6A8B-E96085893A58}"/>
          </ac:spMkLst>
        </pc:spChg>
        <pc:spChg chg="add mod">
          <ac:chgData name="Aurore Demoulin (Student at CentraleSupelec)" userId="8586c54a-e12e-4ea3-9b65-4428e4302b50" providerId="ADAL" clId="{E5297846-AE51-4E76-84E4-EFBB3AC64802}" dt="2022-12-01T15:51:25.273" v="11666" actId="403"/>
          <ac:spMkLst>
            <pc:docMk/>
            <pc:sldMk cId="530476761" sldId="2147474099"/>
            <ac:spMk id="34" creationId="{BD65BB84-D09A-51DC-ECC2-A903E1A87978}"/>
          </ac:spMkLst>
        </pc:spChg>
        <pc:spChg chg="mod">
          <ac:chgData name="Aurore Demoulin (Student at CentraleSupelec)" userId="8586c54a-e12e-4ea3-9b65-4428e4302b50" providerId="ADAL" clId="{E5297846-AE51-4E76-84E4-EFBB3AC64802}" dt="2022-12-01T15:49:13.197" v="11592" actId="408"/>
          <ac:spMkLst>
            <pc:docMk/>
            <pc:sldMk cId="530476761" sldId="2147474099"/>
            <ac:spMk id="42" creationId="{10F0E999-F2FD-61C1-ED69-3340869C9146}"/>
          </ac:spMkLst>
        </pc:spChg>
        <pc:spChg chg="del">
          <ac:chgData name="Aurore Demoulin (Student at CentraleSupelec)" userId="8586c54a-e12e-4ea3-9b65-4428e4302b50" providerId="ADAL" clId="{E5297846-AE51-4E76-84E4-EFBB3AC64802}" dt="2022-11-30T09:59:37.888" v="8604" actId="478"/>
          <ac:spMkLst>
            <pc:docMk/>
            <pc:sldMk cId="530476761" sldId="2147474099"/>
            <ac:spMk id="43" creationId="{CA3F97C3-F0BA-D6BA-E5DC-19121E864BFE}"/>
          </ac:spMkLst>
        </pc:spChg>
        <pc:spChg chg="mod">
          <ac:chgData name="Aurore Demoulin (Student at CentraleSupelec)" userId="8586c54a-e12e-4ea3-9b65-4428e4302b50" providerId="ADAL" clId="{E5297846-AE51-4E76-84E4-EFBB3AC64802}" dt="2022-12-01T15:49:39.252" v="11594" actId="408"/>
          <ac:spMkLst>
            <pc:docMk/>
            <pc:sldMk cId="530476761" sldId="2147474099"/>
            <ac:spMk id="44" creationId="{468F0A68-EAD8-3F0C-BEE3-0F7936BED621}"/>
          </ac:spMkLst>
        </pc:spChg>
        <pc:spChg chg="mod">
          <ac:chgData name="Aurore Demoulin (Student at CentraleSupelec)" userId="8586c54a-e12e-4ea3-9b65-4428e4302b50" providerId="ADAL" clId="{E5297846-AE51-4E76-84E4-EFBB3AC64802}" dt="2022-12-01T15:54:46.842" v="11698" actId="108"/>
          <ac:spMkLst>
            <pc:docMk/>
            <pc:sldMk cId="530476761" sldId="2147474099"/>
            <ac:spMk id="45" creationId="{5CC923A4-7E82-2F49-4E1F-6903A5FF0AC1}"/>
          </ac:spMkLst>
        </pc:spChg>
        <pc:spChg chg="del">
          <ac:chgData name="Aurore Demoulin (Student at CentraleSupelec)" userId="8586c54a-e12e-4ea3-9b65-4428e4302b50" providerId="ADAL" clId="{E5297846-AE51-4E76-84E4-EFBB3AC64802}" dt="2022-11-30T09:59:29.830" v="8603" actId="478"/>
          <ac:spMkLst>
            <pc:docMk/>
            <pc:sldMk cId="530476761" sldId="2147474099"/>
            <ac:spMk id="50" creationId="{120AD733-638B-8137-79AD-65197CA930DE}"/>
          </ac:spMkLst>
        </pc:spChg>
        <pc:spChg chg="del">
          <ac:chgData name="Aurore Demoulin (Student at CentraleSupelec)" userId="8586c54a-e12e-4ea3-9b65-4428e4302b50" providerId="ADAL" clId="{E5297846-AE51-4E76-84E4-EFBB3AC64802}" dt="2022-11-30T09:59:37.888" v="8604" actId="478"/>
          <ac:spMkLst>
            <pc:docMk/>
            <pc:sldMk cId="530476761" sldId="2147474099"/>
            <ac:spMk id="51" creationId="{009A8190-D539-D102-6EE9-CBA4EFE04F5D}"/>
          </ac:spMkLst>
        </pc:spChg>
        <pc:spChg chg="del">
          <ac:chgData name="Aurore Demoulin (Student at CentraleSupelec)" userId="8586c54a-e12e-4ea3-9b65-4428e4302b50" providerId="ADAL" clId="{E5297846-AE51-4E76-84E4-EFBB3AC64802}" dt="2022-11-30T09:59:29.830" v="8603" actId="478"/>
          <ac:spMkLst>
            <pc:docMk/>
            <pc:sldMk cId="530476761" sldId="2147474099"/>
            <ac:spMk id="53" creationId="{40EB201C-6A09-CEF2-1B77-0D7A8CDF7C54}"/>
          </ac:spMkLst>
        </pc:spChg>
        <pc:spChg chg="del">
          <ac:chgData name="Aurore Demoulin (Student at CentraleSupelec)" userId="8586c54a-e12e-4ea3-9b65-4428e4302b50" providerId="ADAL" clId="{E5297846-AE51-4E76-84E4-EFBB3AC64802}" dt="2022-11-30T09:59:29.830" v="8603" actId="478"/>
          <ac:spMkLst>
            <pc:docMk/>
            <pc:sldMk cId="530476761" sldId="2147474099"/>
            <ac:spMk id="54" creationId="{2B95FBD2-C9DA-2804-361C-AC7B56B88A6D}"/>
          </ac:spMkLst>
        </pc:spChg>
        <pc:spChg chg="del">
          <ac:chgData name="Aurore Demoulin (Student at CentraleSupelec)" userId="8586c54a-e12e-4ea3-9b65-4428e4302b50" providerId="ADAL" clId="{E5297846-AE51-4E76-84E4-EFBB3AC64802}" dt="2022-11-30T09:59:29.830" v="8603" actId="478"/>
          <ac:spMkLst>
            <pc:docMk/>
            <pc:sldMk cId="530476761" sldId="2147474099"/>
            <ac:spMk id="55" creationId="{B2EE1A2A-1D6F-C50D-E585-65CF27466285}"/>
          </ac:spMkLst>
        </pc:spChg>
        <pc:graphicFrameChg chg="del">
          <ac:chgData name="Aurore Demoulin (Student at CentraleSupelec)" userId="8586c54a-e12e-4ea3-9b65-4428e4302b50" providerId="ADAL" clId="{E5297846-AE51-4E76-84E4-EFBB3AC64802}" dt="2022-11-30T09:59:37.888" v="8604" actId="478"/>
          <ac:graphicFrameMkLst>
            <pc:docMk/>
            <pc:sldMk cId="530476761" sldId="2147474099"/>
            <ac:graphicFrameMk id="56" creationId="{CB3826BF-D2B0-2A94-65A4-9FC6FD4C973A}"/>
          </ac:graphicFrameMkLst>
        </pc:graphicFrameChg>
        <pc:picChg chg="add mod modCrop">
          <ac:chgData name="Aurore Demoulin (Student at CentraleSupelec)" userId="8586c54a-e12e-4ea3-9b65-4428e4302b50" providerId="ADAL" clId="{E5297846-AE51-4E76-84E4-EFBB3AC64802}" dt="2022-11-30T10:14:39.187" v="8861" actId="1036"/>
          <ac:picMkLst>
            <pc:docMk/>
            <pc:sldMk cId="530476761" sldId="2147474099"/>
            <ac:picMk id="8" creationId="{7F502ED5-267D-BF1E-622E-FE1CBE7AA934}"/>
          </ac:picMkLst>
        </pc:picChg>
        <pc:picChg chg="add mod modCrop">
          <ac:chgData name="Aurore Demoulin (Student at CentraleSupelec)" userId="8586c54a-e12e-4ea3-9b65-4428e4302b50" providerId="ADAL" clId="{E5297846-AE51-4E76-84E4-EFBB3AC64802}" dt="2022-11-30T10:14:39.187" v="8861" actId="1036"/>
          <ac:picMkLst>
            <pc:docMk/>
            <pc:sldMk cId="530476761" sldId="2147474099"/>
            <ac:picMk id="10" creationId="{4BD46B2A-A869-7A02-EE8C-9EBD7A3F4374}"/>
          </ac:picMkLst>
        </pc:picChg>
        <pc:picChg chg="add mod">
          <ac:chgData name="Aurore Demoulin (Student at CentraleSupelec)" userId="8586c54a-e12e-4ea3-9b65-4428e4302b50" providerId="ADAL" clId="{E5297846-AE51-4E76-84E4-EFBB3AC64802}" dt="2022-12-01T14:40:00.422" v="9518" actId="12789"/>
          <ac:picMkLst>
            <pc:docMk/>
            <pc:sldMk cId="530476761" sldId="2147474099"/>
            <ac:picMk id="20" creationId="{FAAAA761-32CA-1783-E276-16A07BB8D314}"/>
          </ac:picMkLst>
        </pc:picChg>
        <pc:picChg chg="del">
          <ac:chgData name="Aurore Demoulin (Student at CentraleSupelec)" userId="8586c54a-e12e-4ea3-9b65-4428e4302b50" providerId="ADAL" clId="{E5297846-AE51-4E76-84E4-EFBB3AC64802}" dt="2022-11-30T09:59:29.830" v="8603" actId="478"/>
          <ac:picMkLst>
            <pc:docMk/>
            <pc:sldMk cId="530476761" sldId="2147474099"/>
            <ac:picMk id="21" creationId="{BA7F5D4A-7F50-1051-C645-F55311AD4320}"/>
          </ac:picMkLst>
        </pc:picChg>
        <pc:picChg chg="del">
          <ac:chgData name="Aurore Demoulin (Student at CentraleSupelec)" userId="8586c54a-e12e-4ea3-9b65-4428e4302b50" providerId="ADAL" clId="{E5297846-AE51-4E76-84E4-EFBB3AC64802}" dt="2022-11-30T09:59:29.830" v="8603" actId="478"/>
          <ac:picMkLst>
            <pc:docMk/>
            <pc:sldMk cId="530476761" sldId="2147474099"/>
            <ac:picMk id="22" creationId="{FA93E450-E223-4942-4E13-2E3EB108CBC8}"/>
          </ac:picMkLst>
        </pc:picChg>
        <pc:picChg chg="del">
          <ac:chgData name="Aurore Demoulin (Student at CentraleSupelec)" userId="8586c54a-e12e-4ea3-9b65-4428e4302b50" providerId="ADAL" clId="{E5297846-AE51-4E76-84E4-EFBB3AC64802}" dt="2022-11-30T09:59:29.830" v="8603" actId="478"/>
          <ac:picMkLst>
            <pc:docMk/>
            <pc:sldMk cId="530476761" sldId="2147474099"/>
            <ac:picMk id="23" creationId="{F32F55C5-70C5-A2BC-7D1D-16335B5C585C}"/>
          </ac:picMkLst>
        </pc:picChg>
        <pc:picChg chg="add mod">
          <ac:chgData name="Aurore Demoulin (Student at CentraleSupelec)" userId="8586c54a-e12e-4ea3-9b65-4428e4302b50" providerId="ADAL" clId="{E5297846-AE51-4E76-84E4-EFBB3AC64802}" dt="2022-12-01T14:40:00.422" v="9518" actId="12789"/>
          <ac:picMkLst>
            <pc:docMk/>
            <pc:sldMk cId="530476761" sldId="2147474099"/>
            <ac:picMk id="27" creationId="{5027F039-75C7-D344-52F3-30A175B86FE6}"/>
          </ac:picMkLst>
        </pc:picChg>
        <pc:picChg chg="mod">
          <ac:chgData name="Aurore Demoulin (Student at CentraleSupelec)" userId="8586c54a-e12e-4ea3-9b65-4428e4302b50" providerId="ADAL" clId="{E5297846-AE51-4E76-84E4-EFBB3AC64802}" dt="2022-12-01T15:49:49.077" v="11596" actId="1076"/>
          <ac:picMkLst>
            <pc:docMk/>
            <pc:sldMk cId="530476761" sldId="2147474099"/>
            <ac:picMk id="37" creationId="{6C5698A2-C870-525D-B990-A0F3A95BB30A}"/>
          </ac:picMkLst>
        </pc:picChg>
        <pc:picChg chg="mod">
          <ac:chgData name="Aurore Demoulin (Student at CentraleSupelec)" userId="8586c54a-e12e-4ea3-9b65-4428e4302b50" providerId="ADAL" clId="{E5297846-AE51-4E76-84E4-EFBB3AC64802}" dt="2022-12-01T15:52:11.444" v="11672" actId="1037"/>
          <ac:picMkLst>
            <pc:docMk/>
            <pc:sldMk cId="530476761" sldId="2147474099"/>
            <ac:picMk id="39" creationId="{65826B55-E1E6-8E2C-7620-90DD2CFAB47A}"/>
          </ac:picMkLst>
        </pc:picChg>
      </pc:sldChg>
      <pc:sldChg chg="modSp add mod">
        <pc:chgData name="Aurore Demoulin (Student at CentraleSupelec)" userId="8586c54a-e12e-4ea3-9b65-4428e4302b50" providerId="ADAL" clId="{E5297846-AE51-4E76-84E4-EFBB3AC64802}" dt="2022-11-30T09:26:36.279" v="7993" actId="20577"/>
        <pc:sldMkLst>
          <pc:docMk/>
          <pc:sldMk cId="1459693506" sldId="2147474100"/>
        </pc:sldMkLst>
        <pc:spChg chg="mod">
          <ac:chgData name="Aurore Demoulin (Student at CentraleSupelec)" userId="8586c54a-e12e-4ea3-9b65-4428e4302b50" providerId="ADAL" clId="{E5297846-AE51-4E76-84E4-EFBB3AC64802}" dt="2022-11-30T09:26:36.279" v="7993" actId="20577"/>
          <ac:spMkLst>
            <pc:docMk/>
            <pc:sldMk cId="1459693506" sldId="2147474100"/>
            <ac:spMk id="2" creationId="{00000000-0000-0000-0000-000000000000}"/>
          </ac:spMkLst>
        </pc:spChg>
      </pc:sldChg>
      <pc:sldChg chg="modSp add mod setBg">
        <pc:chgData name="Aurore Demoulin (Student at CentraleSupelec)" userId="8586c54a-e12e-4ea3-9b65-4428e4302b50" providerId="ADAL" clId="{E5297846-AE51-4E76-84E4-EFBB3AC64802}" dt="2022-11-30T09:26:55.444" v="8006"/>
        <pc:sldMkLst>
          <pc:docMk/>
          <pc:sldMk cId="2023449658" sldId="2147474101"/>
        </pc:sldMkLst>
        <pc:spChg chg="mod">
          <ac:chgData name="Aurore Demoulin (Student at CentraleSupelec)" userId="8586c54a-e12e-4ea3-9b65-4428e4302b50" providerId="ADAL" clId="{E5297846-AE51-4E76-84E4-EFBB3AC64802}" dt="2022-11-30T09:26:48.920" v="8005" actId="20577"/>
          <ac:spMkLst>
            <pc:docMk/>
            <pc:sldMk cId="2023449658" sldId="2147474101"/>
            <ac:spMk id="2" creationId="{AB6F7017-CCC7-C4BF-11A1-BC6D21A0A74F}"/>
          </ac:spMkLst>
        </pc:spChg>
      </pc:sldChg>
      <pc:sldChg chg="modSp new del mod">
        <pc:chgData name="Aurore Demoulin (Student at CentraleSupelec)" userId="8586c54a-e12e-4ea3-9b65-4428e4302b50" providerId="ADAL" clId="{E5297846-AE51-4E76-84E4-EFBB3AC64802}" dt="2022-12-01T15:16:22.216" v="11325" actId="47"/>
        <pc:sldMkLst>
          <pc:docMk/>
          <pc:sldMk cId="1097309986" sldId="2147474102"/>
        </pc:sldMkLst>
        <pc:spChg chg="mod">
          <ac:chgData name="Aurore Demoulin (Student at CentraleSupelec)" userId="8586c54a-e12e-4ea3-9b65-4428e4302b50" providerId="ADAL" clId="{E5297846-AE51-4E76-84E4-EFBB3AC64802}" dt="2022-12-01T13:48:11.125" v="9275" actId="20577"/>
          <ac:spMkLst>
            <pc:docMk/>
            <pc:sldMk cId="1097309986" sldId="2147474102"/>
            <ac:spMk id="2" creationId="{DEEFB559-9C9C-C97C-F86E-9029E16866EE}"/>
          </ac:spMkLst>
        </pc:spChg>
      </pc:sldChg>
      <pc:sldChg chg="addSp delSp modSp add mod setBg">
        <pc:chgData name="Aurore Demoulin (Student at CentraleSupelec)" userId="8586c54a-e12e-4ea3-9b65-4428e4302b50" providerId="ADAL" clId="{E5297846-AE51-4E76-84E4-EFBB3AC64802}" dt="2022-12-01T15:22:32.244" v="11408" actId="242"/>
        <pc:sldMkLst>
          <pc:docMk/>
          <pc:sldMk cId="3826324185" sldId="2147474106"/>
        </pc:sldMkLst>
        <pc:spChg chg="mod">
          <ac:chgData name="Aurore Demoulin (Student at CentraleSupelec)" userId="8586c54a-e12e-4ea3-9b65-4428e4302b50" providerId="ADAL" clId="{E5297846-AE51-4E76-84E4-EFBB3AC64802}" dt="2022-12-01T15:16:55.111" v="11345" actId="14100"/>
          <ac:spMkLst>
            <pc:docMk/>
            <pc:sldMk cId="3826324185" sldId="2147474106"/>
            <ac:spMk id="2" creationId="{00000000-0000-0000-0000-000000000000}"/>
          </ac:spMkLst>
        </pc:spChg>
        <pc:spChg chg="del">
          <ac:chgData name="Aurore Demoulin (Student at CentraleSupelec)" userId="8586c54a-e12e-4ea3-9b65-4428e4302b50" providerId="ADAL" clId="{E5297846-AE51-4E76-84E4-EFBB3AC64802}" dt="2022-12-01T15:16:37.229" v="11329" actId="478"/>
          <ac:spMkLst>
            <pc:docMk/>
            <pc:sldMk cId="3826324185" sldId="2147474106"/>
            <ac:spMk id="4" creationId="{B66E7230-46E2-6107-D124-0F5847C71900}"/>
          </ac:spMkLst>
        </pc:spChg>
        <pc:graphicFrameChg chg="del">
          <ac:chgData name="Aurore Demoulin (Student at CentraleSupelec)" userId="8586c54a-e12e-4ea3-9b65-4428e4302b50" providerId="ADAL" clId="{E5297846-AE51-4E76-84E4-EFBB3AC64802}" dt="2022-12-01T15:16:33.598" v="11328" actId="478"/>
          <ac:graphicFrameMkLst>
            <pc:docMk/>
            <pc:sldMk cId="3826324185" sldId="2147474106"/>
            <ac:graphicFrameMk id="3" creationId="{8CAFE477-FFBD-F1D2-A101-B1DA771C80DF}"/>
          </ac:graphicFrameMkLst>
        </pc:graphicFrameChg>
        <pc:graphicFrameChg chg="add mod modGraphic">
          <ac:chgData name="Aurore Demoulin (Student at CentraleSupelec)" userId="8586c54a-e12e-4ea3-9b65-4428e4302b50" providerId="ADAL" clId="{E5297846-AE51-4E76-84E4-EFBB3AC64802}" dt="2022-12-01T15:22:32.244" v="11408" actId="242"/>
          <ac:graphicFrameMkLst>
            <pc:docMk/>
            <pc:sldMk cId="3826324185" sldId="2147474106"/>
            <ac:graphicFrameMk id="5" creationId="{BB5E2B32-838A-3BE4-DFBB-AD0B449D69C1}"/>
          </ac:graphicFrameMkLst>
        </pc:graphicFrameChg>
        <pc:picChg chg="del">
          <ac:chgData name="Aurore Demoulin (Student at CentraleSupelec)" userId="8586c54a-e12e-4ea3-9b65-4428e4302b50" providerId="ADAL" clId="{E5297846-AE51-4E76-84E4-EFBB3AC64802}" dt="2022-12-01T15:16:37.229" v="11329" actId="478"/>
          <ac:picMkLst>
            <pc:docMk/>
            <pc:sldMk cId="3826324185" sldId="2147474106"/>
            <ac:picMk id="13" creationId="{37A46EFC-2B28-0902-6CDD-5CB64A4B7A3F}"/>
          </ac:picMkLst>
        </pc:picChg>
        <pc:picChg chg="del">
          <ac:chgData name="Aurore Demoulin (Student at CentraleSupelec)" userId="8586c54a-e12e-4ea3-9b65-4428e4302b50" providerId="ADAL" clId="{E5297846-AE51-4E76-84E4-EFBB3AC64802}" dt="2022-12-01T15:16:37.229" v="11329" actId="478"/>
          <ac:picMkLst>
            <pc:docMk/>
            <pc:sldMk cId="3826324185" sldId="2147474106"/>
            <ac:picMk id="18" creationId="{E37F56F5-234F-731F-CCBA-8B9FC592F28C}"/>
          </ac:picMkLst>
        </pc:picChg>
        <pc:picChg chg="del">
          <ac:chgData name="Aurore Demoulin (Student at CentraleSupelec)" userId="8586c54a-e12e-4ea3-9b65-4428e4302b50" providerId="ADAL" clId="{E5297846-AE51-4E76-84E4-EFBB3AC64802}" dt="2022-12-01T15:16:37.229" v="11329" actId="478"/>
          <ac:picMkLst>
            <pc:docMk/>
            <pc:sldMk cId="3826324185" sldId="2147474106"/>
            <ac:picMk id="19" creationId="{C6528322-1335-E008-AFC6-4D358CB6BD90}"/>
          </ac:picMkLst>
        </pc:picChg>
        <pc:picChg chg="del">
          <ac:chgData name="Aurore Demoulin (Student at CentraleSupelec)" userId="8586c54a-e12e-4ea3-9b65-4428e4302b50" providerId="ADAL" clId="{E5297846-AE51-4E76-84E4-EFBB3AC64802}" dt="2022-12-01T15:16:37.229" v="11329" actId="478"/>
          <ac:picMkLst>
            <pc:docMk/>
            <pc:sldMk cId="3826324185" sldId="2147474106"/>
            <ac:picMk id="21" creationId="{5AB951C8-29D8-6483-74C5-90EE1D0FCC07}"/>
          </ac:picMkLst>
        </pc:picChg>
        <pc:picChg chg="del">
          <ac:chgData name="Aurore Demoulin (Student at CentraleSupelec)" userId="8586c54a-e12e-4ea3-9b65-4428e4302b50" providerId="ADAL" clId="{E5297846-AE51-4E76-84E4-EFBB3AC64802}" dt="2022-12-01T15:16:37.229" v="11329" actId="478"/>
          <ac:picMkLst>
            <pc:docMk/>
            <pc:sldMk cId="3826324185" sldId="2147474106"/>
            <ac:picMk id="22" creationId="{81B821AA-E9D5-63FD-7AAE-321F141ADD3B}"/>
          </ac:picMkLst>
        </pc:picChg>
        <pc:picChg chg="del">
          <ac:chgData name="Aurore Demoulin (Student at CentraleSupelec)" userId="8586c54a-e12e-4ea3-9b65-4428e4302b50" providerId="ADAL" clId="{E5297846-AE51-4E76-84E4-EFBB3AC64802}" dt="2022-12-01T15:16:37.229" v="11329" actId="478"/>
          <ac:picMkLst>
            <pc:docMk/>
            <pc:sldMk cId="3826324185" sldId="2147474106"/>
            <ac:picMk id="24" creationId="{8263759E-49BE-3A3B-9FE0-86706B97BE8A}"/>
          </ac:picMkLst>
        </pc:picChg>
      </pc:sldChg>
      <pc:sldChg chg="modSp new mod">
        <pc:chgData name="Aurore Demoulin (Student at CentraleSupelec)" userId="8586c54a-e12e-4ea3-9b65-4428e4302b50" providerId="ADAL" clId="{E5297846-AE51-4E76-84E4-EFBB3AC64802}" dt="2022-12-01T15:39:42.256" v="11461"/>
        <pc:sldMkLst>
          <pc:docMk/>
          <pc:sldMk cId="42054733" sldId="2147474108"/>
        </pc:sldMkLst>
        <pc:spChg chg="mod">
          <ac:chgData name="Aurore Demoulin (Student at CentraleSupelec)" userId="8586c54a-e12e-4ea3-9b65-4428e4302b50" providerId="ADAL" clId="{E5297846-AE51-4E76-84E4-EFBB3AC64802}" dt="2022-12-01T15:39:42.256" v="11461"/>
          <ac:spMkLst>
            <pc:docMk/>
            <pc:sldMk cId="42054733" sldId="2147474108"/>
            <ac:spMk id="3" creationId="{AC4C415B-9685-8A79-AEDC-D33B855FEDC0}"/>
          </ac:spMkLst>
        </pc:spChg>
      </pc:sldChg>
      <pc:sldMasterChg chg="delSldLayout">
        <pc:chgData name="Aurore Demoulin (Student at CentraleSupelec)" userId="8586c54a-e12e-4ea3-9b65-4428e4302b50" providerId="ADAL" clId="{E5297846-AE51-4E76-84E4-EFBB3AC64802}" dt="2022-12-01T15:56:38.199" v="11810" actId="47"/>
        <pc:sldMasterMkLst>
          <pc:docMk/>
          <pc:sldMasterMk cId="835336367" sldId="2147485117"/>
        </pc:sldMasterMkLst>
        <pc:sldLayoutChg chg="del">
          <pc:chgData name="Aurore Demoulin (Student at CentraleSupelec)" userId="8586c54a-e12e-4ea3-9b65-4428e4302b50" providerId="ADAL" clId="{E5297846-AE51-4E76-84E4-EFBB3AC64802}" dt="2022-12-01T15:56:38.199" v="11810" actId="47"/>
          <pc:sldLayoutMkLst>
            <pc:docMk/>
            <pc:sldMasterMk cId="835336367" sldId="2147485117"/>
            <pc:sldLayoutMk cId="905442332" sldId="2147485256"/>
          </pc:sldLayoutMkLst>
        </pc:sldLayoutChg>
      </pc:sldMasterChg>
    </pc:docChg>
  </pc:docChgLst>
  <pc:docChgLst>
    <pc:chgData name="Martin" userId="8eca5f65-49cd-46fa-84c5-db3be89aa2dc" providerId="ADAL" clId="{753A00A4-0D96-40DE-877F-5CEF086028DD}"/>
    <pc:docChg chg="undo custSel addSld modSld sldOrd modSection">
      <pc:chgData name="Martin" userId="8eca5f65-49cd-46fa-84c5-db3be89aa2dc" providerId="ADAL" clId="{753A00A4-0D96-40DE-877F-5CEF086028DD}" dt="2022-12-01T16:01:32.773" v="5124" actId="20577"/>
      <pc:docMkLst>
        <pc:docMk/>
      </pc:docMkLst>
      <pc:sldChg chg="modSp mod ord">
        <pc:chgData name="Martin" userId="8eca5f65-49cd-46fa-84c5-db3be89aa2dc" providerId="ADAL" clId="{753A00A4-0D96-40DE-877F-5CEF086028DD}" dt="2022-12-01T15:58:10.933" v="5119" actId="20577"/>
        <pc:sldMkLst>
          <pc:docMk/>
          <pc:sldMk cId="3676255466" sldId="262"/>
        </pc:sldMkLst>
        <pc:spChg chg="mod">
          <ac:chgData name="Martin" userId="8eca5f65-49cd-46fa-84c5-db3be89aa2dc" providerId="ADAL" clId="{753A00A4-0D96-40DE-877F-5CEF086028DD}" dt="2022-12-01T15:58:10.933" v="5119" actId="20577"/>
          <ac:spMkLst>
            <pc:docMk/>
            <pc:sldMk cId="3676255466" sldId="262"/>
            <ac:spMk id="9" creationId="{239FDB85-FA9E-C7BC-BF6E-856BF8A8F148}"/>
          </ac:spMkLst>
        </pc:spChg>
      </pc:sldChg>
      <pc:sldChg chg="addSp delSp modSp mod">
        <pc:chgData name="Martin" userId="8eca5f65-49cd-46fa-84c5-db3be89aa2dc" providerId="ADAL" clId="{753A00A4-0D96-40DE-877F-5CEF086028DD}" dt="2022-11-23T16:01:03.918" v="60" actId="20577"/>
        <pc:sldMkLst>
          <pc:docMk/>
          <pc:sldMk cId="2810778098" sldId="289"/>
        </pc:sldMkLst>
        <pc:spChg chg="mod">
          <ac:chgData name="Martin" userId="8eca5f65-49cd-46fa-84c5-db3be89aa2dc" providerId="ADAL" clId="{753A00A4-0D96-40DE-877F-5CEF086028DD}" dt="2022-11-23T15:47:34.350" v="19" actId="20577"/>
          <ac:spMkLst>
            <pc:docMk/>
            <pc:sldMk cId="2810778098" sldId="289"/>
            <ac:spMk id="2" creationId="{ED5D74FC-59E8-2451-614B-CB26174885A8}"/>
          </ac:spMkLst>
        </pc:spChg>
        <pc:spChg chg="mod">
          <ac:chgData name="Martin" userId="8eca5f65-49cd-46fa-84c5-db3be89aa2dc" providerId="ADAL" clId="{753A00A4-0D96-40DE-877F-5CEF086028DD}" dt="2022-11-23T15:51:26.824" v="43" actId="20577"/>
          <ac:spMkLst>
            <pc:docMk/>
            <pc:sldMk cId="2810778098" sldId="289"/>
            <ac:spMk id="5" creationId="{44B99CAF-5AE0-70A3-735A-ACDDA78E19C6}"/>
          </ac:spMkLst>
        </pc:spChg>
        <pc:spChg chg="add del mod">
          <ac:chgData name="Martin" userId="8eca5f65-49cd-46fa-84c5-db3be89aa2dc" providerId="ADAL" clId="{753A00A4-0D96-40DE-877F-5CEF086028DD}" dt="2022-11-23T15:51:29.570" v="47" actId="20577"/>
          <ac:spMkLst>
            <pc:docMk/>
            <pc:sldMk cId="2810778098" sldId="289"/>
            <ac:spMk id="8" creationId="{77323AEF-FB01-E741-1967-E41637283429}"/>
          </ac:spMkLst>
        </pc:spChg>
        <pc:spChg chg="add del mod">
          <ac:chgData name="Martin" userId="8eca5f65-49cd-46fa-84c5-db3be89aa2dc" providerId="ADAL" clId="{753A00A4-0D96-40DE-877F-5CEF086028DD}" dt="2022-11-23T16:01:03.918" v="60" actId="20577"/>
          <ac:spMkLst>
            <pc:docMk/>
            <pc:sldMk cId="2810778098" sldId="289"/>
            <ac:spMk id="9" creationId="{6395AED3-64CF-216B-F9CA-416B26B0EC64}"/>
          </ac:spMkLst>
        </pc:spChg>
      </pc:sldChg>
      <pc:sldChg chg="addSp delSp modSp mod addCm">
        <pc:chgData name="Martin" userId="8eca5f65-49cd-46fa-84c5-db3be89aa2dc" providerId="ADAL" clId="{753A00A4-0D96-40DE-877F-5CEF086028DD}" dt="2022-11-29T15:39:56.624" v="2466" actId="20577"/>
        <pc:sldMkLst>
          <pc:docMk/>
          <pc:sldMk cId="2074534126" sldId="292"/>
        </pc:sldMkLst>
        <pc:spChg chg="mod">
          <ac:chgData name="Martin" userId="8eca5f65-49cd-46fa-84c5-db3be89aa2dc" providerId="ADAL" clId="{753A00A4-0D96-40DE-877F-5CEF086028DD}" dt="2022-11-29T15:39:56.624" v="2466" actId="20577"/>
          <ac:spMkLst>
            <pc:docMk/>
            <pc:sldMk cId="2074534126" sldId="292"/>
            <ac:spMk id="2" creationId="{F5D42F7E-F516-C117-16D1-E4BEBD17B988}"/>
          </ac:spMkLst>
        </pc:spChg>
        <pc:spChg chg="del mod">
          <ac:chgData name="Martin" userId="8eca5f65-49cd-46fa-84c5-db3be89aa2dc" providerId="ADAL" clId="{753A00A4-0D96-40DE-877F-5CEF086028DD}" dt="2022-11-25T10:39:30.169" v="1060" actId="478"/>
          <ac:spMkLst>
            <pc:docMk/>
            <pc:sldMk cId="2074534126" sldId="292"/>
            <ac:spMk id="9" creationId="{A0D030EC-8B41-FE3F-9EF7-05AE21571306}"/>
          </ac:spMkLst>
        </pc:spChg>
        <pc:spChg chg="del">
          <ac:chgData name="Martin" userId="8eca5f65-49cd-46fa-84c5-db3be89aa2dc" providerId="ADAL" clId="{753A00A4-0D96-40DE-877F-5CEF086028DD}" dt="2022-11-25T10:39:30.169" v="1060" actId="478"/>
          <ac:spMkLst>
            <pc:docMk/>
            <pc:sldMk cId="2074534126" sldId="292"/>
            <ac:spMk id="13" creationId="{8423EDC3-5941-14DE-47C1-D8F22D67A1A5}"/>
          </ac:spMkLst>
        </pc:spChg>
        <pc:spChg chg="del">
          <ac:chgData name="Martin" userId="8eca5f65-49cd-46fa-84c5-db3be89aa2dc" providerId="ADAL" clId="{753A00A4-0D96-40DE-877F-5CEF086028DD}" dt="2022-11-25T10:39:30.169" v="1060" actId="478"/>
          <ac:spMkLst>
            <pc:docMk/>
            <pc:sldMk cId="2074534126" sldId="292"/>
            <ac:spMk id="14" creationId="{B3080BAF-38FC-919D-E523-5231CCFB42ED}"/>
          </ac:spMkLst>
        </pc:spChg>
        <pc:spChg chg="add mod">
          <ac:chgData name="Martin" userId="8eca5f65-49cd-46fa-84c5-db3be89aa2dc" providerId="ADAL" clId="{753A00A4-0D96-40DE-877F-5CEF086028DD}" dt="2022-11-25T10:41:40.179" v="1100" actId="1076"/>
          <ac:spMkLst>
            <pc:docMk/>
            <pc:sldMk cId="2074534126" sldId="292"/>
            <ac:spMk id="22" creationId="{8B98A09D-5D59-A188-D65E-7B513C7C7D4A}"/>
          </ac:spMkLst>
        </pc:spChg>
        <pc:graphicFrameChg chg="add del mod">
          <ac:chgData name="Martin" userId="8eca5f65-49cd-46fa-84c5-db3be89aa2dc" providerId="ADAL" clId="{753A00A4-0D96-40DE-877F-5CEF086028DD}" dt="2022-11-25T08:59:57.753" v="66" actId="478"/>
          <ac:graphicFrameMkLst>
            <pc:docMk/>
            <pc:sldMk cId="2074534126" sldId="292"/>
            <ac:graphicFrameMk id="6" creationId="{2BC1710D-ABA9-0FE9-7E26-43FB59FC5505}"/>
          </ac:graphicFrameMkLst>
        </pc:graphicFrameChg>
        <pc:graphicFrameChg chg="add del mod modGraphic">
          <ac:chgData name="Martin" userId="8eca5f65-49cd-46fa-84c5-db3be89aa2dc" providerId="ADAL" clId="{753A00A4-0D96-40DE-877F-5CEF086028DD}" dt="2022-11-25T09:00:59.119" v="94" actId="478"/>
          <ac:graphicFrameMkLst>
            <pc:docMk/>
            <pc:sldMk cId="2074534126" sldId="292"/>
            <ac:graphicFrameMk id="8" creationId="{60A1BECA-A7A1-93BB-9597-401595C4C7DC}"/>
          </ac:graphicFrameMkLst>
        </pc:graphicFrameChg>
        <pc:graphicFrameChg chg="add del mod">
          <ac:chgData name="Martin" userId="8eca5f65-49cd-46fa-84c5-db3be89aa2dc" providerId="ADAL" clId="{753A00A4-0D96-40DE-877F-5CEF086028DD}" dt="2022-11-25T09:01:19.483" v="97" actId="478"/>
          <ac:graphicFrameMkLst>
            <pc:docMk/>
            <pc:sldMk cId="2074534126" sldId="292"/>
            <ac:graphicFrameMk id="9" creationId="{9F604926-9B66-2BF5-B839-73D9E9C893A6}"/>
          </ac:graphicFrameMkLst>
        </pc:graphicFrameChg>
        <pc:graphicFrameChg chg="add mod modGraphic">
          <ac:chgData name="Martin" userId="8eca5f65-49cd-46fa-84c5-db3be89aa2dc" providerId="ADAL" clId="{753A00A4-0D96-40DE-877F-5CEF086028DD}" dt="2022-11-25T10:41:40.179" v="1100" actId="1076"/>
          <ac:graphicFrameMkLst>
            <pc:docMk/>
            <pc:sldMk cId="2074534126" sldId="292"/>
            <ac:graphicFrameMk id="11" creationId="{F245F32D-52DB-2DF4-AC88-C9EE44D493F1}"/>
          </ac:graphicFrameMkLst>
        </pc:graphicFrameChg>
        <pc:graphicFrameChg chg="add del modGraphic">
          <ac:chgData name="Martin" userId="8eca5f65-49cd-46fa-84c5-db3be89aa2dc" providerId="ADAL" clId="{753A00A4-0D96-40DE-877F-5CEF086028DD}" dt="2022-11-25T09:38:17.252" v="290" actId="478"/>
          <ac:graphicFrameMkLst>
            <pc:docMk/>
            <pc:sldMk cId="2074534126" sldId="292"/>
            <ac:graphicFrameMk id="12" creationId="{B25B673E-A660-5B82-6CB6-505AD712FCDC}"/>
          </ac:graphicFrameMkLst>
        </pc:graphicFrameChg>
      </pc:sldChg>
      <pc:sldChg chg="addSp delSp modSp mod">
        <pc:chgData name="Martin" userId="8eca5f65-49cd-46fa-84c5-db3be89aa2dc" providerId="ADAL" clId="{753A00A4-0D96-40DE-877F-5CEF086028DD}" dt="2022-12-01T16:01:32.773" v="5124" actId="20577"/>
        <pc:sldMkLst>
          <pc:docMk/>
          <pc:sldMk cId="2258179845" sldId="296"/>
        </pc:sldMkLst>
        <pc:spChg chg="mod">
          <ac:chgData name="Martin" userId="8eca5f65-49cd-46fa-84c5-db3be89aa2dc" providerId="ADAL" clId="{753A00A4-0D96-40DE-877F-5CEF086028DD}" dt="2022-11-30T08:43:55.231" v="3650" actId="20577"/>
          <ac:spMkLst>
            <pc:docMk/>
            <pc:sldMk cId="2258179845" sldId="296"/>
            <ac:spMk id="3" creationId="{00000000-0000-0000-0000-000000000000}"/>
          </ac:spMkLst>
        </pc:spChg>
        <pc:spChg chg="mod">
          <ac:chgData name="Martin" userId="8eca5f65-49cd-46fa-84c5-db3be89aa2dc" providerId="ADAL" clId="{753A00A4-0D96-40DE-877F-5CEF086028DD}" dt="2022-11-29T15:30:06.334" v="2261" actId="1076"/>
          <ac:spMkLst>
            <pc:docMk/>
            <pc:sldMk cId="2258179845" sldId="296"/>
            <ac:spMk id="11" creationId="{FA651644-BAA6-188E-5350-DF3EFD5F84EF}"/>
          </ac:spMkLst>
        </pc:spChg>
        <pc:spChg chg="del mod">
          <ac:chgData name="Martin" userId="8eca5f65-49cd-46fa-84c5-db3be89aa2dc" providerId="ADAL" clId="{753A00A4-0D96-40DE-877F-5CEF086028DD}" dt="2022-11-29T15:29:28.167" v="2253" actId="478"/>
          <ac:spMkLst>
            <pc:docMk/>
            <pc:sldMk cId="2258179845" sldId="296"/>
            <ac:spMk id="12" creationId="{FDB60F84-2869-354D-9BF1-3E609C000C50}"/>
          </ac:spMkLst>
        </pc:spChg>
        <pc:spChg chg="del">
          <ac:chgData name="Martin" userId="8eca5f65-49cd-46fa-84c5-db3be89aa2dc" providerId="ADAL" clId="{753A00A4-0D96-40DE-877F-5CEF086028DD}" dt="2022-11-29T15:25:53.791" v="2114" actId="478"/>
          <ac:spMkLst>
            <pc:docMk/>
            <pc:sldMk cId="2258179845" sldId="296"/>
            <ac:spMk id="13" creationId="{81C670D0-C25C-9C7C-B784-09CB882E8002}"/>
          </ac:spMkLst>
        </pc:spChg>
        <pc:spChg chg="del">
          <ac:chgData name="Martin" userId="8eca5f65-49cd-46fa-84c5-db3be89aa2dc" providerId="ADAL" clId="{753A00A4-0D96-40DE-877F-5CEF086028DD}" dt="2022-11-29T15:26:08.512" v="2117" actId="478"/>
          <ac:spMkLst>
            <pc:docMk/>
            <pc:sldMk cId="2258179845" sldId="296"/>
            <ac:spMk id="14" creationId="{86EA0AB6-9792-3681-F7D3-03A87C515B0F}"/>
          </ac:spMkLst>
        </pc:spChg>
        <pc:spChg chg="del mod">
          <ac:chgData name="Martin" userId="8eca5f65-49cd-46fa-84c5-db3be89aa2dc" providerId="ADAL" clId="{753A00A4-0D96-40DE-877F-5CEF086028DD}" dt="2022-11-29T15:24:08.983" v="2089" actId="478"/>
          <ac:spMkLst>
            <pc:docMk/>
            <pc:sldMk cId="2258179845" sldId="296"/>
            <ac:spMk id="15" creationId="{855D29FA-982C-D0B8-360C-25AB00A4957B}"/>
          </ac:spMkLst>
        </pc:spChg>
        <pc:spChg chg="del">
          <ac:chgData name="Martin" userId="8eca5f65-49cd-46fa-84c5-db3be89aa2dc" providerId="ADAL" clId="{753A00A4-0D96-40DE-877F-5CEF086028DD}" dt="2022-11-29T15:25:55.595" v="2115" actId="478"/>
          <ac:spMkLst>
            <pc:docMk/>
            <pc:sldMk cId="2258179845" sldId="296"/>
            <ac:spMk id="17" creationId="{CDCBE93F-C0AE-E463-56F2-135B0AF94CF3}"/>
          </ac:spMkLst>
        </pc:spChg>
        <pc:spChg chg="del">
          <ac:chgData name="Martin" userId="8eca5f65-49cd-46fa-84c5-db3be89aa2dc" providerId="ADAL" clId="{753A00A4-0D96-40DE-877F-5CEF086028DD}" dt="2022-11-29T15:29:31.558" v="2254" actId="478"/>
          <ac:spMkLst>
            <pc:docMk/>
            <pc:sldMk cId="2258179845" sldId="296"/>
            <ac:spMk id="24" creationId="{20FEB8CD-2DDC-ABD8-5524-90F7752516D6}"/>
          </ac:spMkLst>
        </pc:spChg>
        <pc:spChg chg="del">
          <ac:chgData name="Martin" userId="8eca5f65-49cd-46fa-84c5-db3be89aa2dc" providerId="ADAL" clId="{753A00A4-0D96-40DE-877F-5CEF086028DD}" dt="2022-11-29T15:29:59.480" v="2260" actId="478"/>
          <ac:spMkLst>
            <pc:docMk/>
            <pc:sldMk cId="2258179845" sldId="296"/>
            <ac:spMk id="26" creationId="{C3FEAF3C-C598-E5BE-C8A4-38D18B828D4A}"/>
          </ac:spMkLst>
        </pc:spChg>
        <pc:spChg chg="add mod">
          <ac:chgData name="Martin" userId="8eca5f65-49cd-46fa-84c5-db3be89aa2dc" providerId="ADAL" clId="{753A00A4-0D96-40DE-877F-5CEF086028DD}" dt="2022-11-29T15:31:51.150" v="2301" actId="20577"/>
          <ac:spMkLst>
            <pc:docMk/>
            <pc:sldMk cId="2258179845" sldId="296"/>
            <ac:spMk id="28" creationId="{2AF9F393-9B97-1B6D-E274-64F1E7CFD040}"/>
          </ac:spMkLst>
        </pc:spChg>
        <pc:spChg chg="add mod">
          <ac:chgData name="Martin" userId="8eca5f65-49cd-46fa-84c5-db3be89aa2dc" providerId="ADAL" clId="{753A00A4-0D96-40DE-877F-5CEF086028DD}" dt="2022-11-29T15:32:12.775" v="2332" actId="20577"/>
          <ac:spMkLst>
            <pc:docMk/>
            <pc:sldMk cId="2258179845" sldId="296"/>
            <ac:spMk id="29" creationId="{1581802A-FC8D-E572-0B8B-547CBF198A65}"/>
          </ac:spMkLst>
        </pc:spChg>
        <pc:spChg chg="add del mod">
          <ac:chgData name="Martin" userId="8eca5f65-49cd-46fa-84c5-db3be89aa2dc" providerId="ADAL" clId="{753A00A4-0D96-40DE-877F-5CEF086028DD}" dt="2022-11-29T15:40:05.778" v="2467" actId="478"/>
          <ac:spMkLst>
            <pc:docMk/>
            <pc:sldMk cId="2258179845" sldId="296"/>
            <ac:spMk id="37" creationId="{E9F4D668-4D13-B1EE-628C-01626F9FAF74}"/>
          </ac:spMkLst>
        </pc:spChg>
        <pc:spChg chg="add mod">
          <ac:chgData name="Martin" userId="8eca5f65-49cd-46fa-84c5-db3be89aa2dc" providerId="ADAL" clId="{753A00A4-0D96-40DE-877F-5CEF086028DD}" dt="2022-11-29T15:55:13.128" v="3164" actId="1076"/>
          <ac:spMkLst>
            <pc:docMk/>
            <pc:sldMk cId="2258179845" sldId="296"/>
            <ac:spMk id="38" creationId="{81D4CBA3-FE50-000E-6D72-7D5053794CAD}"/>
          </ac:spMkLst>
        </pc:spChg>
        <pc:spChg chg="add mod">
          <ac:chgData name="Martin" userId="8eca5f65-49cd-46fa-84c5-db3be89aa2dc" providerId="ADAL" clId="{753A00A4-0D96-40DE-877F-5CEF086028DD}" dt="2022-12-01T15:39:13.124" v="4713" actId="20577"/>
          <ac:spMkLst>
            <pc:docMk/>
            <pc:sldMk cId="2258179845" sldId="296"/>
            <ac:spMk id="39" creationId="{16609CEB-0B65-05D9-C3AC-E3B5AA26999D}"/>
          </ac:spMkLst>
        </pc:spChg>
        <pc:spChg chg="add mod">
          <ac:chgData name="Martin" userId="8eca5f65-49cd-46fa-84c5-db3be89aa2dc" providerId="ADAL" clId="{753A00A4-0D96-40DE-877F-5CEF086028DD}" dt="2022-11-30T08:52:25.784" v="3899" actId="20577"/>
          <ac:spMkLst>
            <pc:docMk/>
            <pc:sldMk cId="2258179845" sldId="296"/>
            <ac:spMk id="40" creationId="{431E5C93-D149-45D7-A46F-5A2777723CDA}"/>
          </ac:spMkLst>
        </pc:spChg>
        <pc:spChg chg="add del mod">
          <ac:chgData name="Martin" userId="8eca5f65-49cd-46fa-84c5-db3be89aa2dc" providerId="ADAL" clId="{753A00A4-0D96-40DE-877F-5CEF086028DD}" dt="2022-11-29T15:54:14.799" v="3153"/>
          <ac:spMkLst>
            <pc:docMk/>
            <pc:sldMk cId="2258179845" sldId="296"/>
            <ac:spMk id="41" creationId="{92C744C4-5406-DB04-3270-59EF4ADC5E35}"/>
          </ac:spMkLst>
        </pc:spChg>
        <pc:spChg chg="add del mod">
          <ac:chgData name="Martin" userId="8eca5f65-49cd-46fa-84c5-db3be89aa2dc" providerId="ADAL" clId="{753A00A4-0D96-40DE-877F-5CEF086028DD}" dt="2022-11-29T15:54:14.799" v="3153"/>
          <ac:spMkLst>
            <pc:docMk/>
            <pc:sldMk cId="2258179845" sldId="296"/>
            <ac:spMk id="42" creationId="{BFA371C9-BE3C-14CF-BF2C-545C051B2357}"/>
          </ac:spMkLst>
        </pc:spChg>
        <pc:spChg chg="del">
          <ac:chgData name="Martin" userId="8eca5f65-49cd-46fa-84c5-db3be89aa2dc" providerId="ADAL" clId="{753A00A4-0D96-40DE-877F-5CEF086028DD}" dt="2022-11-29T15:29:59.480" v="2260" actId="478"/>
          <ac:spMkLst>
            <pc:docMk/>
            <pc:sldMk cId="2258179845" sldId="296"/>
            <ac:spMk id="43" creationId="{CA3F97C3-F0BA-D6BA-E5DC-19121E864BFE}"/>
          </ac:spMkLst>
        </pc:spChg>
        <pc:spChg chg="add del mod">
          <ac:chgData name="Martin" userId="8eca5f65-49cd-46fa-84c5-db3be89aa2dc" providerId="ADAL" clId="{753A00A4-0D96-40DE-877F-5CEF086028DD}" dt="2022-11-29T15:54:14.799" v="3153"/>
          <ac:spMkLst>
            <pc:docMk/>
            <pc:sldMk cId="2258179845" sldId="296"/>
            <ac:spMk id="44" creationId="{FF43E433-CC67-85C0-8379-FD3AAB6F6968}"/>
          </ac:spMkLst>
        </pc:spChg>
        <pc:spChg chg="add del mod">
          <ac:chgData name="Martin" userId="8eca5f65-49cd-46fa-84c5-db3be89aa2dc" providerId="ADAL" clId="{753A00A4-0D96-40DE-877F-5CEF086028DD}" dt="2022-11-29T15:54:50.540" v="3160"/>
          <ac:spMkLst>
            <pc:docMk/>
            <pc:sldMk cId="2258179845" sldId="296"/>
            <ac:spMk id="45" creationId="{4CF3BFE7-BB44-6AEA-440D-CE309778FE50}"/>
          </ac:spMkLst>
        </pc:spChg>
        <pc:spChg chg="add del mod">
          <ac:chgData name="Martin" userId="8eca5f65-49cd-46fa-84c5-db3be89aa2dc" providerId="ADAL" clId="{753A00A4-0D96-40DE-877F-5CEF086028DD}" dt="2022-11-29T15:54:50.540" v="3160"/>
          <ac:spMkLst>
            <pc:docMk/>
            <pc:sldMk cId="2258179845" sldId="296"/>
            <ac:spMk id="46" creationId="{3E5FB7AD-D989-A76C-EFC8-95336DA86BD9}"/>
          </ac:spMkLst>
        </pc:spChg>
        <pc:spChg chg="add del mod">
          <ac:chgData name="Martin" userId="8eca5f65-49cd-46fa-84c5-db3be89aa2dc" providerId="ADAL" clId="{753A00A4-0D96-40DE-877F-5CEF086028DD}" dt="2022-11-29T15:54:50.540" v="3160"/>
          <ac:spMkLst>
            <pc:docMk/>
            <pc:sldMk cId="2258179845" sldId="296"/>
            <ac:spMk id="47" creationId="{F00FB921-C8AB-BFBE-25EF-29208671147B}"/>
          </ac:spMkLst>
        </pc:spChg>
        <pc:spChg chg="add mod">
          <ac:chgData name="Martin" userId="8eca5f65-49cd-46fa-84c5-db3be89aa2dc" providerId="ADAL" clId="{753A00A4-0D96-40DE-877F-5CEF086028DD}" dt="2022-11-30T08:45:04.609" v="3760" actId="20577"/>
          <ac:spMkLst>
            <pc:docMk/>
            <pc:sldMk cId="2258179845" sldId="296"/>
            <ac:spMk id="48" creationId="{B545042F-F63D-28EA-5173-D3A6F9201011}"/>
          </ac:spMkLst>
        </pc:spChg>
        <pc:spChg chg="add mod">
          <ac:chgData name="Martin" userId="8eca5f65-49cd-46fa-84c5-db3be89aa2dc" providerId="ADAL" clId="{753A00A4-0D96-40DE-877F-5CEF086028DD}" dt="2022-12-01T15:39:17.190" v="4717" actId="20577"/>
          <ac:spMkLst>
            <pc:docMk/>
            <pc:sldMk cId="2258179845" sldId="296"/>
            <ac:spMk id="49" creationId="{52C01335-73F2-80E5-D687-D36FC05D517B}"/>
          </ac:spMkLst>
        </pc:spChg>
        <pc:spChg chg="del">
          <ac:chgData name="Martin" userId="8eca5f65-49cd-46fa-84c5-db3be89aa2dc" providerId="ADAL" clId="{753A00A4-0D96-40DE-877F-5CEF086028DD}" dt="2022-11-29T15:29:59.480" v="2260" actId="478"/>
          <ac:spMkLst>
            <pc:docMk/>
            <pc:sldMk cId="2258179845" sldId="296"/>
            <ac:spMk id="50" creationId="{120AD733-638B-8137-79AD-65197CA930DE}"/>
          </ac:spMkLst>
        </pc:spChg>
        <pc:spChg chg="del">
          <ac:chgData name="Martin" userId="8eca5f65-49cd-46fa-84c5-db3be89aa2dc" providerId="ADAL" clId="{753A00A4-0D96-40DE-877F-5CEF086028DD}" dt="2022-11-29T15:29:59.480" v="2260" actId="478"/>
          <ac:spMkLst>
            <pc:docMk/>
            <pc:sldMk cId="2258179845" sldId="296"/>
            <ac:spMk id="51" creationId="{009A8190-D539-D102-6EE9-CBA4EFE04F5D}"/>
          </ac:spMkLst>
        </pc:spChg>
        <pc:spChg chg="add mod">
          <ac:chgData name="Martin" userId="8eca5f65-49cd-46fa-84c5-db3be89aa2dc" providerId="ADAL" clId="{753A00A4-0D96-40DE-877F-5CEF086028DD}" dt="2022-11-30T08:53:29.921" v="3979" actId="20577"/>
          <ac:spMkLst>
            <pc:docMk/>
            <pc:sldMk cId="2258179845" sldId="296"/>
            <ac:spMk id="52" creationId="{3E085C28-A2AF-6A7B-5CD5-CB4EE5A2AA9B}"/>
          </ac:spMkLst>
        </pc:spChg>
        <pc:spChg chg="del">
          <ac:chgData name="Martin" userId="8eca5f65-49cd-46fa-84c5-db3be89aa2dc" providerId="ADAL" clId="{753A00A4-0D96-40DE-877F-5CEF086028DD}" dt="2022-11-29T15:29:20.164" v="2250" actId="478"/>
          <ac:spMkLst>
            <pc:docMk/>
            <pc:sldMk cId="2258179845" sldId="296"/>
            <ac:spMk id="53" creationId="{40EB201C-6A09-CEF2-1B77-0D7A8CDF7C54}"/>
          </ac:spMkLst>
        </pc:spChg>
        <pc:spChg chg="del">
          <ac:chgData name="Martin" userId="8eca5f65-49cd-46fa-84c5-db3be89aa2dc" providerId="ADAL" clId="{753A00A4-0D96-40DE-877F-5CEF086028DD}" dt="2022-11-29T15:29:36.825" v="2256" actId="478"/>
          <ac:spMkLst>
            <pc:docMk/>
            <pc:sldMk cId="2258179845" sldId="296"/>
            <ac:spMk id="54" creationId="{2B95FBD2-C9DA-2804-361C-AC7B56B88A6D}"/>
          </ac:spMkLst>
        </pc:spChg>
        <pc:spChg chg="del">
          <ac:chgData name="Martin" userId="8eca5f65-49cd-46fa-84c5-db3be89aa2dc" providerId="ADAL" clId="{753A00A4-0D96-40DE-877F-5CEF086028DD}" dt="2022-11-29T15:25:59.257" v="2116" actId="478"/>
          <ac:spMkLst>
            <pc:docMk/>
            <pc:sldMk cId="2258179845" sldId="296"/>
            <ac:spMk id="55" creationId="{B2EE1A2A-1D6F-C50D-E585-65CF27466285}"/>
          </ac:spMkLst>
        </pc:spChg>
        <pc:spChg chg="add mod">
          <ac:chgData name="Martin" userId="8eca5f65-49cd-46fa-84c5-db3be89aa2dc" providerId="ADAL" clId="{753A00A4-0D96-40DE-877F-5CEF086028DD}" dt="2022-11-30T08:46:27.500" v="3762" actId="20577"/>
          <ac:spMkLst>
            <pc:docMk/>
            <pc:sldMk cId="2258179845" sldId="296"/>
            <ac:spMk id="57" creationId="{6BD639C4-1D16-5213-405A-0D3A45152682}"/>
          </ac:spMkLst>
        </pc:spChg>
        <pc:spChg chg="add mod">
          <ac:chgData name="Martin" userId="8eca5f65-49cd-46fa-84c5-db3be89aa2dc" providerId="ADAL" clId="{753A00A4-0D96-40DE-877F-5CEF086028DD}" dt="2022-12-01T16:01:32.773" v="5124" actId="20577"/>
          <ac:spMkLst>
            <pc:docMk/>
            <pc:sldMk cId="2258179845" sldId="296"/>
            <ac:spMk id="58" creationId="{CC81F074-70E3-3666-F774-860E9C5AF070}"/>
          </ac:spMkLst>
        </pc:spChg>
        <pc:spChg chg="add mod">
          <ac:chgData name="Martin" userId="8eca5f65-49cd-46fa-84c5-db3be89aa2dc" providerId="ADAL" clId="{753A00A4-0D96-40DE-877F-5CEF086028DD}" dt="2022-11-30T09:09:25.858" v="4112" actId="20577"/>
          <ac:spMkLst>
            <pc:docMk/>
            <pc:sldMk cId="2258179845" sldId="296"/>
            <ac:spMk id="59" creationId="{85D94BA3-7B29-C2A3-11DE-E280FBE4C710}"/>
          </ac:spMkLst>
        </pc:spChg>
        <pc:graphicFrameChg chg="del">
          <ac:chgData name="Martin" userId="8eca5f65-49cd-46fa-84c5-db3be89aa2dc" providerId="ADAL" clId="{753A00A4-0D96-40DE-877F-5CEF086028DD}" dt="2022-11-29T15:29:59.480" v="2260" actId="478"/>
          <ac:graphicFrameMkLst>
            <pc:docMk/>
            <pc:sldMk cId="2258179845" sldId="296"/>
            <ac:graphicFrameMk id="56" creationId="{CB3826BF-D2B0-2A94-65A4-9FC6FD4C973A}"/>
          </ac:graphicFrameMkLst>
        </pc:graphicFrameChg>
        <pc:picChg chg="del">
          <ac:chgData name="Martin" userId="8eca5f65-49cd-46fa-84c5-db3be89aa2dc" providerId="ADAL" clId="{753A00A4-0D96-40DE-877F-5CEF086028DD}" dt="2022-11-29T15:29:22.891" v="2251" actId="478"/>
          <ac:picMkLst>
            <pc:docMk/>
            <pc:sldMk cId="2258179845" sldId="296"/>
            <ac:picMk id="21" creationId="{BA7F5D4A-7F50-1051-C645-F55311AD4320}"/>
          </ac:picMkLst>
        </pc:picChg>
        <pc:picChg chg="del">
          <ac:chgData name="Martin" userId="8eca5f65-49cd-46fa-84c5-db3be89aa2dc" providerId="ADAL" clId="{753A00A4-0D96-40DE-877F-5CEF086028DD}" dt="2022-11-29T15:29:38.696" v="2257" actId="478"/>
          <ac:picMkLst>
            <pc:docMk/>
            <pc:sldMk cId="2258179845" sldId="296"/>
            <ac:picMk id="22" creationId="{FA93E450-E223-4942-4E13-2E3EB108CBC8}"/>
          </ac:picMkLst>
        </pc:picChg>
        <pc:picChg chg="del">
          <ac:chgData name="Martin" userId="8eca5f65-49cd-46fa-84c5-db3be89aa2dc" providerId="ADAL" clId="{753A00A4-0D96-40DE-877F-5CEF086028DD}" dt="2022-11-29T15:29:33.058" v="2255" actId="478"/>
          <ac:picMkLst>
            <pc:docMk/>
            <pc:sldMk cId="2258179845" sldId="296"/>
            <ac:picMk id="23" creationId="{F32F55C5-70C5-A2BC-7D1D-16335B5C585C}"/>
          </ac:picMkLst>
        </pc:picChg>
        <pc:cxnChg chg="add mod">
          <ac:chgData name="Martin" userId="8eca5f65-49cd-46fa-84c5-db3be89aa2dc" providerId="ADAL" clId="{753A00A4-0D96-40DE-877F-5CEF086028DD}" dt="2022-11-29T15:55:16.775" v="3165" actId="1076"/>
          <ac:cxnSpMkLst>
            <pc:docMk/>
            <pc:sldMk cId="2258179845" sldId="296"/>
            <ac:cxnSpMk id="6" creationId="{C06E89BF-C7C1-3E46-42C0-4ABD27848332}"/>
          </ac:cxnSpMkLst>
        </pc:cxnChg>
        <pc:cxnChg chg="add del mod">
          <ac:chgData name="Martin" userId="8eca5f65-49cd-46fa-84c5-db3be89aa2dc" providerId="ADAL" clId="{753A00A4-0D96-40DE-877F-5CEF086028DD}" dt="2022-11-29T15:31:11.457" v="2273" actId="478"/>
          <ac:cxnSpMkLst>
            <pc:docMk/>
            <pc:sldMk cId="2258179845" sldId="296"/>
            <ac:cxnSpMk id="10" creationId="{66C9E841-C53B-8036-5607-969DDFC5DF0E}"/>
          </ac:cxnSpMkLst>
        </pc:cxnChg>
        <pc:cxnChg chg="add mod">
          <ac:chgData name="Martin" userId="8eca5f65-49cd-46fa-84c5-db3be89aa2dc" providerId="ADAL" clId="{753A00A4-0D96-40DE-877F-5CEF086028DD}" dt="2022-11-29T15:30:54.685" v="2270" actId="14100"/>
          <ac:cxnSpMkLst>
            <pc:docMk/>
            <pc:sldMk cId="2258179845" sldId="296"/>
            <ac:cxnSpMk id="19" creationId="{93A0E6E8-AABC-4F9A-7145-3605EB44AF5D}"/>
          </ac:cxnSpMkLst>
        </pc:cxnChg>
        <pc:cxnChg chg="add mod">
          <ac:chgData name="Martin" userId="8eca5f65-49cd-46fa-84c5-db3be89aa2dc" providerId="ADAL" clId="{753A00A4-0D96-40DE-877F-5CEF086028DD}" dt="2022-11-29T15:32:37.948" v="2335" actId="14100"/>
          <ac:cxnSpMkLst>
            <pc:docMk/>
            <pc:sldMk cId="2258179845" sldId="296"/>
            <ac:cxnSpMk id="27" creationId="{57758AFE-782A-0A53-36FB-A20951342856}"/>
          </ac:cxnSpMkLst>
        </pc:cxnChg>
        <pc:cxnChg chg="add mod">
          <ac:chgData name="Martin" userId="8eca5f65-49cd-46fa-84c5-db3be89aa2dc" providerId="ADAL" clId="{753A00A4-0D96-40DE-877F-5CEF086028DD}" dt="2022-11-29T15:33:04.441" v="2338" actId="1076"/>
          <ac:cxnSpMkLst>
            <pc:docMk/>
            <pc:sldMk cId="2258179845" sldId="296"/>
            <ac:cxnSpMk id="36" creationId="{FCA7BA67-E803-C225-20C1-2A570636F5E8}"/>
          </ac:cxnSpMkLst>
        </pc:cxnChg>
      </pc:sldChg>
      <pc:sldChg chg="ord">
        <pc:chgData name="Martin" userId="8eca5f65-49cd-46fa-84c5-db3be89aa2dc" providerId="ADAL" clId="{753A00A4-0D96-40DE-877F-5CEF086028DD}" dt="2022-11-30T08:32:25.802" v="3181"/>
        <pc:sldMkLst>
          <pc:docMk/>
          <pc:sldMk cId="4032139296" sldId="303"/>
        </pc:sldMkLst>
      </pc:sldChg>
      <pc:sldChg chg="modSp">
        <pc:chgData name="Martin" userId="8eca5f65-49cd-46fa-84c5-db3be89aa2dc" providerId="ADAL" clId="{753A00A4-0D96-40DE-877F-5CEF086028DD}" dt="2022-11-30T08:58:55.243" v="4043" actId="1076"/>
        <pc:sldMkLst>
          <pc:docMk/>
          <pc:sldMk cId="637570254" sldId="2147474093"/>
        </pc:sldMkLst>
        <pc:spChg chg="mod">
          <ac:chgData name="Martin" userId="8eca5f65-49cd-46fa-84c5-db3be89aa2dc" providerId="ADAL" clId="{753A00A4-0D96-40DE-877F-5CEF086028DD}" dt="2022-11-30T08:58:55.243" v="4043" actId="1076"/>
          <ac:spMkLst>
            <pc:docMk/>
            <pc:sldMk cId="637570254" sldId="2147474093"/>
            <ac:spMk id="42" creationId="{6CC908C3-C3C6-8A05-8891-122D66532322}"/>
          </ac:spMkLst>
        </pc:spChg>
      </pc:sldChg>
      <pc:sldChg chg="addSp delSp modSp add mod">
        <pc:chgData name="Martin" userId="8eca5f65-49cd-46fa-84c5-db3be89aa2dc" providerId="ADAL" clId="{753A00A4-0D96-40DE-877F-5CEF086028DD}" dt="2022-12-01T15:16:03.144" v="4547" actId="1035"/>
        <pc:sldMkLst>
          <pc:docMk/>
          <pc:sldMk cId="3995472106" sldId="2147474095"/>
        </pc:sldMkLst>
        <pc:spChg chg="del">
          <ac:chgData name="Martin" userId="8eca5f65-49cd-46fa-84c5-db3be89aa2dc" providerId="ADAL" clId="{753A00A4-0D96-40DE-877F-5CEF086028DD}" dt="2022-11-29T14:02:58.397" v="1413" actId="478"/>
          <ac:spMkLst>
            <pc:docMk/>
            <pc:sldMk cId="3995472106" sldId="2147474095"/>
            <ac:spMk id="2" creationId="{F5D42F7E-F516-C117-16D1-E4BEBD17B988}"/>
          </ac:spMkLst>
        </pc:spChg>
        <pc:spChg chg="mod">
          <ac:chgData name="Martin" userId="8eca5f65-49cd-46fa-84c5-db3be89aa2dc" providerId="ADAL" clId="{753A00A4-0D96-40DE-877F-5CEF086028DD}" dt="2022-11-29T15:04:16.089" v="1991" actId="14100"/>
          <ac:spMkLst>
            <pc:docMk/>
            <pc:sldMk cId="3995472106" sldId="2147474095"/>
            <ac:spMk id="3" creationId="{00000000-0000-0000-0000-000000000000}"/>
          </ac:spMkLst>
        </pc:spChg>
        <pc:spChg chg="add mod">
          <ac:chgData name="Martin" userId="8eca5f65-49cd-46fa-84c5-db3be89aa2dc" providerId="ADAL" clId="{753A00A4-0D96-40DE-877F-5CEF086028DD}" dt="2022-12-01T15:16:03.144" v="4547" actId="1035"/>
          <ac:spMkLst>
            <pc:docMk/>
            <pc:sldMk cId="3995472106" sldId="2147474095"/>
            <ac:spMk id="6" creationId="{0F67DAFF-0E61-5269-4FBD-241BA0AD1D1E}"/>
          </ac:spMkLst>
        </pc:spChg>
        <pc:spChg chg="add mod">
          <ac:chgData name="Martin" userId="8eca5f65-49cd-46fa-84c5-db3be89aa2dc" providerId="ADAL" clId="{753A00A4-0D96-40DE-877F-5CEF086028DD}" dt="2022-12-01T15:16:03.144" v="4547" actId="1035"/>
          <ac:spMkLst>
            <pc:docMk/>
            <pc:sldMk cId="3995472106" sldId="2147474095"/>
            <ac:spMk id="8" creationId="{08EC5485-3B9F-8769-2D4E-ADCEB0B39C80}"/>
          </ac:spMkLst>
        </pc:spChg>
        <pc:spChg chg="mod">
          <ac:chgData name="Martin" userId="8eca5f65-49cd-46fa-84c5-db3be89aa2dc" providerId="ADAL" clId="{753A00A4-0D96-40DE-877F-5CEF086028DD}" dt="2022-11-29T15:16:47.605" v="2048" actId="1076"/>
          <ac:spMkLst>
            <pc:docMk/>
            <pc:sldMk cId="3995472106" sldId="2147474095"/>
            <ac:spMk id="12" creationId="{8B17FB5F-14A4-1EE7-E237-61E7D8237F70}"/>
          </ac:spMkLst>
        </pc:spChg>
        <pc:spChg chg="mod">
          <ac:chgData name="Martin" userId="8eca5f65-49cd-46fa-84c5-db3be89aa2dc" providerId="ADAL" clId="{753A00A4-0D96-40DE-877F-5CEF086028DD}" dt="2022-11-29T15:16:47.605" v="2048" actId="1076"/>
          <ac:spMkLst>
            <pc:docMk/>
            <pc:sldMk cId="3995472106" sldId="2147474095"/>
            <ac:spMk id="13" creationId="{8D31ECF2-7AA4-4112-82BB-FE5DBEE9D405}"/>
          </ac:spMkLst>
        </pc:spChg>
        <pc:spChg chg="mod">
          <ac:chgData name="Martin" userId="8eca5f65-49cd-46fa-84c5-db3be89aa2dc" providerId="ADAL" clId="{753A00A4-0D96-40DE-877F-5CEF086028DD}" dt="2022-11-29T15:19:41.630" v="2083" actId="1035"/>
          <ac:spMkLst>
            <pc:docMk/>
            <pc:sldMk cId="3995472106" sldId="2147474095"/>
            <ac:spMk id="17" creationId="{2ADF9FAC-B20B-C458-3D21-91D521274B85}"/>
          </ac:spMkLst>
        </pc:spChg>
        <pc:spChg chg="mod">
          <ac:chgData name="Martin" userId="8eca5f65-49cd-46fa-84c5-db3be89aa2dc" providerId="ADAL" clId="{753A00A4-0D96-40DE-877F-5CEF086028DD}" dt="2022-11-29T15:19:57.792" v="2084" actId="20577"/>
          <ac:spMkLst>
            <pc:docMk/>
            <pc:sldMk cId="3995472106" sldId="2147474095"/>
            <ac:spMk id="18" creationId="{8EA6EA9E-B7B7-9356-5D0C-F2C4EEF30A93}"/>
          </ac:spMkLst>
        </pc:spChg>
        <pc:spChg chg="mod">
          <ac:chgData name="Martin" userId="8eca5f65-49cd-46fa-84c5-db3be89aa2dc" providerId="ADAL" clId="{753A00A4-0D96-40DE-877F-5CEF086028DD}" dt="2022-11-29T15:19:41.630" v="2083" actId="1035"/>
          <ac:spMkLst>
            <pc:docMk/>
            <pc:sldMk cId="3995472106" sldId="2147474095"/>
            <ac:spMk id="21" creationId="{2FB8D27E-E081-3CA7-9461-D014EC256C0D}"/>
          </ac:spMkLst>
        </pc:spChg>
        <pc:spChg chg="mod">
          <ac:chgData name="Martin" userId="8eca5f65-49cd-46fa-84c5-db3be89aa2dc" providerId="ADAL" clId="{753A00A4-0D96-40DE-877F-5CEF086028DD}" dt="2022-11-29T15:16:47.605" v="2048" actId="1076"/>
          <ac:spMkLst>
            <pc:docMk/>
            <pc:sldMk cId="3995472106" sldId="2147474095"/>
            <ac:spMk id="22" creationId="{8B98A09D-5D59-A188-D65E-7B513C7C7D4A}"/>
          </ac:spMkLst>
        </pc:spChg>
        <pc:spChg chg="add mod">
          <ac:chgData name="Martin" userId="8eca5f65-49cd-46fa-84c5-db3be89aa2dc" providerId="ADAL" clId="{753A00A4-0D96-40DE-877F-5CEF086028DD}" dt="2022-11-29T15:16:47.605" v="2048" actId="1076"/>
          <ac:spMkLst>
            <pc:docMk/>
            <pc:sldMk cId="3995472106" sldId="2147474095"/>
            <ac:spMk id="24" creationId="{E6384574-4B9A-726B-4F94-A5984AD2F521}"/>
          </ac:spMkLst>
        </pc:spChg>
        <pc:spChg chg="add mod">
          <ac:chgData name="Martin" userId="8eca5f65-49cd-46fa-84c5-db3be89aa2dc" providerId="ADAL" clId="{753A00A4-0D96-40DE-877F-5CEF086028DD}" dt="2022-11-29T15:19:27.742" v="2078" actId="1076"/>
          <ac:spMkLst>
            <pc:docMk/>
            <pc:sldMk cId="3995472106" sldId="2147474095"/>
            <ac:spMk id="25" creationId="{65081C3C-4DEE-0D5F-F554-C9B259B79EEF}"/>
          </ac:spMkLst>
        </pc:spChg>
        <pc:spChg chg="mod">
          <ac:chgData name="Martin" userId="8eca5f65-49cd-46fa-84c5-db3be89aa2dc" providerId="ADAL" clId="{753A00A4-0D96-40DE-877F-5CEF086028DD}" dt="2022-11-29T15:19:41.630" v="2083" actId="1035"/>
          <ac:spMkLst>
            <pc:docMk/>
            <pc:sldMk cId="3995472106" sldId="2147474095"/>
            <ac:spMk id="27" creationId="{DB90BA12-40FF-473E-9907-E5BA4F78E058}"/>
          </ac:spMkLst>
        </pc:spChg>
        <pc:spChg chg="mod">
          <ac:chgData name="Martin" userId="8eca5f65-49cd-46fa-84c5-db3be89aa2dc" providerId="ADAL" clId="{753A00A4-0D96-40DE-877F-5CEF086028DD}" dt="2022-11-29T15:19:41.630" v="2083" actId="1035"/>
          <ac:spMkLst>
            <pc:docMk/>
            <pc:sldMk cId="3995472106" sldId="2147474095"/>
            <ac:spMk id="28" creationId="{7505EB15-9264-04EE-9E14-F55D0FC2E29C}"/>
          </ac:spMkLst>
        </pc:spChg>
        <pc:spChg chg="mod">
          <ac:chgData name="Martin" userId="8eca5f65-49cd-46fa-84c5-db3be89aa2dc" providerId="ADAL" clId="{753A00A4-0D96-40DE-877F-5CEF086028DD}" dt="2022-11-29T15:19:35.029" v="2081" actId="1036"/>
          <ac:spMkLst>
            <pc:docMk/>
            <pc:sldMk cId="3995472106" sldId="2147474095"/>
            <ac:spMk id="30" creationId="{2767F685-D8FE-4A00-92BC-EF46ACCDF2DC}"/>
          </ac:spMkLst>
        </pc:spChg>
        <pc:spChg chg="mod">
          <ac:chgData name="Martin" userId="8eca5f65-49cd-46fa-84c5-db3be89aa2dc" providerId="ADAL" clId="{753A00A4-0D96-40DE-877F-5CEF086028DD}" dt="2022-11-29T15:19:35.029" v="2081" actId="1036"/>
          <ac:spMkLst>
            <pc:docMk/>
            <pc:sldMk cId="3995472106" sldId="2147474095"/>
            <ac:spMk id="31" creationId="{7362207D-AC95-61B9-50FF-2BAD4BA2CEAE}"/>
          </ac:spMkLst>
        </pc:spChg>
        <pc:spChg chg="mod">
          <ac:chgData name="Martin" userId="8eca5f65-49cd-46fa-84c5-db3be89aa2dc" providerId="ADAL" clId="{753A00A4-0D96-40DE-877F-5CEF086028DD}" dt="2022-11-29T15:19:35.029" v="2081" actId="1036"/>
          <ac:spMkLst>
            <pc:docMk/>
            <pc:sldMk cId="3995472106" sldId="2147474095"/>
            <ac:spMk id="33" creationId="{C53E00FC-9C2D-3BC2-A72C-A2358EF607BB}"/>
          </ac:spMkLst>
        </pc:spChg>
        <pc:spChg chg="mod">
          <ac:chgData name="Martin" userId="8eca5f65-49cd-46fa-84c5-db3be89aa2dc" providerId="ADAL" clId="{753A00A4-0D96-40DE-877F-5CEF086028DD}" dt="2022-11-29T15:19:35.029" v="2081" actId="1036"/>
          <ac:spMkLst>
            <pc:docMk/>
            <pc:sldMk cId="3995472106" sldId="2147474095"/>
            <ac:spMk id="34" creationId="{276301E6-B652-7E50-1DBA-0C034491DA54}"/>
          </ac:spMkLst>
        </pc:spChg>
        <pc:spChg chg="add mod">
          <ac:chgData name="Martin" userId="8eca5f65-49cd-46fa-84c5-db3be89aa2dc" providerId="ADAL" clId="{753A00A4-0D96-40DE-877F-5CEF086028DD}" dt="2022-11-29T15:16:47.605" v="2048" actId="1076"/>
          <ac:spMkLst>
            <pc:docMk/>
            <pc:sldMk cId="3995472106" sldId="2147474095"/>
            <ac:spMk id="35" creationId="{50B2CEE9-72F4-3EA1-60AE-D303C0E81DAC}"/>
          </ac:spMkLst>
        </pc:spChg>
        <pc:spChg chg="add mod">
          <ac:chgData name="Martin" userId="8eca5f65-49cd-46fa-84c5-db3be89aa2dc" providerId="ADAL" clId="{753A00A4-0D96-40DE-877F-5CEF086028DD}" dt="2022-11-29T15:17:54.379" v="2077" actId="1076"/>
          <ac:spMkLst>
            <pc:docMk/>
            <pc:sldMk cId="3995472106" sldId="2147474095"/>
            <ac:spMk id="36" creationId="{D245E236-86E9-A1C2-1084-AF35B26A83FB}"/>
          </ac:spMkLst>
        </pc:spChg>
        <pc:spChg chg="add mod">
          <ac:chgData name="Martin" userId="8eca5f65-49cd-46fa-84c5-db3be89aa2dc" providerId="ADAL" clId="{753A00A4-0D96-40DE-877F-5CEF086028DD}" dt="2022-11-29T15:16:57.361" v="2051" actId="1076"/>
          <ac:spMkLst>
            <pc:docMk/>
            <pc:sldMk cId="3995472106" sldId="2147474095"/>
            <ac:spMk id="37" creationId="{429749C2-C885-8F14-E28E-D21B41F1A805}"/>
          </ac:spMkLst>
        </pc:spChg>
        <pc:grpChg chg="add mod">
          <ac:chgData name="Martin" userId="8eca5f65-49cd-46fa-84c5-db3be89aa2dc" providerId="ADAL" clId="{753A00A4-0D96-40DE-877F-5CEF086028DD}" dt="2022-12-01T15:16:03.144" v="4547" actId="1035"/>
          <ac:grpSpMkLst>
            <pc:docMk/>
            <pc:sldMk cId="3995472106" sldId="2147474095"/>
            <ac:grpSpMk id="9" creationId="{27B80EC2-AC70-5CF1-31E7-504D93F313BA}"/>
          </ac:grpSpMkLst>
        </pc:grpChg>
        <pc:grpChg chg="add mod">
          <ac:chgData name="Martin" userId="8eca5f65-49cd-46fa-84c5-db3be89aa2dc" providerId="ADAL" clId="{753A00A4-0D96-40DE-877F-5CEF086028DD}" dt="2022-11-29T15:16:47.605" v="2048" actId="1076"/>
          <ac:grpSpMkLst>
            <pc:docMk/>
            <pc:sldMk cId="3995472106" sldId="2147474095"/>
            <ac:grpSpMk id="10" creationId="{8A4A6EDD-C68B-76BA-730C-0F8E1EA76C36}"/>
          </ac:grpSpMkLst>
        </pc:grpChg>
        <pc:grpChg chg="add mod">
          <ac:chgData name="Martin" userId="8eca5f65-49cd-46fa-84c5-db3be89aa2dc" providerId="ADAL" clId="{753A00A4-0D96-40DE-877F-5CEF086028DD}" dt="2022-11-29T15:19:41.630" v="2083" actId="1035"/>
          <ac:grpSpMkLst>
            <pc:docMk/>
            <pc:sldMk cId="3995472106" sldId="2147474095"/>
            <ac:grpSpMk id="14" creationId="{844B2285-D526-656A-1D2E-1121E9ADC1B2}"/>
          </ac:grpSpMkLst>
        </pc:grpChg>
        <pc:grpChg chg="add mod">
          <ac:chgData name="Martin" userId="8eca5f65-49cd-46fa-84c5-db3be89aa2dc" providerId="ADAL" clId="{753A00A4-0D96-40DE-877F-5CEF086028DD}" dt="2022-11-29T15:19:41.630" v="2083" actId="1035"/>
          <ac:grpSpMkLst>
            <pc:docMk/>
            <pc:sldMk cId="3995472106" sldId="2147474095"/>
            <ac:grpSpMk id="26" creationId="{FA719013-4A1B-523A-FCA8-1549D42A8469}"/>
          </ac:grpSpMkLst>
        </pc:grpChg>
        <pc:grpChg chg="add mod">
          <ac:chgData name="Martin" userId="8eca5f65-49cd-46fa-84c5-db3be89aa2dc" providerId="ADAL" clId="{753A00A4-0D96-40DE-877F-5CEF086028DD}" dt="2022-11-29T15:19:35.029" v="2081" actId="1036"/>
          <ac:grpSpMkLst>
            <pc:docMk/>
            <pc:sldMk cId="3995472106" sldId="2147474095"/>
            <ac:grpSpMk id="29" creationId="{817FD3D9-CA19-50D6-95A9-16D6658F5BB2}"/>
          </ac:grpSpMkLst>
        </pc:grpChg>
        <pc:grpChg chg="add mod">
          <ac:chgData name="Martin" userId="8eca5f65-49cd-46fa-84c5-db3be89aa2dc" providerId="ADAL" clId="{753A00A4-0D96-40DE-877F-5CEF086028DD}" dt="2022-11-29T15:19:35.029" v="2081" actId="1036"/>
          <ac:grpSpMkLst>
            <pc:docMk/>
            <pc:sldMk cId="3995472106" sldId="2147474095"/>
            <ac:grpSpMk id="32" creationId="{D0F43F31-284C-C84C-0A05-EC17EC970479}"/>
          </ac:grpSpMkLst>
        </pc:grpChg>
        <pc:graphicFrameChg chg="del modGraphic">
          <ac:chgData name="Martin" userId="8eca5f65-49cd-46fa-84c5-db3be89aa2dc" providerId="ADAL" clId="{753A00A4-0D96-40DE-877F-5CEF086028DD}" dt="2022-11-29T15:01:48.295" v="1928" actId="478"/>
          <ac:graphicFrameMkLst>
            <pc:docMk/>
            <pc:sldMk cId="3995472106" sldId="2147474095"/>
            <ac:graphicFrameMk id="11" creationId="{F245F32D-52DB-2DF4-AC88-C9EE44D493F1}"/>
          </ac:graphicFrameMkLst>
        </pc:graphicFrameChg>
      </pc:sldChg>
      <pc:sldChg chg="modSp add mod">
        <pc:chgData name="Martin" userId="8eca5f65-49cd-46fa-84c5-db3be89aa2dc" providerId="ADAL" clId="{753A00A4-0D96-40DE-877F-5CEF086028DD}" dt="2022-11-29T15:37:36.843" v="2340" actId="1076"/>
        <pc:sldMkLst>
          <pc:docMk/>
          <pc:sldMk cId="4273815538" sldId="2147474097"/>
        </pc:sldMkLst>
        <pc:spChg chg="mod">
          <ac:chgData name="Martin" userId="8eca5f65-49cd-46fa-84c5-db3be89aa2dc" providerId="ADAL" clId="{753A00A4-0D96-40DE-877F-5CEF086028DD}" dt="2022-11-29T15:37:36.843" v="2340" actId="1076"/>
          <ac:spMkLst>
            <pc:docMk/>
            <pc:sldMk cId="4273815538" sldId="2147474097"/>
            <ac:spMk id="17" creationId="{CDCBE93F-C0AE-E463-56F2-135B0AF94CF3}"/>
          </ac:spMkLst>
        </pc:spChg>
      </pc:sldChg>
      <pc:sldChg chg="addSp delSp modSp mod">
        <pc:chgData name="Martin" userId="8eca5f65-49cd-46fa-84c5-db3be89aa2dc" providerId="ADAL" clId="{753A00A4-0D96-40DE-877F-5CEF086028DD}" dt="2022-12-01T15:54:50.117" v="5052" actId="20577"/>
        <pc:sldMkLst>
          <pc:docMk/>
          <pc:sldMk cId="530476761" sldId="2147474099"/>
        </pc:sldMkLst>
        <pc:spChg chg="del">
          <ac:chgData name="Martin" userId="8eca5f65-49cd-46fa-84c5-db3be89aa2dc" providerId="ADAL" clId="{753A00A4-0D96-40DE-877F-5CEF086028DD}" dt="2022-12-01T14:28:26.445" v="4185" actId="478"/>
          <ac:spMkLst>
            <pc:docMk/>
            <pc:sldMk cId="530476761" sldId="2147474099"/>
            <ac:spMk id="2" creationId="{7AA817FF-7670-E23F-5B15-86ACB9D891C8}"/>
          </ac:spMkLst>
        </pc:spChg>
        <pc:spChg chg="mod">
          <ac:chgData name="Martin" userId="8eca5f65-49cd-46fa-84c5-db3be89aa2dc" providerId="ADAL" clId="{753A00A4-0D96-40DE-877F-5CEF086028DD}" dt="2022-12-01T15:52:14.318" v="5011" actId="20577"/>
          <ac:spMkLst>
            <pc:docMk/>
            <pc:sldMk cId="530476761" sldId="2147474099"/>
            <ac:spMk id="3" creationId="{00000000-0000-0000-0000-000000000000}"/>
          </ac:spMkLst>
        </pc:spChg>
        <pc:spChg chg="mod">
          <ac:chgData name="Martin" userId="8eca5f65-49cd-46fa-84c5-db3be89aa2dc" providerId="ADAL" clId="{753A00A4-0D96-40DE-877F-5CEF086028DD}" dt="2022-12-01T15:29:23.176" v="4616" actId="1076"/>
          <ac:spMkLst>
            <pc:docMk/>
            <pc:sldMk cId="530476761" sldId="2147474099"/>
            <ac:spMk id="6" creationId="{D57D9CC3-9F20-4817-0E51-4729F2EF5B61}"/>
          </ac:spMkLst>
        </pc:spChg>
        <pc:spChg chg="del">
          <ac:chgData name="Martin" userId="8eca5f65-49cd-46fa-84c5-db3be89aa2dc" providerId="ADAL" clId="{753A00A4-0D96-40DE-877F-5CEF086028DD}" dt="2022-12-01T15:12:05.812" v="4544" actId="478"/>
          <ac:spMkLst>
            <pc:docMk/>
            <pc:sldMk cId="530476761" sldId="2147474099"/>
            <ac:spMk id="9" creationId="{6B8EF2BD-B332-FD93-92CF-894E27BE4714}"/>
          </ac:spMkLst>
        </pc:spChg>
        <pc:spChg chg="mod">
          <ac:chgData name="Martin" userId="8eca5f65-49cd-46fa-84c5-db3be89aa2dc" providerId="ADAL" clId="{753A00A4-0D96-40DE-877F-5CEF086028DD}" dt="2022-12-01T15:41:26.960" v="4801" actId="1076"/>
          <ac:spMkLst>
            <pc:docMk/>
            <pc:sldMk cId="530476761" sldId="2147474099"/>
            <ac:spMk id="16" creationId="{C5A6110A-4A5D-4D98-6C7D-0F21CDE245DB}"/>
          </ac:spMkLst>
        </pc:spChg>
        <pc:spChg chg="del">
          <ac:chgData name="Martin" userId="8eca5f65-49cd-46fa-84c5-db3be89aa2dc" providerId="ADAL" clId="{753A00A4-0D96-40DE-877F-5CEF086028DD}" dt="2022-12-01T15:03:00.885" v="4516" actId="478"/>
          <ac:spMkLst>
            <pc:docMk/>
            <pc:sldMk cId="530476761" sldId="2147474099"/>
            <ac:spMk id="18" creationId="{39399445-8851-7B2B-FEE3-C08D528ACB9D}"/>
          </ac:spMkLst>
        </pc:spChg>
        <pc:spChg chg="add del mod">
          <ac:chgData name="Martin" userId="8eca5f65-49cd-46fa-84c5-db3be89aa2dc" providerId="ADAL" clId="{753A00A4-0D96-40DE-877F-5CEF086028DD}" dt="2022-12-01T14:56:10.391" v="4433" actId="478"/>
          <ac:spMkLst>
            <pc:docMk/>
            <pc:sldMk cId="530476761" sldId="2147474099"/>
            <ac:spMk id="19" creationId="{FEBD5432-CCEC-7CDB-BF3F-24B0DF179AD0}"/>
          </ac:spMkLst>
        </pc:spChg>
        <pc:spChg chg="add mod">
          <ac:chgData name="Martin" userId="8eca5f65-49cd-46fa-84c5-db3be89aa2dc" providerId="ADAL" clId="{753A00A4-0D96-40DE-877F-5CEF086028DD}" dt="2022-12-01T15:43:04.661" v="4811" actId="1076"/>
          <ac:spMkLst>
            <pc:docMk/>
            <pc:sldMk cId="530476761" sldId="2147474099"/>
            <ac:spMk id="25" creationId="{0F87EE8A-36F5-ADDD-FEB8-AEABF04D2BB8}"/>
          </ac:spMkLst>
        </pc:spChg>
        <pc:spChg chg="del mod">
          <ac:chgData name="Martin" userId="8eca5f65-49cd-46fa-84c5-db3be89aa2dc" providerId="ADAL" clId="{753A00A4-0D96-40DE-877F-5CEF086028DD}" dt="2022-12-01T14:55:50.180" v="4425"/>
          <ac:spMkLst>
            <pc:docMk/>
            <pc:sldMk cId="530476761" sldId="2147474099"/>
            <ac:spMk id="29" creationId="{66DA3169-130C-1A2D-E0FC-5538356FA3E8}"/>
          </ac:spMkLst>
        </pc:spChg>
        <pc:spChg chg="del">
          <ac:chgData name="Martin" userId="8eca5f65-49cd-46fa-84c5-db3be89aa2dc" providerId="ADAL" clId="{753A00A4-0D96-40DE-877F-5CEF086028DD}" dt="2022-12-01T15:12:02.607" v="4543" actId="478"/>
          <ac:spMkLst>
            <pc:docMk/>
            <pc:sldMk cId="530476761" sldId="2147474099"/>
            <ac:spMk id="30" creationId="{9C7AF251-A87A-EE63-0220-ABA9F2FA782B}"/>
          </ac:spMkLst>
        </pc:spChg>
        <pc:spChg chg="del">
          <ac:chgData name="Martin" userId="8eca5f65-49cd-46fa-84c5-db3be89aa2dc" providerId="ADAL" clId="{753A00A4-0D96-40DE-877F-5CEF086028DD}" dt="2022-12-01T15:03:00.885" v="4516" actId="478"/>
          <ac:spMkLst>
            <pc:docMk/>
            <pc:sldMk cId="530476761" sldId="2147474099"/>
            <ac:spMk id="31" creationId="{13BB3B62-F4F2-A5A8-BEAF-4B49C24EA5CB}"/>
          </ac:spMkLst>
        </pc:spChg>
        <pc:spChg chg="add del mod">
          <ac:chgData name="Martin" userId="8eca5f65-49cd-46fa-84c5-db3be89aa2dc" providerId="ADAL" clId="{753A00A4-0D96-40DE-877F-5CEF086028DD}" dt="2022-12-01T15:44:56.676" v="4873" actId="478"/>
          <ac:spMkLst>
            <pc:docMk/>
            <pc:sldMk cId="530476761" sldId="2147474099"/>
            <ac:spMk id="32" creationId="{E2317101-827D-5F3C-E8F1-A4EC131A6501}"/>
          </ac:spMkLst>
        </pc:spChg>
        <pc:spChg chg="del mod">
          <ac:chgData name="Martin" userId="8eca5f65-49cd-46fa-84c5-db3be89aa2dc" providerId="ADAL" clId="{753A00A4-0D96-40DE-877F-5CEF086028DD}" dt="2022-12-01T15:41:31.777" v="4802" actId="478"/>
          <ac:spMkLst>
            <pc:docMk/>
            <pc:sldMk cId="530476761" sldId="2147474099"/>
            <ac:spMk id="33" creationId="{F3FC856F-751B-A4A4-6A8B-E96085893A58}"/>
          </ac:spMkLst>
        </pc:spChg>
        <pc:spChg chg="mod">
          <ac:chgData name="Martin" userId="8eca5f65-49cd-46fa-84c5-db3be89aa2dc" providerId="ADAL" clId="{753A00A4-0D96-40DE-877F-5CEF086028DD}" dt="2022-12-01T15:54:50.117" v="5052" actId="20577"/>
          <ac:spMkLst>
            <pc:docMk/>
            <pc:sldMk cId="530476761" sldId="2147474099"/>
            <ac:spMk id="34" creationId="{BD65BB84-D09A-51DC-ECC2-A903E1A87978}"/>
          </ac:spMkLst>
        </pc:spChg>
        <pc:spChg chg="add del mod">
          <ac:chgData name="Martin" userId="8eca5f65-49cd-46fa-84c5-db3be89aa2dc" providerId="ADAL" clId="{753A00A4-0D96-40DE-877F-5CEF086028DD}" dt="2022-12-01T15:02:09.791" v="4477"/>
          <ac:spMkLst>
            <pc:docMk/>
            <pc:sldMk cId="530476761" sldId="2147474099"/>
            <ac:spMk id="35" creationId="{12DE2A10-2FF9-5521-BE95-DC8391E6357B}"/>
          </ac:spMkLst>
        </pc:spChg>
        <pc:spChg chg="add mod">
          <ac:chgData name="Martin" userId="8eca5f65-49cd-46fa-84c5-db3be89aa2dc" providerId="ADAL" clId="{753A00A4-0D96-40DE-877F-5CEF086028DD}" dt="2022-12-01T15:41:56.223" v="4807" actId="1076"/>
          <ac:spMkLst>
            <pc:docMk/>
            <pc:sldMk cId="530476761" sldId="2147474099"/>
            <ac:spMk id="42" creationId="{10F0E999-F2FD-61C1-ED69-3340869C9146}"/>
          </ac:spMkLst>
        </pc:spChg>
        <pc:spChg chg="add mod">
          <ac:chgData name="Martin" userId="8eca5f65-49cd-46fa-84c5-db3be89aa2dc" providerId="ADAL" clId="{753A00A4-0D96-40DE-877F-5CEF086028DD}" dt="2022-12-01T15:43:10.817" v="4812" actId="20577"/>
          <ac:spMkLst>
            <pc:docMk/>
            <pc:sldMk cId="530476761" sldId="2147474099"/>
            <ac:spMk id="44" creationId="{468F0A68-EAD8-3F0C-BEE3-0F7936BED621}"/>
          </ac:spMkLst>
        </pc:spChg>
        <pc:spChg chg="add mod">
          <ac:chgData name="Martin" userId="8eca5f65-49cd-46fa-84c5-db3be89aa2dc" providerId="ADAL" clId="{753A00A4-0D96-40DE-877F-5CEF086028DD}" dt="2022-12-01T15:47:19.117" v="4930" actId="20577"/>
          <ac:spMkLst>
            <pc:docMk/>
            <pc:sldMk cId="530476761" sldId="2147474099"/>
            <ac:spMk id="45" creationId="{5CC923A4-7E82-2F49-4E1F-6903A5FF0AC1}"/>
          </ac:spMkLst>
        </pc:spChg>
        <pc:picChg chg="del mod">
          <ac:chgData name="Martin" userId="8eca5f65-49cd-46fa-84c5-db3be89aa2dc" providerId="ADAL" clId="{753A00A4-0D96-40DE-877F-5CEF086028DD}" dt="2022-12-01T15:05:17.235" v="4532" actId="478"/>
          <ac:picMkLst>
            <pc:docMk/>
            <pc:sldMk cId="530476761" sldId="2147474099"/>
            <ac:picMk id="8" creationId="{7F502ED5-267D-BF1E-622E-FE1CBE7AA934}"/>
          </ac:picMkLst>
        </pc:picChg>
        <pc:picChg chg="del">
          <ac:chgData name="Martin" userId="8eca5f65-49cd-46fa-84c5-db3be89aa2dc" providerId="ADAL" clId="{753A00A4-0D96-40DE-877F-5CEF086028DD}" dt="2022-12-01T15:03:00.885" v="4516" actId="478"/>
          <ac:picMkLst>
            <pc:docMk/>
            <pc:sldMk cId="530476761" sldId="2147474099"/>
            <ac:picMk id="10" creationId="{4BD46B2A-A869-7A02-EE8C-9EBD7A3F4374}"/>
          </ac:picMkLst>
        </pc:picChg>
        <pc:picChg chg="del mod">
          <ac:chgData name="Martin" userId="8eca5f65-49cd-46fa-84c5-db3be89aa2dc" providerId="ADAL" clId="{753A00A4-0D96-40DE-877F-5CEF086028DD}" dt="2022-12-01T15:41:31.777" v="4802" actId="478"/>
          <ac:picMkLst>
            <pc:docMk/>
            <pc:sldMk cId="530476761" sldId="2147474099"/>
            <ac:picMk id="20" creationId="{FAAAA761-32CA-1783-E276-16A07BB8D314}"/>
          </ac:picMkLst>
        </pc:picChg>
        <pc:picChg chg="del mod">
          <ac:chgData name="Martin" userId="8eca5f65-49cd-46fa-84c5-db3be89aa2dc" providerId="ADAL" clId="{753A00A4-0D96-40DE-877F-5CEF086028DD}" dt="2022-12-01T15:11:05.829" v="4539" actId="478"/>
          <ac:picMkLst>
            <pc:docMk/>
            <pc:sldMk cId="530476761" sldId="2147474099"/>
            <ac:picMk id="27" creationId="{5027F039-75C7-D344-52F3-30A175B86FE6}"/>
          </ac:picMkLst>
        </pc:picChg>
        <pc:picChg chg="add mod">
          <ac:chgData name="Martin" userId="8eca5f65-49cd-46fa-84c5-db3be89aa2dc" providerId="ADAL" clId="{753A00A4-0D96-40DE-877F-5CEF086028DD}" dt="2022-12-01T15:43:01.811" v="4810" actId="14100"/>
          <ac:picMkLst>
            <pc:docMk/>
            <pc:sldMk cId="530476761" sldId="2147474099"/>
            <ac:picMk id="37" creationId="{6C5698A2-C870-525D-B990-A0F3A95BB30A}"/>
          </ac:picMkLst>
        </pc:picChg>
        <pc:picChg chg="add mod">
          <ac:chgData name="Martin" userId="8eca5f65-49cd-46fa-84c5-db3be89aa2dc" providerId="ADAL" clId="{753A00A4-0D96-40DE-877F-5CEF086028DD}" dt="2022-12-01T15:41:41.890" v="4804" actId="1076"/>
          <ac:picMkLst>
            <pc:docMk/>
            <pc:sldMk cId="530476761" sldId="2147474099"/>
            <ac:picMk id="39" creationId="{65826B55-E1E6-8E2C-7620-90DD2CFAB47A}"/>
          </ac:picMkLst>
        </pc:picChg>
        <pc:picChg chg="add del mod">
          <ac:chgData name="Martin" userId="8eca5f65-49cd-46fa-84c5-db3be89aa2dc" providerId="ADAL" clId="{753A00A4-0D96-40DE-877F-5CEF086028DD}" dt="2022-12-01T15:45:07.191" v="4880" actId="478"/>
          <ac:picMkLst>
            <pc:docMk/>
            <pc:sldMk cId="530476761" sldId="2147474099"/>
            <ac:picMk id="41" creationId="{7F45A5E7-373C-55ED-CB45-2F8E45367CB5}"/>
          </ac:picMkLst>
        </pc:picChg>
      </pc:sldChg>
    </pc:docChg>
  </pc:docChgLst>
  <pc:docChgLst>
    <pc:chgData name="Paul Kuntz (Student at CentraleSupelec)" userId="13e0a3e2-9892-41c3-807e-2ca7b67a9271" providerId="ADAL" clId="{68DF9A9F-712B-E942-B0E4-6230567B12C7}"/>
    <pc:docChg chg="undo custSel addSld delSld modSld sldOrd modSection">
      <pc:chgData name="Paul Kuntz (Student at CentraleSupelec)" userId="13e0a3e2-9892-41c3-807e-2ca7b67a9271" providerId="ADAL" clId="{68DF9A9F-712B-E942-B0E4-6230567B12C7}" dt="2022-11-29T17:19:43.647" v="1019" actId="1038"/>
      <pc:docMkLst>
        <pc:docMk/>
      </pc:docMkLst>
      <pc:sldChg chg="ord">
        <pc:chgData name="Paul Kuntz (Student at CentraleSupelec)" userId="13e0a3e2-9892-41c3-807e-2ca7b67a9271" providerId="ADAL" clId="{68DF9A9F-712B-E942-B0E4-6230567B12C7}" dt="2022-11-29T15:36:11.671" v="1" actId="20578"/>
        <pc:sldMkLst>
          <pc:docMk/>
          <pc:sldMk cId="0" sldId="258"/>
        </pc:sldMkLst>
      </pc:sldChg>
      <pc:sldChg chg="mod modShow">
        <pc:chgData name="Paul Kuntz (Student at CentraleSupelec)" userId="13e0a3e2-9892-41c3-807e-2ca7b67a9271" providerId="ADAL" clId="{68DF9A9F-712B-E942-B0E4-6230567B12C7}" dt="2022-11-29T15:36:01.395" v="0" actId="729"/>
        <pc:sldMkLst>
          <pc:docMk/>
          <pc:sldMk cId="3676255466" sldId="262"/>
        </pc:sldMkLst>
      </pc:sldChg>
      <pc:sldChg chg="del">
        <pc:chgData name="Paul Kuntz (Student at CentraleSupelec)" userId="13e0a3e2-9892-41c3-807e-2ca7b67a9271" providerId="ADAL" clId="{68DF9A9F-712B-E942-B0E4-6230567B12C7}" dt="2022-11-29T15:39:21.533" v="175" actId="2696"/>
        <pc:sldMkLst>
          <pc:docMk/>
          <pc:sldMk cId="31402586" sldId="279"/>
        </pc:sldMkLst>
      </pc:sldChg>
      <pc:sldChg chg="del">
        <pc:chgData name="Paul Kuntz (Student at CentraleSupelec)" userId="13e0a3e2-9892-41c3-807e-2ca7b67a9271" providerId="ADAL" clId="{68DF9A9F-712B-E942-B0E4-6230567B12C7}" dt="2022-11-29T15:39:21.523" v="172" actId="2696"/>
        <pc:sldMkLst>
          <pc:docMk/>
          <pc:sldMk cId="2635926730" sldId="282"/>
        </pc:sldMkLst>
      </pc:sldChg>
      <pc:sldChg chg="del">
        <pc:chgData name="Paul Kuntz (Student at CentraleSupelec)" userId="13e0a3e2-9892-41c3-807e-2ca7b67a9271" providerId="ADAL" clId="{68DF9A9F-712B-E942-B0E4-6230567B12C7}" dt="2022-11-29T15:39:21.530" v="174" actId="2696"/>
        <pc:sldMkLst>
          <pc:docMk/>
          <pc:sldMk cId="3920886680" sldId="285"/>
        </pc:sldMkLst>
      </pc:sldChg>
      <pc:sldChg chg="del">
        <pc:chgData name="Paul Kuntz (Student at CentraleSupelec)" userId="13e0a3e2-9892-41c3-807e-2ca7b67a9271" providerId="ADAL" clId="{68DF9A9F-712B-E942-B0E4-6230567B12C7}" dt="2022-11-29T15:39:21.527" v="173" actId="2696"/>
        <pc:sldMkLst>
          <pc:docMk/>
          <pc:sldMk cId="604507522" sldId="286"/>
        </pc:sldMkLst>
      </pc:sldChg>
      <pc:sldChg chg="addSp delSp modSp mod ord">
        <pc:chgData name="Paul Kuntz (Student at CentraleSupelec)" userId="13e0a3e2-9892-41c3-807e-2ca7b67a9271" providerId="ADAL" clId="{68DF9A9F-712B-E942-B0E4-6230567B12C7}" dt="2022-11-29T17:19:43.647" v="1019" actId="1038"/>
        <pc:sldMkLst>
          <pc:docMk/>
          <pc:sldMk cId="2108961930" sldId="295"/>
        </pc:sldMkLst>
        <pc:spChg chg="add del mod">
          <ac:chgData name="Paul Kuntz (Student at CentraleSupelec)" userId="13e0a3e2-9892-41c3-807e-2ca7b67a9271" providerId="ADAL" clId="{68DF9A9F-712B-E942-B0E4-6230567B12C7}" dt="2022-11-29T15:48:41.702" v="523" actId="478"/>
          <ac:spMkLst>
            <pc:docMk/>
            <pc:sldMk cId="2108961930" sldId="295"/>
            <ac:spMk id="11" creationId="{AEC568BC-B1EE-732A-BCB7-26308A47CCE3}"/>
          </ac:spMkLst>
        </pc:spChg>
        <pc:spChg chg="add mod">
          <ac:chgData name="Paul Kuntz (Student at CentraleSupelec)" userId="13e0a3e2-9892-41c3-807e-2ca7b67a9271" providerId="ADAL" clId="{68DF9A9F-712B-E942-B0E4-6230567B12C7}" dt="2022-11-29T15:51:22.017" v="526" actId="767"/>
          <ac:spMkLst>
            <pc:docMk/>
            <pc:sldMk cId="2108961930" sldId="295"/>
            <ac:spMk id="12" creationId="{2E5A1090-11D5-0323-322C-1BAF9333CF8A}"/>
          </ac:spMkLst>
        </pc:spChg>
        <pc:spChg chg="add mod">
          <ac:chgData name="Paul Kuntz (Student at CentraleSupelec)" userId="13e0a3e2-9892-41c3-807e-2ca7b67a9271" providerId="ADAL" clId="{68DF9A9F-712B-E942-B0E4-6230567B12C7}" dt="2022-11-29T17:14:30.384" v="859" actId="20577"/>
          <ac:spMkLst>
            <pc:docMk/>
            <pc:sldMk cId="2108961930" sldId="295"/>
            <ac:spMk id="15" creationId="{44890B5D-8DFA-5142-0797-9DC7F277563C}"/>
          </ac:spMkLst>
        </pc:spChg>
        <pc:spChg chg="add mod">
          <ac:chgData name="Paul Kuntz (Student at CentraleSupelec)" userId="13e0a3e2-9892-41c3-807e-2ca7b67a9271" providerId="ADAL" clId="{68DF9A9F-712B-E942-B0E4-6230567B12C7}" dt="2022-11-29T17:16:31.605" v="978" actId="767"/>
          <ac:spMkLst>
            <pc:docMk/>
            <pc:sldMk cId="2108961930" sldId="295"/>
            <ac:spMk id="16" creationId="{F49CDC3F-8BA9-1897-FB0A-5D25899E79C1}"/>
          </ac:spMkLst>
        </pc:spChg>
        <pc:spChg chg="add mod">
          <ac:chgData name="Paul Kuntz (Student at CentraleSupelec)" userId="13e0a3e2-9892-41c3-807e-2ca7b67a9271" providerId="ADAL" clId="{68DF9A9F-712B-E942-B0E4-6230567B12C7}" dt="2022-11-29T17:19:26.195" v="1013" actId="1076"/>
          <ac:spMkLst>
            <pc:docMk/>
            <pc:sldMk cId="2108961930" sldId="295"/>
            <ac:spMk id="23" creationId="{C25DC04E-386E-0F72-DB15-EC163B741BAD}"/>
          </ac:spMkLst>
        </pc:spChg>
        <pc:spChg chg="mod">
          <ac:chgData name="Paul Kuntz (Student at CentraleSupelec)" userId="13e0a3e2-9892-41c3-807e-2ca7b67a9271" providerId="ADAL" clId="{68DF9A9F-712B-E942-B0E4-6230567B12C7}" dt="2022-11-29T17:15:30.693" v="966" actId="20577"/>
          <ac:spMkLst>
            <pc:docMk/>
            <pc:sldMk cId="2108961930" sldId="295"/>
            <ac:spMk id="30" creationId="{7888EA0D-E5CC-B468-ED57-4AA73C182AD4}"/>
          </ac:spMkLst>
        </pc:spChg>
        <pc:spChg chg="mod">
          <ac:chgData name="Paul Kuntz (Student at CentraleSupelec)" userId="13e0a3e2-9892-41c3-807e-2ca7b67a9271" providerId="ADAL" clId="{68DF9A9F-712B-E942-B0E4-6230567B12C7}" dt="2022-11-29T17:14:54.938" v="860" actId="207"/>
          <ac:spMkLst>
            <pc:docMk/>
            <pc:sldMk cId="2108961930" sldId="295"/>
            <ac:spMk id="41" creationId="{78CA525B-3C86-6A98-E80C-EC8D0297A5E1}"/>
          </ac:spMkLst>
        </pc:spChg>
        <pc:spChg chg="del">
          <ac:chgData name="Paul Kuntz (Student at CentraleSupelec)" userId="13e0a3e2-9892-41c3-807e-2ca7b67a9271" providerId="ADAL" clId="{68DF9A9F-712B-E942-B0E4-6230567B12C7}" dt="2022-11-29T15:53:34.335" v="596" actId="478"/>
          <ac:spMkLst>
            <pc:docMk/>
            <pc:sldMk cId="2108961930" sldId="295"/>
            <ac:spMk id="44" creationId="{3BAACAEB-68E2-61C2-C286-45C9D3BB3B52}"/>
          </ac:spMkLst>
        </pc:spChg>
        <pc:spChg chg="del">
          <ac:chgData name="Paul Kuntz (Student at CentraleSupelec)" userId="13e0a3e2-9892-41c3-807e-2ca7b67a9271" providerId="ADAL" clId="{68DF9A9F-712B-E942-B0E4-6230567B12C7}" dt="2022-11-29T15:56:55.059" v="684" actId="478"/>
          <ac:spMkLst>
            <pc:docMk/>
            <pc:sldMk cId="2108961930" sldId="295"/>
            <ac:spMk id="45" creationId="{7CCF33E6-207E-EE8D-D5CC-020DCE7ABD77}"/>
          </ac:spMkLst>
        </pc:spChg>
        <pc:spChg chg="del mod">
          <ac:chgData name="Paul Kuntz (Student at CentraleSupelec)" userId="13e0a3e2-9892-41c3-807e-2ca7b67a9271" providerId="ADAL" clId="{68DF9A9F-712B-E942-B0E4-6230567B12C7}" dt="2022-11-29T15:52:31.464" v="548" actId="478"/>
          <ac:spMkLst>
            <pc:docMk/>
            <pc:sldMk cId="2108961930" sldId="295"/>
            <ac:spMk id="46" creationId="{871D0980-472F-9602-958F-A97455881A37}"/>
          </ac:spMkLst>
        </pc:spChg>
        <pc:spChg chg="mod">
          <ac:chgData name="Paul Kuntz (Student at CentraleSupelec)" userId="13e0a3e2-9892-41c3-807e-2ca7b67a9271" providerId="ADAL" clId="{68DF9A9F-712B-E942-B0E4-6230567B12C7}" dt="2022-11-29T17:11:57.400" v="745" actId="1076"/>
          <ac:spMkLst>
            <pc:docMk/>
            <pc:sldMk cId="2108961930" sldId="295"/>
            <ac:spMk id="47" creationId="{7063491F-EB18-8B5E-3A2C-3495F1ACF8E9}"/>
          </ac:spMkLst>
        </pc:spChg>
        <pc:graphicFrameChg chg="del">
          <ac:chgData name="Paul Kuntz (Student at CentraleSupelec)" userId="13e0a3e2-9892-41c3-807e-2ca7b67a9271" providerId="ADAL" clId="{68DF9A9F-712B-E942-B0E4-6230567B12C7}" dt="2022-11-29T15:51:18.353" v="525" actId="478"/>
          <ac:graphicFrameMkLst>
            <pc:docMk/>
            <pc:sldMk cId="2108961930" sldId="295"/>
            <ac:graphicFrameMk id="2" creationId="{FD819BEF-8C3D-0A03-F627-4E934869A4B8}"/>
          </ac:graphicFrameMkLst>
        </pc:graphicFrameChg>
        <pc:graphicFrameChg chg="add del mod">
          <ac:chgData name="Paul Kuntz (Student at CentraleSupelec)" userId="13e0a3e2-9892-41c3-807e-2ca7b67a9271" providerId="ADAL" clId="{68DF9A9F-712B-E942-B0E4-6230567B12C7}" dt="2022-11-29T15:56:46.730" v="682" actId="478"/>
          <ac:graphicFrameMkLst>
            <pc:docMk/>
            <pc:sldMk cId="2108961930" sldId="295"/>
            <ac:graphicFrameMk id="13" creationId="{6BF42E3F-1D15-9538-B5D4-9953836C7559}"/>
          </ac:graphicFrameMkLst>
        </pc:graphicFrameChg>
        <pc:graphicFrameChg chg="add mod">
          <ac:chgData name="Paul Kuntz (Student at CentraleSupelec)" userId="13e0a3e2-9892-41c3-807e-2ca7b67a9271" providerId="ADAL" clId="{68DF9A9F-712B-E942-B0E4-6230567B12C7}" dt="2022-11-29T17:19:17.297" v="1012"/>
          <ac:graphicFrameMkLst>
            <pc:docMk/>
            <pc:sldMk cId="2108961930" sldId="295"/>
            <ac:graphicFrameMk id="14" creationId="{6BF42E3F-1D15-9538-B5D4-9953836C7559}"/>
          </ac:graphicFrameMkLst>
        </pc:graphicFrameChg>
        <pc:cxnChg chg="add del mod">
          <ac:chgData name="Paul Kuntz (Student at CentraleSupelec)" userId="13e0a3e2-9892-41c3-807e-2ca7b67a9271" providerId="ADAL" clId="{68DF9A9F-712B-E942-B0E4-6230567B12C7}" dt="2022-11-29T17:18:19.799" v="992" actId="478"/>
          <ac:cxnSpMkLst>
            <pc:docMk/>
            <pc:sldMk cId="2108961930" sldId="295"/>
            <ac:cxnSpMk id="18" creationId="{ACBEAD86-58EB-DCF6-96B9-6D7CADC91526}"/>
          </ac:cxnSpMkLst>
        </pc:cxnChg>
        <pc:cxnChg chg="add mod">
          <ac:chgData name="Paul Kuntz (Student at CentraleSupelec)" userId="13e0a3e2-9892-41c3-807e-2ca7b67a9271" providerId="ADAL" clId="{68DF9A9F-712B-E942-B0E4-6230567B12C7}" dt="2022-11-29T17:19:43.647" v="1019" actId="1038"/>
          <ac:cxnSpMkLst>
            <pc:docMk/>
            <pc:sldMk cId="2108961930" sldId="295"/>
            <ac:cxnSpMk id="22" creationId="{18E6E208-88EB-46C0-E4C5-1EB890CD6525}"/>
          </ac:cxnSpMkLst>
        </pc:cxnChg>
      </pc:sldChg>
      <pc:sldChg chg="ord">
        <pc:chgData name="Paul Kuntz (Student at CentraleSupelec)" userId="13e0a3e2-9892-41c3-807e-2ca7b67a9271" providerId="ADAL" clId="{68DF9A9F-712B-E942-B0E4-6230567B12C7}" dt="2022-11-29T15:37:59.985" v="76" actId="20578"/>
        <pc:sldMkLst>
          <pc:docMk/>
          <pc:sldMk cId="2258179845" sldId="296"/>
        </pc:sldMkLst>
      </pc:sldChg>
      <pc:sldChg chg="addSp delSp modSp mod ord">
        <pc:chgData name="Paul Kuntz (Student at CentraleSupelec)" userId="13e0a3e2-9892-41c3-807e-2ca7b67a9271" providerId="ADAL" clId="{68DF9A9F-712B-E942-B0E4-6230567B12C7}" dt="2022-11-29T15:48:36.510" v="522" actId="478"/>
        <pc:sldMkLst>
          <pc:docMk/>
          <pc:sldMk cId="3995472106" sldId="2147474095"/>
        </pc:sldMkLst>
        <pc:spChg chg="add del mod">
          <ac:chgData name="Paul Kuntz (Student at CentraleSupelec)" userId="13e0a3e2-9892-41c3-807e-2ca7b67a9271" providerId="ADAL" clId="{68DF9A9F-712B-E942-B0E4-6230567B12C7}" dt="2022-11-29T15:41:32.305" v="357" actId="478"/>
          <ac:spMkLst>
            <pc:docMk/>
            <pc:sldMk cId="3995472106" sldId="2147474095"/>
            <ac:spMk id="2" creationId="{D0CA3614-B519-FD76-D4F5-8C70753BA624}"/>
          </ac:spMkLst>
        </pc:spChg>
        <pc:spChg chg="add del mod">
          <ac:chgData name="Paul Kuntz (Student at CentraleSupelec)" userId="13e0a3e2-9892-41c3-807e-2ca7b67a9271" providerId="ADAL" clId="{68DF9A9F-712B-E942-B0E4-6230567B12C7}" dt="2022-11-29T15:37:47.461" v="73" actId="478"/>
          <ac:spMkLst>
            <pc:docMk/>
            <pc:sldMk cId="3995472106" sldId="2147474095"/>
            <ac:spMk id="11" creationId="{0B938189-DB20-D2AB-E0E6-33B62372B90C}"/>
          </ac:spMkLst>
        </pc:spChg>
        <pc:spChg chg="mod">
          <ac:chgData name="Paul Kuntz (Student at CentraleSupelec)" userId="13e0a3e2-9892-41c3-807e-2ca7b67a9271" providerId="ADAL" clId="{68DF9A9F-712B-E942-B0E4-6230567B12C7}" dt="2022-11-29T15:45:30.389" v="484" actId="403"/>
          <ac:spMkLst>
            <pc:docMk/>
            <pc:sldMk cId="3995472106" sldId="2147474095"/>
            <ac:spMk id="16" creationId="{5133446B-F1AB-7812-9A43-CBB84CFE0335}"/>
          </ac:spMkLst>
        </pc:spChg>
        <pc:spChg chg="mod">
          <ac:chgData name="Paul Kuntz (Student at CentraleSupelec)" userId="13e0a3e2-9892-41c3-807e-2ca7b67a9271" providerId="ADAL" clId="{68DF9A9F-712B-E942-B0E4-6230567B12C7}" dt="2022-11-29T15:47:09.631" v="485" actId="465"/>
          <ac:spMkLst>
            <pc:docMk/>
            <pc:sldMk cId="3995472106" sldId="2147474095"/>
            <ac:spMk id="17" creationId="{2ADF9FAC-B20B-C458-3D21-91D521274B85}"/>
          </ac:spMkLst>
        </pc:spChg>
        <pc:spChg chg="mod">
          <ac:chgData name="Paul Kuntz (Student at CentraleSupelec)" userId="13e0a3e2-9892-41c3-807e-2ca7b67a9271" providerId="ADAL" clId="{68DF9A9F-712B-E942-B0E4-6230567B12C7}" dt="2022-11-29T15:44:54.718" v="427" actId="1035"/>
          <ac:spMkLst>
            <pc:docMk/>
            <pc:sldMk cId="3995472106" sldId="2147474095"/>
            <ac:spMk id="18" creationId="{8EA6EA9E-B7B7-9356-5D0C-F2C4EEF30A93}"/>
          </ac:spMkLst>
        </pc:spChg>
        <pc:spChg chg="del">
          <ac:chgData name="Paul Kuntz (Student at CentraleSupelec)" userId="13e0a3e2-9892-41c3-807e-2ca7b67a9271" providerId="ADAL" clId="{68DF9A9F-712B-E942-B0E4-6230567B12C7}" dt="2022-11-29T15:43:02.764" v="390" actId="478"/>
          <ac:spMkLst>
            <pc:docMk/>
            <pc:sldMk cId="3995472106" sldId="2147474095"/>
            <ac:spMk id="19" creationId="{F45F981A-07EF-3799-F232-64BAFA3692CE}"/>
          </ac:spMkLst>
        </pc:spChg>
        <pc:spChg chg="mod">
          <ac:chgData name="Paul Kuntz (Student at CentraleSupelec)" userId="13e0a3e2-9892-41c3-807e-2ca7b67a9271" providerId="ADAL" clId="{68DF9A9F-712B-E942-B0E4-6230567B12C7}" dt="2022-11-29T15:44:54.718" v="427" actId="1035"/>
          <ac:spMkLst>
            <pc:docMk/>
            <pc:sldMk cId="3995472106" sldId="2147474095"/>
            <ac:spMk id="20" creationId="{4878C88E-73A0-629F-AC91-C96265CF3EEC}"/>
          </ac:spMkLst>
        </pc:spChg>
        <pc:spChg chg="mod">
          <ac:chgData name="Paul Kuntz (Student at CentraleSupelec)" userId="13e0a3e2-9892-41c3-807e-2ca7b67a9271" providerId="ADAL" clId="{68DF9A9F-712B-E942-B0E4-6230567B12C7}" dt="2022-11-29T15:47:09.631" v="485" actId="465"/>
          <ac:spMkLst>
            <pc:docMk/>
            <pc:sldMk cId="3995472106" sldId="2147474095"/>
            <ac:spMk id="21" creationId="{2FB8D27E-E081-3CA7-9461-D014EC256C0D}"/>
          </ac:spMkLst>
        </pc:spChg>
        <pc:spChg chg="mod">
          <ac:chgData name="Paul Kuntz (Student at CentraleSupelec)" userId="13e0a3e2-9892-41c3-807e-2ca7b67a9271" providerId="ADAL" clId="{68DF9A9F-712B-E942-B0E4-6230567B12C7}" dt="2022-11-29T15:48:16.516" v="520" actId="404"/>
          <ac:spMkLst>
            <pc:docMk/>
            <pc:sldMk cId="3995472106" sldId="2147474095"/>
            <ac:spMk id="22" creationId="{8B98A09D-5D59-A188-D65E-7B513C7C7D4A}"/>
          </ac:spMkLst>
        </pc:spChg>
        <pc:spChg chg="add del mod">
          <ac:chgData name="Paul Kuntz (Student at CentraleSupelec)" userId="13e0a3e2-9892-41c3-807e-2ca7b67a9271" providerId="ADAL" clId="{68DF9A9F-712B-E942-B0E4-6230567B12C7}" dt="2022-11-29T15:48:36.510" v="522" actId="478"/>
          <ac:spMkLst>
            <pc:docMk/>
            <pc:sldMk cId="3995472106" sldId="2147474095"/>
            <ac:spMk id="23" creationId="{91A3C98F-3220-9889-B659-AAFCD7B4DD81}"/>
          </ac:spMkLst>
        </pc:spChg>
        <pc:spChg chg="mod">
          <ac:chgData name="Paul Kuntz (Student at CentraleSupelec)" userId="13e0a3e2-9892-41c3-807e-2ca7b67a9271" providerId="ADAL" clId="{68DF9A9F-712B-E942-B0E4-6230567B12C7}" dt="2022-11-29T15:47:54.189" v="515" actId="20577"/>
          <ac:spMkLst>
            <pc:docMk/>
            <pc:sldMk cId="3995472106" sldId="2147474095"/>
            <ac:spMk id="24" creationId="{E6384574-4B9A-726B-4F94-A5984AD2F521}"/>
          </ac:spMkLst>
        </pc:spChg>
        <pc:spChg chg="mod">
          <ac:chgData name="Paul Kuntz (Student at CentraleSupelec)" userId="13e0a3e2-9892-41c3-807e-2ca7b67a9271" providerId="ADAL" clId="{68DF9A9F-712B-E942-B0E4-6230567B12C7}" dt="2022-11-29T15:47:36.303" v="489" actId="404"/>
          <ac:spMkLst>
            <pc:docMk/>
            <pc:sldMk cId="3995472106" sldId="2147474095"/>
            <ac:spMk id="25" creationId="{65081C3C-4DEE-0D5F-F554-C9B259B79EEF}"/>
          </ac:spMkLst>
        </pc:spChg>
        <pc:spChg chg="mod">
          <ac:chgData name="Paul Kuntz (Student at CentraleSupelec)" userId="13e0a3e2-9892-41c3-807e-2ca7b67a9271" providerId="ADAL" clId="{68DF9A9F-712B-E942-B0E4-6230567B12C7}" dt="2022-11-29T15:47:22.036" v="486" actId="465"/>
          <ac:spMkLst>
            <pc:docMk/>
            <pc:sldMk cId="3995472106" sldId="2147474095"/>
            <ac:spMk id="27" creationId="{DB90BA12-40FF-473E-9907-E5BA4F78E058}"/>
          </ac:spMkLst>
        </pc:spChg>
        <pc:spChg chg="mod">
          <ac:chgData name="Paul Kuntz (Student at CentraleSupelec)" userId="13e0a3e2-9892-41c3-807e-2ca7b67a9271" providerId="ADAL" clId="{68DF9A9F-712B-E942-B0E4-6230567B12C7}" dt="2022-11-29T15:47:22.036" v="486" actId="465"/>
          <ac:spMkLst>
            <pc:docMk/>
            <pc:sldMk cId="3995472106" sldId="2147474095"/>
            <ac:spMk id="28" creationId="{7505EB15-9264-04EE-9E14-F55D0FC2E29C}"/>
          </ac:spMkLst>
        </pc:spChg>
        <pc:spChg chg="mod">
          <ac:chgData name="Paul Kuntz (Student at CentraleSupelec)" userId="13e0a3e2-9892-41c3-807e-2ca7b67a9271" providerId="ADAL" clId="{68DF9A9F-712B-E942-B0E4-6230567B12C7}" dt="2022-11-29T15:47:59.236" v="518" actId="20577"/>
          <ac:spMkLst>
            <pc:docMk/>
            <pc:sldMk cId="3995472106" sldId="2147474095"/>
            <ac:spMk id="35" creationId="{50B2CEE9-72F4-3EA1-60AE-D303C0E81DAC}"/>
          </ac:spMkLst>
        </pc:spChg>
        <pc:grpChg chg="mod">
          <ac:chgData name="Paul Kuntz (Student at CentraleSupelec)" userId="13e0a3e2-9892-41c3-807e-2ca7b67a9271" providerId="ADAL" clId="{68DF9A9F-712B-E942-B0E4-6230567B12C7}" dt="2022-11-29T15:47:09.631" v="485" actId="465"/>
          <ac:grpSpMkLst>
            <pc:docMk/>
            <pc:sldMk cId="3995472106" sldId="2147474095"/>
            <ac:grpSpMk id="9" creationId="{27B80EC2-AC70-5CF1-31E7-504D93F313BA}"/>
          </ac:grpSpMkLst>
        </pc:grpChg>
        <pc:grpChg chg="mod">
          <ac:chgData name="Paul Kuntz (Student at CentraleSupelec)" userId="13e0a3e2-9892-41c3-807e-2ca7b67a9271" providerId="ADAL" clId="{68DF9A9F-712B-E942-B0E4-6230567B12C7}" dt="2022-11-29T15:47:22.036" v="486" actId="465"/>
          <ac:grpSpMkLst>
            <pc:docMk/>
            <pc:sldMk cId="3995472106" sldId="2147474095"/>
            <ac:grpSpMk id="10" creationId="{8A4A6EDD-C68B-76BA-730C-0F8E1EA76C36}"/>
          </ac:grpSpMkLst>
        </pc:grpChg>
        <pc:grpChg chg="mod">
          <ac:chgData name="Paul Kuntz (Student at CentraleSupelec)" userId="13e0a3e2-9892-41c3-807e-2ca7b67a9271" providerId="ADAL" clId="{68DF9A9F-712B-E942-B0E4-6230567B12C7}" dt="2022-11-29T15:47:09.631" v="485" actId="465"/>
          <ac:grpSpMkLst>
            <pc:docMk/>
            <pc:sldMk cId="3995472106" sldId="2147474095"/>
            <ac:grpSpMk id="14" creationId="{844B2285-D526-656A-1D2E-1121E9ADC1B2}"/>
          </ac:grpSpMkLst>
        </pc:grpChg>
        <pc:grpChg chg="mod">
          <ac:chgData name="Paul Kuntz (Student at CentraleSupelec)" userId="13e0a3e2-9892-41c3-807e-2ca7b67a9271" providerId="ADAL" clId="{68DF9A9F-712B-E942-B0E4-6230567B12C7}" dt="2022-11-29T15:47:22.036" v="486" actId="465"/>
          <ac:grpSpMkLst>
            <pc:docMk/>
            <pc:sldMk cId="3995472106" sldId="2147474095"/>
            <ac:grpSpMk id="26" creationId="{FA719013-4A1B-523A-FCA8-1549D42A8469}"/>
          </ac:grpSpMkLst>
        </pc:grpChg>
        <pc:grpChg chg="mod">
          <ac:chgData name="Paul Kuntz (Student at CentraleSupelec)" userId="13e0a3e2-9892-41c3-807e-2ca7b67a9271" providerId="ADAL" clId="{68DF9A9F-712B-E942-B0E4-6230567B12C7}" dt="2022-11-29T15:47:09.631" v="485" actId="465"/>
          <ac:grpSpMkLst>
            <pc:docMk/>
            <pc:sldMk cId="3995472106" sldId="2147474095"/>
            <ac:grpSpMk id="29" creationId="{817FD3D9-CA19-50D6-95A9-16D6658F5BB2}"/>
          </ac:grpSpMkLst>
        </pc:grpChg>
        <pc:grpChg chg="mod">
          <ac:chgData name="Paul Kuntz (Student at CentraleSupelec)" userId="13e0a3e2-9892-41c3-807e-2ca7b67a9271" providerId="ADAL" clId="{68DF9A9F-712B-E942-B0E4-6230567B12C7}" dt="2022-11-29T15:47:22.036" v="486" actId="465"/>
          <ac:grpSpMkLst>
            <pc:docMk/>
            <pc:sldMk cId="3995472106" sldId="2147474095"/>
            <ac:grpSpMk id="32" creationId="{D0F43F31-284C-C84C-0A05-EC17EC970479}"/>
          </ac:grpSpMkLst>
        </pc:grpChg>
        <pc:graphicFrameChg chg="mod">
          <ac:chgData name="Paul Kuntz (Student at CentraleSupelec)" userId="13e0a3e2-9892-41c3-807e-2ca7b67a9271" providerId="ADAL" clId="{68DF9A9F-712B-E942-B0E4-6230567B12C7}" dt="2022-11-29T15:43:54.370" v="403"/>
          <ac:graphicFrameMkLst>
            <pc:docMk/>
            <pc:sldMk cId="3995472106" sldId="2147474095"/>
            <ac:graphicFrameMk id="15" creationId="{89CE3017-BF55-7054-7F0D-DA15F2D571C5}"/>
          </ac:graphicFrameMkLst>
        </pc:graphicFrameChg>
      </pc:sldChg>
      <pc:sldChg chg="addSp delSp modSp add mod">
        <pc:chgData name="Paul Kuntz (Student at CentraleSupelec)" userId="13e0a3e2-9892-41c3-807e-2ca7b67a9271" providerId="ADAL" clId="{68DF9A9F-712B-E942-B0E4-6230567B12C7}" dt="2022-11-29T15:39:09.423" v="171" actId="20577"/>
        <pc:sldMkLst>
          <pc:docMk/>
          <pc:sldMk cId="2971014534" sldId="2147474098"/>
        </pc:sldMkLst>
        <pc:spChg chg="add del mod">
          <ac:chgData name="Paul Kuntz (Student at CentraleSupelec)" userId="13e0a3e2-9892-41c3-807e-2ca7b67a9271" providerId="ADAL" clId="{68DF9A9F-712B-E942-B0E4-6230567B12C7}" dt="2022-11-29T15:38:36.220" v="80" actId="478"/>
          <ac:spMkLst>
            <pc:docMk/>
            <pc:sldMk cId="2971014534" sldId="2147474098"/>
            <ac:spMk id="2" creationId="{CE0CD61E-47C9-83F8-10BC-7819CCA12C09}"/>
          </ac:spMkLst>
        </pc:spChg>
        <pc:spChg chg="add mod">
          <ac:chgData name="Paul Kuntz (Student at CentraleSupelec)" userId="13e0a3e2-9892-41c3-807e-2ca7b67a9271" providerId="ADAL" clId="{68DF9A9F-712B-E942-B0E4-6230567B12C7}" dt="2022-11-29T15:39:09.423" v="171" actId="20577"/>
          <ac:spMkLst>
            <pc:docMk/>
            <pc:sldMk cId="2971014534" sldId="2147474098"/>
            <ac:spMk id="6" creationId="{D57D9CC3-9F20-4817-0E51-4729F2EF5B61}"/>
          </ac:spMkLst>
        </pc:spChg>
      </pc:sldChg>
      <pc:sldChg chg="modSp add mod">
        <pc:chgData name="Paul Kuntz (Student at CentraleSupelec)" userId="13e0a3e2-9892-41c3-807e-2ca7b67a9271" providerId="ADAL" clId="{68DF9A9F-712B-E942-B0E4-6230567B12C7}" dt="2022-11-29T15:40:27.326" v="354" actId="20577"/>
        <pc:sldMkLst>
          <pc:docMk/>
          <pc:sldMk cId="530476761" sldId="2147474099"/>
        </pc:sldMkLst>
        <pc:spChg chg="mod">
          <ac:chgData name="Paul Kuntz (Student at CentraleSupelec)" userId="13e0a3e2-9892-41c3-807e-2ca7b67a9271" providerId="ADAL" clId="{68DF9A9F-712B-E942-B0E4-6230567B12C7}" dt="2022-11-29T15:39:55.839" v="243" actId="20577"/>
          <ac:spMkLst>
            <pc:docMk/>
            <pc:sldMk cId="530476761" sldId="2147474099"/>
            <ac:spMk id="3" creationId="{00000000-0000-0000-0000-000000000000}"/>
          </ac:spMkLst>
        </pc:spChg>
        <pc:spChg chg="mod">
          <ac:chgData name="Paul Kuntz (Student at CentraleSupelec)" userId="13e0a3e2-9892-41c3-807e-2ca7b67a9271" providerId="ADAL" clId="{68DF9A9F-712B-E942-B0E4-6230567B12C7}" dt="2022-11-29T15:40:27.326" v="354" actId="20577"/>
          <ac:spMkLst>
            <pc:docMk/>
            <pc:sldMk cId="530476761" sldId="2147474099"/>
            <ac:spMk id="6" creationId="{D57D9CC3-9F20-4817-0E51-4729F2EF5B61}"/>
          </ac:spMkLst>
        </pc:spChg>
      </pc:sldChg>
      <pc:sldChg chg="add del">
        <pc:chgData name="Paul Kuntz (Student at CentraleSupelec)" userId="13e0a3e2-9892-41c3-807e-2ca7b67a9271" providerId="ADAL" clId="{68DF9A9F-712B-E942-B0E4-6230567B12C7}" dt="2022-11-29T15:41:11.353" v="356" actId="2696"/>
        <pc:sldMkLst>
          <pc:docMk/>
          <pc:sldMk cId="1028942908" sldId="2147474100"/>
        </pc:sldMkLst>
      </pc:sldChg>
    </pc:docChg>
  </pc:docChgLst>
  <pc:docChgLst>
    <pc:chgData name="Antoine Dargier" userId="481a37f4-bfd0-4ed5-9683-451acf3f1d65" providerId="ADAL" clId="{51D997F2-51E1-419E-BC94-C9A33AD3AEEC}"/>
    <pc:docChg chg="undo custSel addSld delSld modSld modSection">
      <pc:chgData name="Antoine Dargier" userId="481a37f4-bfd0-4ed5-9683-451acf3f1d65" providerId="ADAL" clId="{51D997F2-51E1-419E-BC94-C9A33AD3AEEC}" dt="2022-12-01T15:55:12.019" v="2749" actId="47"/>
      <pc:docMkLst>
        <pc:docMk/>
      </pc:docMkLst>
      <pc:sldChg chg="modSp mod">
        <pc:chgData name="Antoine Dargier" userId="481a37f4-bfd0-4ed5-9683-451acf3f1d65" providerId="ADAL" clId="{51D997F2-51E1-419E-BC94-C9A33AD3AEEC}" dt="2022-12-01T13:33:13.729" v="347" actId="1035"/>
        <pc:sldMkLst>
          <pc:docMk/>
          <pc:sldMk cId="0" sldId="258"/>
        </pc:sldMkLst>
        <pc:spChg chg="mod">
          <ac:chgData name="Antoine Dargier" userId="481a37f4-bfd0-4ed5-9683-451acf3f1d65" providerId="ADAL" clId="{51D997F2-51E1-419E-BC94-C9A33AD3AEEC}" dt="2022-12-01T13:33:13.729" v="347" actId="1035"/>
          <ac:spMkLst>
            <pc:docMk/>
            <pc:sldMk cId="0" sldId="258"/>
            <ac:spMk id="6" creationId="{00000000-0000-0000-0000-000000000000}"/>
          </ac:spMkLst>
        </pc:spChg>
        <pc:grpChg chg="mod">
          <ac:chgData name="Antoine Dargier" userId="481a37f4-bfd0-4ed5-9683-451acf3f1d65" providerId="ADAL" clId="{51D997F2-51E1-419E-BC94-C9A33AD3AEEC}" dt="2022-12-01T13:33:13.729" v="347" actId="1035"/>
          <ac:grpSpMkLst>
            <pc:docMk/>
            <pc:sldMk cId="0" sldId="258"/>
            <ac:grpSpMk id="7" creationId="{704482DC-3657-36F1-6715-AB35E78CD0A3}"/>
          </ac:grpSpMkLst>
        </pc:grpChg>
        <pc:grpChg chg="mod">
          <ac:chgData name="Antoine Dargier" userId="481a37f4-bfd0-4ed5-9683-451acf3f1d65" providerId="ADAL" clId="{51D997F2-51E1-419E-BC94-C9A33AD3AEEC}" dt="2022-12-01T13:33:13.729" v="347" actId="1035"/>
          <ac:grpSpMkLst>
            <pc:docMk/>
            <pc:sldMk cId="0" sldId="258"/>
            <ac:grpSpMk id="8" creationId="{00000000-0000-0000-0000-000000000000}"/>
          </ac:grpSpMkLst>
        </pc:grpChg>
        <pc:grpChg chg="mod">
          <ac:chgData name="Antoine Dargier" userId="481a37f4-bfd0-4ed5-9683-451acf3f1d65" providerId="ADAL" clId="{51D997F2-51E1-419E-BC94-C9A33AD3AEEC}" dt="2022-12-01T13:33:13.729" v="347" actId="1035"/>
          <ac:grpSpMkLst>
            <pc:docMk/>
            <pc:sldMk cId="0" sldId="258"/>
            <ac:grpSpMk id="15" creationId="{D835FFA2-6A7B-A46F-1720-297DCB2BDE3A}"/>
          </ac:grpSpMkLst>
        </pc:grpChg>
        <pc:grpChg chg="mod">
          <ac:chgData name="Antoine Dargier" userId="481a37f4-bfd0-4ed5-9683-451acf3f1d65" providerId="ADAL" clId="{51D997F2-51E1-419E-BC94-C9A33AD3AEEC}" dt="2022-12-01T13:33:13.729" v="347" actId="1035"/>
          <ac:grpSpMkLst>
            <pc:docMk/>
            <pc:sldMk cId="0" sldId="258"/>
            <ac:grpSpMk id="23" creationId="{4492E367-D2C8-F366-4391-00DF1CDC19B2}"/>
          </ac:grpSpMkLst>
        </pc:grpChg>
        <pc:grpChg chg="mod">
          <ac:chgData name="Antoine Dargier" userId="481a37f4-bfd0-4ed5-9683-451acf3f1d65" providerId="ADAL" clId="{51D997F2-51E1-419E-BC94-C9A33AD3AEEC}" dt="2022-12-01T13:33:13.729" v="347" actId="1035"/>
          <ac:grpSpMkLst>
            <pc:docMk/>
            <pc:sldMk cId="0" sldId="258"/>
            <ac:grpSpMk id="32" creationId="{2FCEB92B-3389-0641-F1D5-6C6252ED2CD3}"/>
          </ac:grpSpMkLst>
        </pc:grpChg>
      </pc:sldChg>
      <pc:sldChg chg="addSp modSp mod">
        <pc:chgData name="Antoine Dargier" userId="481a37f4-bfd0-4ed5-9683-451acf3f1d65" providerId="ADAL" clId="{51D997F2-51E1-419E-BC94-C9A33AD3AEEC}" dt="2022-12-01T13:55:20.869" v="657" actId="20577"/>
        <pc:sldMkLst>
          <pc:docMk/>
          <pc:sldMk cId="3676255466" sldId="262"/>
        </pc:sldMkLst>
        <pc:spChg chg="add mod">
          <ac:chgData name="Antoine Dargier" userId="481a37f4-bfd0-4ed5-9683-451acf3f1d65" providerId="ADAL" clId="{51D997F2-51E1-419E-BC94-C9A33AD3AEEC}" dt="2022-12-01T13:55:20.869" v="657" actId="20577"/>
          <ac:spMkLst>
            <pc:docMk/>
            <pc:sldMk cId="3676255466" sldId="262"/>
            <ac:spMk id="2" creationId="{C0906544-B871-E78F-1EDB-352977F87780}"/>
          </ac:spMkLst>
        </pc:spChg>
      </pc:sldChg>
      <pc:sldChg chg="delSp modSp mod">
        <pc:chgData name="Antoine Dargier" userId="481a37f4-bfd0-4ed5-9683-451acf3f1d65" providerId="ADAL" clId="{51D997F2-51E1-419E-BC94-C9A33AD3AEEC}" dt="2022-12-01T15:11:09.263" v="2326" actId="20577"/>
        <pc:sldMkLst>
          <pc:docMk/>
          <pc:sldMk cId="531656296" sldId="287"/>
        </pc:sldMkLst>
        <pc:spChg chg="mod">
          <ac:chgData name="Antoine Dargier" userId="481a37f4-bfd0-4ed5-9683-451acf3f1d65" providerId="ADAL" clId="{51D997F2-51E1-419E-BC94-C9A33AD3AEEC}" dt="2022-12-01T14:48:19.279" v="1722" actId="404"/>
          <ac:spMkLst>
            <pc:docMk/>
            <pc:sldMk cId="531656296" sldId="287"/>
            <ac:spMk id="4" creationId="{FE687DFB-1496-49CD-DDF6-D479C9FF7101}"/>
          </ac:spMkLst>
        </pc:spChg>
        <pc:spChg chg="mod">
          <ac:chgData name="Antoine Dargier" userId="481a37f4-bfd0-4ed5-9683-451acf3f1d65" providerId="ADAL" clId="{51D997F2-51E1-419E-BC94-C9A33AD3AEEC}" dt="2022-12-01T14:50:26.475" v="1822" actId="20577"/>
          <ac:spMkLst>
            <pc:docMk/>
            <pc:sldMk cId="531656296" sldId="287"/>
            <ac:spMk id="5" creationId="{36D1A0A5-D9EB-E69D-849E-7929AA2580E4}"/>
          </ac:spMkLst>
        </pc:spChg>
        <pc:spChg chg="mod">
          <ac:chgData name="Antoine Dargier" userId="481a37f4-bfd0-4ed5-9683-451acf3f1d65" providerId="ADAL" clId="{51D997F2-51E1-419E-BC94-C9A33AD3AEEC}" dt="2022-12-01T14:48:46.001" v="1737" actId="1036"/>
          <ac:spMkLst>
            <pc:docMk/>
            <pc:sldMk cId="531656296" sldId="287"/>
            <ac:spMk id="7" creationId="{19386F09-7E53-EDC6-BAF5-DE0F95FAF957}"/>
          </ac:spMkLst>
        </pc:spChg>
        <pc:spChg chg="mod">
          <ac:chgData name="Antoine Dargier" userId="481a37f4-bfd0-4ed5-9683-451acf3f1d65" providerId="ADAL" clId="{51D997F2-51E1-419E-BC94-C9A33AD3AEEC}" dt="2022-12-01T14:50:15.619" v="1809" actId="1076"/>
          <ac:spMkLst>
            <pc:docMk/>
            <pc:sldMk cId="531656296" sldId="287"/>
            <ac:spMk id="8" creationId="{B2789F3D-A639-0C28-AA9D-AB90B2CCC3F6}"/>
          </ac:spMkLst>
        </pc:spChg>
        <pc:spChg chg="mod">
          <ac:chgData name="Antoine Dargier" userId="481a37f4-bfd0-4ed5-9683-451acf3f1d65" providerId="ADAL" clId="{51D997F2-51E1-419E-BC94-C9A33AD3AEEC}" dt="2022-12-01T14:49:12.790" v="1760" actId="1038"/>
          <ac:spMkLst>
            <pc:docMk/>
            <pc:sldMk cId="531656296" sldId="287"/>
            <ac:spMk id="9" creationId="{7CF6D3BC-46D6-0213-089A-95421F1A3ECA}"/>
          </ac:spMkLst>
        </pc:spChg>
        <pc:spChg chg="mod">
          <ac:chgData name="Antoine Dargier" userId="481a37f4-bfd0-4ed5-9683-451acf3f1d65" providerId="ADAL" clId="{51D997F2-51E1-419E-BC94-C9A33AD3AEEC}" dt="2022-12-01T14:49:31.482" v="1788" actId="1036"/>
          <ac:spMkLst>
            <pc:docMk/>
            <pc:sldMk cId="531656296" sldId="287"/>
            <ac:spMk id="10" creationId="{21272C52-A7FB-B6EC-1FBF-0AAAABF03C30}"/>
          </ac:spMkLst>
        </pc:spChg>
        <pc:spChg chg="mod">
          <ac:chgData name="Antoine Dargier" userId="481a37f4-bfd0-4ed5-9683-451acf3f1d65" providerId="ADAL" clId="{51D997F2-51E1-419E-BC94-C9A33AD3AEEC}" dt="2022-12-01T14:49:24.235" v="1771" actId="1035"/>
          <ac:spMkLst>
            <pc:docMk/>
            <pc:sldMk cId="531656296" sldId="287"/>
            <ac:spMk id="11" creationId="{BAF5A74C-B687-338A-FFAD-F7C83E58A1EA}"/>
          </ac:spMkLst>
        </pc:spChg>
        <pc:spChg chg="del">
          <ac:chgData name="Antoine Dargier" userId="481a37f4-bfd0-4ed5-9683-451acf3f1d65" providerId="ADAL" clId="{51D997F2-51E1-419E-BC94-C9A33AD3AEEC}" dt="2022-12-01T14:49:36.984" v="1789" actId="478"/>
          <ac:spMkLst>
            <pc:docMk/>
            <pc:sldMk cId="531656296" sldId="287"/>
            <ac:spMk id="12" creationId="{F602A6B2-41C1-BBC8-DA28-E847873F9921}"/>
          </ac:spMkLst>
        </pc:spChg>
        <pc:spChg chg="mod">
          <ac:chgData name="Antoine Dargier" userId="481a37f4-bfd0-4ed5-9683-451acf3f1d65" providerId="ADAL" clId="{51D997F2-51E1-419E-BC94-C9A33AD3AEEC}" dt="2022-12-01T14:48:53.819" v="1743" actId="20577"/>
          <ac:spMkLst>
            <pc:docMk/>
            <pc:sldMk cId="531656296" sldId="287"/>
            <ac:spMk id="13" creationId="{9A9C69E8-19FB-F78C-A68D-D50DAD4015B6}"/>
          </ac:spMkLst>
        </pc:spChg>
        <pc:spChg chg="mod">
          <ac:chgData name="Antoine Dargier" userId="481a37f4-bfd0-4ed5-9683-451acf3f1d65" providerId="ADAL" clId="{51D997F2-51E1-419E-BC94-C9A33AD3AEEC}" dt="2022-12-01T14:49:43.478" v="1790" actId="14100"/>
          <ac:spMkLst>
            <pc:docMk/>
            <pc:sldMk cId="531656296" sldId="287"/>
            <ac:spMk id="14" creationId="{392020EC-C1EA-0C0E-ACB2-73A5DE593A54}"/>
          </ac:spMkLst>
        </pc:spChg>
        <pc:spChg chg="mod">
          <ac:chgData name="Antoine Dargier" userId="481a37f4-bfd0-4ed5-9683-451acf3f1d65" providerId="ADAL" clId="{51D997F2-51E1-419E-BC94-C9A33AD3AEEC}" dt="2022-12-01T14:48:38.230" v="1724" actId="14100"/>
          <ac:spMkLst>
            <pc:docMk/>
            <pc:sldMk cId="531656296" sldId="287"/>
            <ac:spMk id="15" creationId="{D7DE16B4-AAC7-6B37-BA32-09413E4929B1}"/>
          </ac:spMkLst>
        </pc:spChg>
        <pc:spChg chg="mod">
          <ac:chgData name="Antoine Dargier" userId="481a37f4-bfd0-4ed5-9683-451acf3f1d65" providerId="ADAL" clId="{51D997F2-51E1-419E-BC94-C9A33AD3AEEC}" dt="2022-12-01T15:11:09.263" v="2326" actId="20577"/>
          <ac:spMkLst>
            <pc:docMk/>
            <pc:sldMk cId="531656296" sldId="287"/>
            <ac:spMk id="16" creationId="{2B9B8881-9AB3-BF71-7A4A-0B688D80E9BF}"/>
          </ac:spMkLst>
        </pc:spChg>
      </pc:sldChg>
      <pc:sldChg chg="modSp mod">
        <pc:chgData name="Antoine Dargier" userId="481a37f4-bfd0-4ed5-9683-451acf3f1d65" providerId="ADAL" clId="{51D997F2-51E1-419E-BC94-C9A33AD3AEEC}" dt="2022-12-01T15:10:35.064" v="2308" actId="20577"/>
        <pc:sldMkLst>
          <pc:docMk/>
          <pc:sldMk cId="179811998" sldId="293"/>
        </pc:sldMkLst>
        <pc:spChg chg="mod">
          <ac:chgData name="Antoine Dargier" userId="481a37f4-bfd0-4ed5-9683-451acf3f1d65" providerId="ADAL" clId="{51D997F2-51E1-419E-BC94-C9A33AD3AEEC}" dt="2022-12-01T15:10:35.064" v="2308" actId="20577"/>
          <ac:spMkLst>
            <pc:docMk/>
            <pc:sldMk cId="179811998" sldId="293"/>
            <ac:spMk id="3" creationId="{00000000-0000-0000-0000-000000000000}"/>
          </ac:spMkLst>
        </pc:spChg>
      </pc:sldChg>
      <pc:sldChg chg="modSp mod">
        <pc:chgData name="Antoine Dargier" userId="481a37f4-bfd0-4ed5-9683-451acf3f1d65" providerId="ADAL" clId="{51D997F2-51E1-419E-BC94-C9A33AD3AEEC}" dt="2022-12-01T15:10:39.331" v="2310" actId="20577"/>
        <pc:sldMkLst>
          <pc:docMk/>
          <pc:sldMk cId="199762290" sldId="294"/>
        </pc:sldMkLst>
        <pc:spChg chg="mod">
          <ac:chgData name="Antoine Dargier" userId="481a37f4-bfd0-4ed5-9683-451acf3f1d65" providerId="ADAL" clId="{51D997F2-51E1-419E-BC94-C9A33AD3AEEC}" dt="2022-12-01T15:10:39.331" v="2310" actId="20577"/>
          <ac:spMkLst>
            <pc:docMk/>
            <pc:sldMk cId="199762290" sldId="294"/>
            <ac:spMk id="2" creationId="{00000000-0000-0000-0000-000000000000}"/>
          </ac:spMkLst>
        </pc:spChg>
      </pc:sldChg>
      <pc:sldChg chg="addSp modSp mod">
        <pc:chgData name="Antoine Dargier" userId="481a37f4-bfd0-4ed5-9683-451acf3f1d65" providerId="ADAL" clId="{51D997F2-51E1-419E-BC94-C9A33AD3AEEC}" dt="2022-12-01T13:54:27.858" v="597" actId="20577"/>
        <pc:sldMkLst>
          <pc:docMk/>
          <pc:sldMk cId="2258179845" sldId="296"/>
        </pc:sldMkLst>
        <pc:spChg chg="add mod">
          <ac:chgData name="Antoine Dargier" userId="481a37f4-bfd0-4ed5-9683-451acf3f1d65" providerId="ADAL" clId="{51D997F2-51E1-419E-BC94-C9A33AD3AEEC}" dt="2022-12-01T13:54:13.909" v="550" actId="14100"/>
          <ac:spMkLst>
            <pc:docMk/>
            <pc:sldMk cId="2258179845" sldId="296"/>
            <ac:spMk id="2" creationId="{EFB91388-940E-0DAC-1B46-B9F63010731D}"/>
          </ac:spMkLst>
        </pc:spChg>
        <pc:spChg chg="add mod">
          <ac:chgData name="Antoine Dargier" userId="481a37f4-bfd0-4ed5-9683-451acf3f1d65" providerId="ADAL" clId="{51D997F2-51E1-419E-BC94-C9A33AD3AEEC}" dt="2022-12-01T13:54:27.858" v="597" actId="20577"/>
          <ac:spMkLst>
            <pc:docMk/>
            <pc:sldMk cId="2258179845" sldId="296"/>
            <ac:spMk id="8" creationId="{3C7104CA-CE0D-B4A9-A88C-3A519FBF7C59}"/>
          </ac:spMkLst>
        </pc:spChg>
      </pc:sldChg>
      <pc:sldChg chg="modSp mod">
        <pc:chgData name="Antoine Dargier" userId="481a37f4-bfd0-4ed5-9683-451acf3f1d65" providerId="ADAL" clId="{51D997F2-51E1-419E-BC94-C9A33AD3AEEC}" dt="2022-12-01T15:11:12.553" v="2328" actId="20577"/>
        <pc:sldMkLst>
          <pc:docMk/>
          <pc:sldMk cId="2450467116" sldId="301"/>
        </pc:sldMkLst>
        <pc:spChg chg="mod">
          <ac:chgData name="Antoine Dargier" userId="481a37f4-bfd0-4ed5-9683-451acf3f1d65" providerId="ADAL" clId="{51D997F2-51E1-419E-BC94-C9A33AD3AEEC}" dt="2022-12-01T15:11:12.553" v="2328" actId="20577"/>
          <ac:spMkLst>
            <pc:docMk/>
            <pc:sldMk cId="2450467116" sldId="301"/>
            <ac:spMk id="2" creationId="{2E7D7E47-8883-FFA1-6233-F06BB274F14C}"/>
          </ac:spMkLst>
        </pc:spChg>
        <pc:spChg chg="mod">
          <ac:chgData name="Antoine Dargier" userId="481a37f4-bfd0-4ed5-9683-451acf3f1d65" providerId="ADAL" clId="{51D997F2-51E1-419E-BC94-C9A33AD3AEEC}" dt="2022-12-01T14:50:47.531" v="1832" actId="20577"/>
          <ac:spMkLst>
            <pc:docMk/>
            <pc:sldMk cId="2450467116" sldId="301"/>
            <ac:spMk id="10" creationId="{FF47B496-FA68-C249-3BDC-3C4D78EF86EB}"/>
          </ac:spMkLst>
        </pc:spChg>
      </pc:sldChg>
      <pc:sldChg chg="modSp mod">
        <pc:chgData name="Antoine Dargier" userId="481a37f4-bfd0-4ed5-9683-451acf3f1d65" providerId="ADAL" clId="{51D997F2-51E1-419E-BC94-C9A33AD3AEEC}" dt="2022-12-01T15:10:51.351" v="2316" actId="20577"/>
        <pc:sldMkLst>
          <pc:docMk/>
          <pc:sldMk cId="4032139296" sldId="303"/>
        </pc:sldMkLst>
        <pc:spChg chg="mod">
          <ac:chgData name="Antoine Dargier" userId="481a37f4-bfd0-4ed5-9683-451acf3f1d65" providerId="ADAL" clId="{51D997F2-51E1-419E-BC94-C9A33AD3AEEC}" dt="2022-12-01T15:10:51.351" v="2316" actId="20577"/>
          <ac:spMkLst>
            <pc:docMk/>
            <pc:sldMk cId="4032139296" sldId="303"/>
            <ac:spMk id="3" creationId="{00000000-0000-0000-0000-000000000000}"/>
          </ac:spMkLst>
        </pc:spChg>
      </pc:sldChg>
      <pc:sldChg chg="modSp mod">
        <pc:chgData name="Antoine Dargier" userId="481a37f4-bfd0-4ed5-9683-451acf3f1d65" providerId="ADAL" clId="{51D997F2-51E1-419E-BC94-C9A33AD3AEEC}" dt="2022-12-01T15:10:55.574" v="2318" actId="20577"/>
        <pc:sldMkLst>
          <pc:docMk/>
          <pc:sldMk cId="2887040492" sldId="304"/>
        </pc:sldMkLst>
        <pc:spChg chg="mod">
          <ac:chgData name="Antoine Dargier" userId="481a37f4-bfd0-4ed5-9683-451acf3f1d65" providerId="ADAL" clId="{51D997F2-51E1-419E-BC94-C9A33AD3AEEC}" dt="2022-12-01T15:10:55.574" v="2318" actId="20577"/>
          <ac:spMkLst>
            <pc:docMk/>
            <pc:sldMk cId="2887040492" sldId="304"/>
            <ac:spMk id="3" creationId="{00000000-0000-0000-0000-000000000000}"/>
          </ac:spMkLst>
        </pc:spChg>
      </pc:sldChg>
      <pc:sldChg chg="addSp modSp mod">
        <pc:chgData name="Antoine Dargier" userId="481a37f4-bfd0-4ed5-9683-451acf3f1d65" providerId="ADAL" clId="{51D997F2-51E1-419E-BC94-C9A33AD3AEEC}" dt="2022-12-01T13:55:50.920" v="715" actId="20577"/>
        <pc:sldMkLst>
          <pc:docMk/>
          <pc:sldMk cId="637570254" sldId="2147474093"/>
        </pc:sldMkLst>
        <pc:spChg chg="add mod">
          <ac:chgData name="Antoine Dargier" userId="481a37f4-bfd0-4ed5-9683-451acf3f1d65" providerId="ADAL" clId="{51D997F2-51E1-419E-BC94-C9A33AD3AEEC}" dt="2022-12-01T13:55:50.920" v="715" actId="20577"/>
          <ac:spMkLst>
            <pc:docMk/>
            <pc:sldMk cId="637570254" sldId="2147474093"/>
            <ac:spMk id="6" creationId="{9D0D5264-5C25-7BA8-C06E-629FFEDE0164}"/>
          </ac:spMkLst>
        </pc:spChg>
      </pc:sldChg>
      <pc:sldChg chg="modSp mod">
        <pc:chgData name="Antoine Dargier" userId="481a37f4-bfd0-4ed5-9683-451acf3f1d65" providerId="ADAL" clId="{51D997F2-51E1-419E-BC94-C9A33AD3AEEC}" dt="2022-12-01T15:10:59.432" v="2320" actId="20577"/>
        <pc:sldMkLst>
          <pc:docMk/>
          <pc:sldMk cId="3003815223" sldId="2147474094"/>
        </pc:sldMkLst>
        <pc:spChg chg="mod">
          <ac:chgData name="Antoine Dargier" userId="481a37f4-bfd0-4ed5-9683-451acf3f1d65" providerId="ADAL" clId="{51D997F2-51E1-419E-BC94-C9A33AD3AEEC}" dt="2022-12-01T15:10:59.432" v="2320" actId="20577"/>
          <ac:spMkLst>
            <pc:docMk/>
            <pc:sldMk cId="3003815223" sldId="2147474094"/>
            <ac:spMk id="3" creationId="{00000000-0000-0000-0000-000000000000}"/>
          </ac:spMkLst>
        </pc:spChg>
      </pc:sldChg>
      <pc:sldChg chg="addSp modSp mod">
        <pc:chgData name="Antoine Dargier" userId="481a37f4-bfd0-4ed5-9683-451acf3f1d65" providerId="ADAL" clId="{51D997F2-51E1-419E-BC94-C9A33AD3AEEC}" dt="2022-12-01T13:35:19.785" v="403" actId="20577"/>
        <pc:sldMkLst>
          <pc:docMk/>
          <pc:sldMk cId="3995472106" sldId="2147474095"/>
        </pc:sldMkLst>
        <pc:spChg chg="add mod">
          <ac:chgData name="Antoine Dargier" userId="481a37f4-bfd0-4ed5-9683-451acf3f1d65" providerId="ADAL" clId="{51D997F2-51E1-419E-BC94-C9A33AD3AEEC}" dt="2022-12-01T13:35:19.785" v="403" actId="20577"/>
          <ac:spMkLst>
            <pc:docMk/>
            <pc:sldMk cId="3995472106" sldId="2147474095"/>
            <ac:spMk id="2" creationId="{49222D26-8678-7667-E2F2-E24F449AF7B0}"/>
          </ac:spMkLst>
        </pc:spChg>
      </pc:sldChg>
      <pc:sldChg chg="modSp mod">
        <pc:chgData name="Antoine Dargier" userId="481a37f4-bfd0-4ed5-9683-451acf3f1d65" providerId="ADAL" clId="{51D997F2-51E1-419E-BC94-C9A33AD3AEEC}" dt="2022-12-01T15:10:46.345" v="2314" actId="20577"/>
        <pc:sldMkLst>
          <pc:docMk/>
          <pc:sldMk cId="4273815538" sldId="2147474097"/>
        </pc:sldMkLst>
        <pc:spChg chg="mod">
          <ac:chgData name="Antoine Dargier" userId="481a37f4-bfd0-4ed5-9683-451acf3f1d65" providerId="ADAL" clId="{51D997F2-51E1-419E-BC94-C9A33AD3AEEC}" dt="2022-12-01T15:10:46.345" v="2314" actId="20577"/>
          <ac:spMkLst>
            <pc:docMk/>
            <pc:sldMk cId="4273815538" sldId="2147474097"/>
            <ac:spMk id="3" creationId="{00000000-0000-0000-0000-000000000000}"/>
          </ac:spMkLst>
        </pc:spChg>
      </pc:sldChg>
      <pc:sldChg chg="addSp delSp modSp mod">
        <pc:chgData name="Antoine Dargier" userId="481a37f4-bfd0-4ed5-9683-451acf3f1d65" providerId="ADAL" clId="{51D997F2-51E1-419E-BC94-C9A33AD3AEEC}" dt="2022-12-01T14:59:05.177" v="2178" actId="1582"/>
        <pc:sldMkLst>
          <pc:docMk/>
          <pc:sldMk cId="2971014534" sldId="2147474098"/>
        </pc:sldMkLst>
        <pc:spChg chg="add mod">
          <ac:chgData name="Antoine Dargier" userId="481a37f4-bfd0-4ed5-9683-451acf3f1d65" providerId="ADAL" clId="{51D997F2-51E1-419E-BC94-C9A33AD3AEEC}" dt="2022-12-01T14:32:54.329" v="1576" actId="1035"/>
          <ac:spMkLst>
            <pc:docMk/>
            <pc:sldMk cId="2971014534" sldId="2147474098"/>
            <ac:spMk id="2" creationId="{1E8042ED-5EE9-F3CB-4871-9C5823D439B9}"/>
          </ac:spMkLst>
        </pc:spChg>
        <pc:spChg chg="del mod">
          <ac:chgData name="Antoine Dargier" userId="481a37f4-bfd0-4ed5-9683-451acf3f1d65" providerId="ADAL" clId="{51D997F2-51E1-419E-BC94-C9A33AD3AEEC}" dt="2022-12-01T13:09:38.202" v="1" actId="478"/>
          <ac:spMkLst>
            <pc:docMk/>
            <pc:sldMk cId="2971014534" sldId="2147474098"/>
            <ac:spMk id="6" creationId="{D57D9CC3-9F20-4817-0E51-4729F2EF5B61}"/>
          </ac:spMkLst>
        </pc:spChg>
        <pc:spChg chg="add mod">
          <ac:chgData name="Antoine Dargier" userId="481a37f4-bfd0-4ed5-9683-451acf3f1d65" providerId="ADAL" clId="{51D997F2-51E1-419E-BC94-C9A33AD3AEEC}" dt="2022-12-01T14:32:54.329" v="1576" actId="1035"/>
          <ac:spMkLst>
            <pc:docMk/>
            <pc:sldMk cId="2971014534" sldId="2147474098"/>
            <ac:spMk id="8" creationId="{CBDFB6D4-20D6-7EE7-C594-4EF91BC93601}"/>
          </ac:spMkLst>
        </pc:spChg>
        <pc:spChg chg="add mod">
          <ac:chgData name="Antoine Dargier" userId="481a37f4-bfd0-4ed5-9683-451acf3f1d65" providerId="ADAL" clId="{51D997F2-51E1-419E-BC94-C9A33AD3AEEC}" dt="2022-12-01T14:32:54.329" v="1576" actId="1035"/>
          <ac:spMkLst>
            <pc:docMk/>
            <pc:sldMk cId="2971014534" sldId="2147474098"/>
            <ac:spMk id="9" creationId="{8DE5183E-0AE4-C3D9-6A4A-C0D09AD8B73E}"/>
          </ac:spMkLst>
        </pc:spChg>
        <pc:spChg chg="add mod">
          <ac:chgData name="Antoine Dargier" userId="481a37f4-bfd0-4ed5-9683-451acf3f1d65" providerId="ADAL" clId="{51D997F2-51E1-419E-BC94-C9A33AD3AEEC}" dt="2022-12-01T14:32:54.329" v="1576" actId="1035"/>
          <ac:spMkLst>
            <pc:docMk/>
            <pc:sldMk cId="2971014534" sldId="2147474098"/>
            <ac:spMk id="10" creationId="{12207176-606E-5482-053F-38097FE2C967}"/>
          </ac:spMkLst>
        </pc:spChg>
        <pc:spChg chg="del">
          <ac:chgData name="Antoine Dargier" userId="481a37f4-bfd0-4ed5-9683-451acf3f1d65" providerId="ADAL" clId="{51D997F2-51E1-419E-BC94-C9A33AD3AEEC}" dt="2022-12-01T13:09:45.001" v="2" actId="478"/>
          <ac:spMkLst>
            <pc:docMk/>
            <pc:sldMk cId="2971014534" sldId="2147474098"/>
            <ac:spMk id="11" creationId="{FA651644-BAA6-188E-5350-DF3EFD5F84EF}"/>
          </ac:spMkLst>
        </pc:spChg>
        <pc:spChg chg="del">
          <ac:chgData name="Antoine Dargier" userId="481a37f4-bfd0-4ed5-9683-451acf3f1d65" providerId="ADAL" clId="{51D997F2-51E1-419E-BC94-C9A33AD3AEEC}" dt="2022-12-01T13:09:45.001" v="2" actId="478"/>
          <ac:spMkLst>
            <pc:docMk/>
            <pc:sldMk cId="2971014534" sldId="2147474098"/>
            <ac:spMk id="12" creationId="{FDB60F84-2869-354D-9BF1-3E609C000C50}"/>
          </ac:spMkLst>
        </pc:spChg>
        <pc:spChg chg="del">
          <ac:chgData name="Antoine Dargier" userId="481a37f4-bfd0-4ed5-9683-451acf3f1d65" providerId="ADAL" clId="{51D997F2-51E1-419E-BC94-C9A33AD3AEEC}" dt="2022-12-01T13:09:45.001" v="2" actId="478"/>
          <ac:spMkLst>
            <pc:docMk/>
            <pc:sldMk cId="2971014534" sldId="2147474098"/>
            <ac:spMk id="13" creationId="{81C670D0-C25C-9C7C-B784-09CB882E8002}"/>
          </ac:spMkLst>
        </pc:spChg>
        <pc:spChg chg="del">
          <ac:chgData name="Antoine Dargier" userId="481a37f4-bfd0-4ed5-9683-451acf3f1d65" providerId="ADAL" clId="{51D997F2-51E1-419E-BC94-C9A33AD3AEEC}" dt="2022-12-01T13:09:45.001" v="2" actId="478"/>
          <ac:spMkLst>
            <pc:docMk/>
            <pc:sldMk cId="2971014534" sldId="2147474098"/>
            <ac:spMk id="14" creationId="{86EA0AB6-9792-3681-F7D3-03A87C515B0F}"/>
          </ac:spMkLst>
        </pc:spChg>
        <pc:spChg chg="del">
          <ac:chgData name="Antoine Dargier" userId="481a37f4-bfd0-4ed5-9683-451acf3f1d65" providerId="ADAL" clId="{51D997F2-51E1-419E-BC94-C9A33AD3AEEC}" dt="2022-12-01T13:09:45.001" v="2" actId="478"/>
          <ac:spMkLst>
            <pc:docMk/>
            <pc:sldMk cId="2971014534" sldId="2147474098"/>
            <ac:spMk id="15" creationId="{855D29FA-982C-D0B8-360C-25AB00A4957B}"/>
          </ac:spMkLst>
        </pc:spChg>
        <pc:spChg chg="add mod">
          <ac:chgData name="Antoine Dargier" userId="481a37f4-bfd0-4ed5-9683-451acf3f1d65" providerId="ADAL" clId="{51D997F2-51E1-419E-BC94-C9A33AD3AEEC}" dt="2022-12-01T14:32:54.329" v="1576" actId="1035"/>
          <ac:spMkLst>
            <pc:docMk/>
            <pc:sldMk cId="2971014534" sldId="2147474098"/>
            <ac:spMk id="16" creationId="{BDEB7DB0-CF7B-F459-1CEE-40C045FB5732}"/>
          </ac:spMkLst>
        </pc:spChg>
        <pc:spChg chg="del">
          <ac:chgData name="Antoine Dargier" userId="481a37f4-bfd0-4ed5-9683-451acf3f1d65" providerId="ADAL" clId="{51D997F2-51E1-419E-BC94-C9A33AD3AEEC}" dt="2022-12-01T13:09:45.001" v="2" actId="478"/>
          <ac:spMkLst>
            <pc:docMk/>
            <pc:sldMk cId="2971014534" sldId="2147474098"/>
            <ac:spMk id="17" creationId="{CDCBE93F-C0AE-E463-56F2-135B0AF94CF3}"/>
          </ac:spMkLst>
        </pc:spChg>
        <pc:spChg chg="add mod">
          <ac:chgData name="Antoine Dargier" userId="481a37f4-bfd0-4ed5-9683-451acf3f1d65" providerId="ADAL" clId="{51D997F2-51E1-419E-BC94-C9A33AD3AEEC}" dt="2022-12-01T14:32:54.329" v="1576" actId="1035"/>
          <ac:spMkLst>
            <pc:docMk/>
            <pc:sldMk cId="2971014534" sldId="2147474098"/>
            <ac:spMk id="18" creationId="{0594E00F-E7FF-C3E0-A45F-231B57C99B63}"/>
          </ac:spMkLst>
        </pc:spChg>
        <pc:spChg chg="add mod">
          <ac:chgData name="Antoine Dargier" userId="481a37f4-bfd0-4ed5-9683-451acf3f1d65" providerId="ADAL" clId="{51D997F2-51E1-419E-BC94-C9A33AD3AEEC}" dt="2022-12-01T14:32:54.329" v="1576" actId="1035"/>
          <ac:spMkLst>
            <pc:docMk/>
            <pc:sldMk cId="2971014534" sldId="2147474098"/>
            <ac:spMk id="19" creationId="{8D1D59FC-1104-D207-AE18-6A3B3873768F}"/>
          </ac:spMkLst>
        </pc:spChg>
        <pc:spChg chg="add mod">
          <ac:chgData name="Antoine Dargier" userId="481a37f4-bfd0-4ed5-9683-451acf3f1d65" providerId="ADAL" clId="{51D997F2-51E1-419E-BC94-C9A33AD3AEEC}" dt="2022-12-01T14:32:54.329" v="1576" actId="1035"/>
          <ac:spMkLst>
            <pc:docMk/>
            <pc:sldMk cId="2971014534" sldId="2147474098"/>
            <ac:spMk id="20" creationId="{56F5AEED-7502-7789-DD04-566276A037C7}"/>
          </ac:spMkLst>
        </pc:spChg>
        <pc:spChg chg="del">
          <ac:chgData name="Antoine Dargier" userId="481a37f4-bfd0-4ed5-9683-451acf3f1d65" providerId="ADAL" clId="{51D997F2-51E1-419E-BC94-C9A33AD3AEEC}" dt="2022-12-01T13:09:45.001" v="2" actId="478"/>
          <ac:spMkLst>
            <pc:docMk/>
            <pc:sldMk cId="2971014534" sldId="2147474098"/>
            <ac:spMk id="24" creationId="{20FEB8CD-2DDC-ABD8-5524-90F7752516D6}"/>
          </ac:spMkLst>
        </pc:spChg>
        <pc:spChg chg="add del mod">
          <ac:chgData name="Antoine Dargier" userId="481a37f4-bfd0-4ed5-9683-451acf3f1d65" providerId="ADAL" clId="{51D997F2-51E1-419E-BC94-C9A33AD3AEEC}" dt="2022-12-01T14:19:52.112" v="1004" actId="478"/>
          <ac:spMkLst>
            <pc:docMk/>
            <pc:sldMk cId="2971014534" sldId="2147474098"/>
            <ac:spMk id="25" creationId="{AE116734-8410-505B-2420-EDD5A30C7C8C}"/>
          </ac:spMkLst>
        </pc:spChg>
        <pc:spChg chg="del">
          <ac:chgData name="Antoine Dargier" userId="481a37f4-bfd0-4ed5-9683-451acf3f1d65" providerId="ADAL" clId="{51D997F2-51E1-419E-BC94-C9A33AD3AEEC}" dt="2022-12-01T13:09:45.001" v="2" actId="478"/>
          <ac:spMkLst>
            <pc:docMk/>
            <pc:sldMk cId="2971014534" sldId="2147474098"/>
            <ac:spMk id="26" creationId="{C3FEAF3C-C598-E5BE-C8A4-38D18B828D4A}"/>
          </ac:spMkLst>
        </pc:spChg>
        <pc:spChg chg="del">
          <ac:chgData name="Antoine Dargier" userId="481a37f4-bfd0-4ed5-9683-451acf3f1d65" providerId="ADAL" clId="{51D997F2-51E1-419E-BC94-C9A33AD3AEEC}" dt="2022-12-01T13:09:45.001" v="2" actId="478"/>
          <ac:spMkLst>
            <pc:docMk/>
            <pc:sldMk cId="2971014534" sldId="2147474098"/>
            <ac:spMk id="43" creationId="{CA3F97C3-F0BA-D6BA-E5DC-19121E864BFE}"/>
          </ac:spMkLst>
        </pc:spChg>
        <pc:spChg chg="del">
          <ac:chgData name="Antoine Dargier" userId="481a37f4-bfd0-4ed5-9683-451acf3f1d65" providerId="ADAL" clId="{51D997F2-51E1-419E-BC94-C9A33AD3AEEC}" dt="2022-12-01T13:09:45.001" v="2" actId="478"/>
          <ac:spMkLst>
            <pc:docMk/>
            <pc:sldMk cId="2971014534" sldId="2147474098"/>
            <ac:spMk id="50" creationId="{120AD733-638B-8137-79AD-65197CA930DE}"/>
          </ac:spMkLst>
        </pc:spChg>
        <pc:spChg chg="del">
          <ac:chgData name="Antoine Dargier" userId="481a37f4-bfd0-4ed5-9683-451acf3f1d65" providerId="ADAL" clId="{51D997F2-51E1-419E-BC94-C9A33AD3AEEC}" dt="2022-12-01T13:09:45.001" v="2" actId="478"/>
          <ac:spMkLst>
            <pc:docMk/>
            <pc:sldMk cId="2971014534" sldId="2147474098"/>
            <ac:spMk id="51" creationId="{009A8190-D539-D102-6EE9-CBA4EFE04F5D}"/>
          </ac:spMkLst>
        </pc:spChg>
        <pc:spChg chg="del">
          <ac:chgData name="Antoine Dargier" userId="481a37f4-bfd0-4ed5-9683-451acf3f1d65" providerId="ADAL" clId="{51D997F2-51E1-419E-BC94-C9A33AD3AEEC}" dt="2022-12-01T13:09:45.001" v="2" actId="478"/>
          <ac:spMkLst>
            <pc:docMk/>
            <pc:sldMk cId="2971014534" sldId="2147474098"/>
            <ac:spMk id="53" creationId="{40EB201C-6A09-CEF2-1B77-0D7A8CDF7C54}"/>
          </ac:spMkLst>
        </pc:spChg>
        <pc:spChg chg="del">
          <ac:chgData name="Antoine Dargier" userId="481a37f4-bfd0-4ed5-9683-451acf3f1d65" providerId="ADAL" clId="{51D997F2-51E1-419E-BC94-C9A33AD3AEEC}" dt="2022-12-01T13:09:45.001" v="2" actId="478"/>
          <ac:spMkLst>
            <pc:docMk/>
            <pc:sldMk cId="2971014534" sldId="2147474098"/>
            <ac:spMk id="54" creationId="{2B95FBD2-C9DA-2804-361C-AC7B56B88A6D}"/>
          </ac:spMkLst>
        </pc:spChg>
        <pc:spChg chg="del">
          <ac:chgData name="Antoine Dargier" userId="481a37f4-bfd0-4ed5-9683-451acf3f1d65" providerId="ADAL" clId="{51D997F2-51E1-419E-BC94-C9A33AD3AEEC}" dt="2022-12-01T13:09:45.001" v="2" actId="478"/>
          <ac:spMkLst>
            <pc:docMk/>
            <pc:sldMk cId="2971014534" sldId="2147474098"/>
            <ac:spMk id="55" creationId="{B2EE1A2A-1D6F-C50D-E585-65CF27466285}"/>
          </ac:spMkLst>
        </pc:spChg>
        <pc:graphicFrameChg chg="del">
          <ac:chgData name="Antoine Dargier" userId="481a37f4-bfd0-4ed5-9683-451acf3f1d65" providerId="ADAL" clId="{51D997F2-51E1-419E-BC94-C9A33AD3AEEC}" dt="2022-12-01T13:09:45.001" v="2" actId="478"/>
          <ac:graphicFrameMkLst>
            <pc:docMk/>
            <pc:sldMk cId="2971014534" sldId="2147474098"/>
            <ac:graphicFrameMk id="56" creationId="{CB3826BF-D2B0-2A94-65A4-9FC6FD4C973A}"/>
          </ac:graphicFrameMkLst>
        </pc:graphicFrameChg>
        <pc:picChg chg="del">
          <ac:chgData name="Antoine Dargier" userId="481a37f4-bfd0-4ed5-9683-451acf3f1d65" providerId="ADAL" clId="{51D997F2-51E1-419E-BC94-C9A33AD3AEEC}" dt="2022-12-01T13:09:45.001" v="2" actId="478"/>
          <ac:picMkLst>
            <pc:docMk/>
            <pc:sldMk cId="2971014534" sldId="2147474098"/>
            <ac:picMk id="21" creationId="{BA7F5D4A-7F50-1051-C645-F55311AD4320}"/>
          </ac:picMkLst>
        </pc:picChg>
        <pc:picChg chg="del">
          <ac:chgData name="Antoine Dargier" userId="481a37f4-bfd0-4ed5-9683-451acf3f1d65" providerId="ADAL" clId="{51D997F2-51E1-419E-BC94-C9A33AD3AEEC}" dt="2022-12-01T13:09:45.001" v="2" actId="478"/>
          <ac:picMkLst>
            <pc:docMk/>
            <pc:sldMk cId="2971014534" sldId="2147474098"/>
            <ac:picMk id="22" creationId="{FA93E450-E223-4942-4E13-2E3EB108CBC8}"/>
          </ac:picMkLst>
        </pc:picChg>
        <pc:picChg chg="del">
          <ac:chgData name="Antoine Dargier" userId="481a37f4-bfd0-4ed5-9683-451acf3f1d65" providerId="ADAL" clId="{51D997F2-51E1-419E-BC94-C9A33AD3AEEC}" dt="2022-12-01T13:09:45.001" v="2" actId="478"/>
          <ac:picMkLst>
            <pc:docMk/>
            <pc:sldMk cId="2971014534" sldId="2147474098"/>
            <ac:picMk id="23" creationId="{F32F55C5-70C5-A2BC-7D1D-16335B5C585C}"/>
          </ac:picMkLst>
        </pc:picChg>
        <pc:picChg chg="add mod">
          <ac:chgData name="Antoine Dargier" userId="481a37f4-bfd0-4ed5-9683-451acf3f1d65" providerId="ADAL" clId="{51D997F2-51E1-419E-BC94-C9A33AD3AEEC}" dt="2022-12-01T14:59:05.177" v="2178" actId="1582"/>
          <ac:picMkLst>
            <pc:docMk/>
            <pc:sldMk cId="2971014534" sldId="2147474098"/>
            <ac:picMk id="32" creationId="{BF5EF5CC-51B8-3387-E08E-1D45375A11AD}"/>
          </ac:picMkLst>
        </pc:picChg>
        <pc:picChg chg="add mod">
          <ac:chgData name="Antoine Dargier" userId="481a37f4-bfd0-4ed5-9683-451acf3f1d65" providerId="ADAL" clId="{51D997F2-51E1-419E-BC94-C9A33AD3AEEC}" dt="2022-12-01T14:59:05.177" v="2178" actId="1582"/>
          <ac:picMkLst>
            <pc:docMk/>
            <pc:sldMk cId="2971014534" sldId="2147474098"/>
            <ac:picMk id="34" creationId="{A2309548-70D5-B868-3A22-5A697187EBC2}"/>
          </ac:picMkLst>
        </pc:picChg>
        <pc:picChg chg="add mod">
          <ac:chgData name="Antoine Dargier" userId="481a37f4-bfd0-4ed5-9683-451acf3f1d65" providerId="ADAL" clId="{51D997F2-51E1-419E-BC94-C9A33AD3AEEC}" dt="2022-12-01T14:59:05.177" v="2178" actId="1582"/>
          <ac:picMkLst>
            <pc:docMk/>
            <pc:sldMk cId="2971014534" sldId="2147474098"/>
            <ac:picMk id="36" creationId="{56B6A502-1B33-8C0D-EECE-C310576F4B61}"/>
          </ac:picMkLst>
        </pc:picChg>
        <pc:picChg chg="add mod">
          <ac:chgData name="Antoine Dargier" userId="481a37f4-bfd0-4ed5-9683-451acf3f1d65" providerId="ADAL" clId="{51D997F2-51E1-419E-BC94-C9A33AD3AEEC}" dt="2022-12-01T14:59:05.177" v="2178" actId="1582"/>
          <ac:picMkLst>
            <pc:docMk/>
            <pc:sldMk cId="2971014534" sldId="2147474098"/>
            <ac:picMk id="38" creationId="{0DEED0C7-B6F1-B342-A2D8-DF87B8B3333D}"/>
          </ac:picMkLst>
        </pc:picChg>
        <pc:cxnChg chg="add mod">
          <ac:chgData name="Antoine Dargier" userId="481a37f4-bfd0-4ed5-9683-451acf3f1d65" providerId="ADAL" clId="{51D997F2-51E1-419E-BC94-C9A33AD3AEEC}" dt="2022-12-01T14:32:54.329" v="1576" actId="1035"/>
          <ac:cxnSpMkLst>
            <pc:docMk/>
            <pc:sldMk cId="2971014534" sldId="2147474098"/>
            <ac:cxnSpMk id="27" creationId="{71A65460-93D6-9541-E714-6B34216EDCF0}"/>
          </ac:cxnSpMkLst>
        </pc:cxnChg>
        <pc:cxnChg chg="add mod">
          <ac:chgData name="Antoine Dargier" userId="481a37f4-bfd0-4ed5-9683-451acf3f1d65" providerId="ADAL" clId="{51D997F2-51E1-419E-BC94-C9A33AD3AEEC}" dt="2022-12-01T14:32:54.329" v="1576" actId="1035"/>
          <ac:cxnSpMkLst>
            <pc:docMk/>
            <pc:sldMk cId="2971014534" sldId="2147474098"/>
            <ac:cxnSpMk id="28" creationId="{1BFA05DB-7FEC-6755-81EC-4467B6C293E1}"/>
          </ac:cxnSpMkLst>
        </pc:cxnChg>
      </pc:sldChg>
      <pc:sldChg chg="addSp modSp mod">
        <pc:chgData name="Antoine Dargier" userId="481a37f4-bfd0-4ed5-9683-451acf3f1d65" providerId="ADAL" clId="{51D997F2-51E1-419E-BC94-C9A33AD3AEEC}" dt="2022-12-01T14:00:27.011" v="854" actId="20577"/>
        <pc:sldMkLst>
          <pc:docMk/>
          <pc:sldMk cId="530476761" sldId="2147474099"/>
        </pc:sldMkLst>
        <pc:spChg chg="add mod">
          <ac:chgData name="Antoine Dargier" userId="481a37f4-bfd0-4ed5-9683-451acf3f1d65" providerId="ADAL" clId="{51D997F2-51E1-419E-BC94-C9A33AD3AEEC}" dt="2022-12-01T13:57:22.893" v="798" actId="20577"/>
          <ac:spMkLst>
            <pc:docMk/>
            <pc:sldMk cId="530476761" sldId="2147474099"/>
            <ac:spMk id="2" creationId="{7AA817FF-7670-E23F-5B15-86ACB9D891C8}"/>
          </ac:spMkLst>
        </pc:spChg>
        <pc:spChg chg="add mod">
          <ac:chgData name="Antoine Dargier" userId="481a37f4-bfd0-4ed5-9683-451acf3f1d65" providerId="ADAL" clId="{51D997F2-51E1-419E-BC94-C9A33AD3AEEC}" dt="2022-12-01T14:00:27.011" v="854" actId="20577"/>
          <ac:spMkLst>
            <pc:docMk/>
            <pc:sldMk cId="530476761" sldId="2147474099"/>
            <ac:spMk id="9" creationId="{6B8EF2BD-B332-FD93-92CF-894E27BE4714}"/>
          </ac:spMkLst>
        </pc:spChg>
      </pc:sldChg>
      <pc:sldChg chg="modSp mod">
        <pc:chgData name="Antoine Dargier" userId="481a37f4-bfd0-4ed5-9683-451acf3f1d65" providerId="ADAL" clId="{51D997F2-51E1-419E-BC94-C9A33AD3AEEC}" dt="2022-12-01T15:11:02.760" v="2322" actId="20577"/>
        <pc:sldMkLst>
          <pc:docMk/>
          <pc:sldMk cId="1459693506" sldId="2147474100"/>
        </pc:sldMkLst>
        <pc:spChg chg="mod">
          <ac:chgData name="Antoine Dargier" userId="481a37f4-bfd0-4ed5-9683-451acf3f1d65" providerId="ADAL" clId="{51D997F2-51E1-419E-BC94-C9A33AD3AEEC}" dt="2022-12-01T15:11:02.760" v="2322" actId="20577"/>
          <ac:spMkLst>
            <pc:docMk/>
            <pc:sldMk cId="1459693506" sldId="2147474100"/>
            <ac:spMk id="2" creationId="{00000000-0000-0000-0000-000000000000}"/>
          </ac:spMkLst>
        </pc:spChg>
      </pc:sldChg>
      <pc:sldChg chg="modSp mod">
        <pc:chgData name="Antoine Dargier" userId="481a37f4-bfd0-4ed5-9683-451acf3f1d65" providerId="ADAL" clId="{51D997F2-51E1-419E-BC94-C9A33AD3AEEC}" dt="2022-12-01T15:11:06.408" v="2324" actId="20577"/>
        <pc:sldMkLst>
          <pc:docMk/>
          <pc:sldMk cId="2023449658" sldId="2147474101"/>
        </pc:sldMkLst>
        <pc:spChg chg="mod">
          <ac:chgData name="Antoine Dargier" userId="481a37f4-bfd0-4ed5-9683-451acf3f1d65" providerId="ADAL" clId="{51D997F2-51E1-419E-BC94-C9A33AD3AEEC}" dt="2022-12-01T15:11:06.408" v="2324" actId="20577"/>
          <ac:spMkLst>
            <pc:docMk/>
            <pc:sldMk cId="2023449658" sldId="2147474101"/>
            <ac:spMk id="2" creationId="{AB6F7017-CCC7-C4BF-11A1-BC6D21A0A74F}"/>
          </ac:spMkLst>
        </pc:spChg>
      </pc:sldChg>
      <pc:sldChg chg="addSp delSp modSp add mod">
        <pc:chgData name="Antoine Dargier" userId="481a37f4-bfd0-4ed5-9683-451acf3f1d65" providerId="ADAL" clId="{51D997F2-51E1-419E-BC94-C9A33AD3AEEC}" dt="2022-12-01T15:12:07.238" v="2337" actId="207"/>
        <pc:sldMkLst>
          <pc:docMk/>
          <pc:sldMk cId="3628051677" sldId="2147474103"/>
        </pc:sldMkLst>
        <pc:spChg chg="mod">
          <ac:chgData name="Antoine Dargier" userId="481a37f4-bfd0-4ed5-9683-451acf3f1d65" providerId="ADAL" clId="{51D997F2-51E1-419E-BC94-C9A33AD3AEEC}" dt="2022-12-01T15:11:16.837" v="2330" actId="20577"/>
          <ac:spMkLst>
            <pc:docMk/>
            <pc:sldMk cId="3628051677" sldId="2147474103"/>
            <ac:spMk id="2" creationId="{2E7D7E47-8883-FFA1-6233-F06BB274F14C}"/>
          </ac:spMkLst>
        </pc:spChg>
        <pc:spChg chg="del">
          <ac:chgData name="Antoine Dargier" userId="481a37f4-bfd0-4ed5-9683-451acf3f1d65" providerId="ADAL" clId="{51D997F2-51E1-419E-BC94-C9A33AD3AEEC}" dt="2022-12-01T14:52:52.878" v="1928" actId="478"/>
          <ac:spMkLst>
            <pc:docMk/>
            <pc:sldMk cId="3628051677" sldId="2147474103"/>
            <ac:spMk id="3" creationId="{8932CF8F-5064-71AF-8291-D80E22862808}"/>
          </ac:spMkLst>
        </pc:spChg>
        <pc:spChg chg="add del">
          <ac:chgData name="Antoine Dargier" userId="481a37f4-bfd0-4ed5-9683-451acf3f1d65" providerId="ADAL" clId="{51D997F2-51E1-419E-BC94-C9A33AD3AEEC}" dt="2022-12-01T15:01:59.107" v="2240" actId="22"/>
          <ac:spMkLst>
            <pc:docMk/>
            <pc:sldMk cId="3628051677" sldId="2147474103"/>
            <ac:spMk id="4" creationId="{67BF5AA2-FA5F-D968-C743-357919254118}"/>
          </ac:spMkLst>
        </pc:spChg>
        <pc:spChg chg="del">
          <ac:chgData name="Antoine Dargier" userId="481a37f4-bfd0-4ed5-9683-451acf3f1d65" providerId="ADAL" clId="{51D997F2-51E1-419E-BC94-C9A33AD3AEEC}" dt="2022-12-01T14:52:52.878" v="1928" actId="478"/>
          <ac:spMkLst>
            <pc:docMk/>
            <pc:sldMk cId="3628051677" sldId="2147474103"/>
            <ac:spMk id="4" creationId="{ED479B46-0F3B-383C-1012-4D6CBB0BF7A6}"/>
          </ac:spMkLst>
        </pc:spChg>
        <pc:spChg chg="add del mod">
          <ac:chgData name="Antoine Dargier" userId="481a37f4-bfd0-4ed5-9683-451acf3f1d65" providerId="ADAL" clId="{51D997F2-51E1-419E-BC94-C9A33AD3AEEC}" dt="2022-12-01T14:54:27.926" v="1930" actId="478"/>
          <ac:spMkLst>
            <pc:docMk/>
            <pc:sldMk cId="3628051677" sldId="2147474103"/>
            <ac:spMk id="6" creationId="{821D215F-BAA4-7D11-1CD6-120AE2BFC0A8}"/>
          </ac:spMkLst>
        </pc:spChg>
        <pc:spChg chg="del">
          <ac:chgData name="Antoine Dargier" userId="481a37f4-bfd0-4ed5-9683-451acf3f1d65" providerId="ADAL" clId="{51D997F2-51E1-419E-BC94-C9A33AD3AEEC}" dt="2022-12-01T14:52:52.878" v="1928" actId="478"/>
          <ac:spMkLst>
            <pc:docMk/>
            <pc:sldMk cId="3628051677" sldId="2147474103"/>
            <ac:spMk id="9" creationId="{1E2445DA-DEBD-FCB1-86C7-0FCDF1F8FE03}"/>
          </ac:spMkLst>
        </pc:spChg>
        <pc:spChg chg="del">
          <ac:chgData name="Antoine Dargier" userId="481a37f4-bfd0-4ed5-9683-451acf3f1d65" providerId="ADAL" clId="{51D997F2-51E1-419E-BC94-C9A33AD3AEEC}" dt="2022-12-01T14:52:52.878" v="1928" actId="478"/>
          <ac:spMkLst>
            <pc:docMk/>
            <pc:sldMk cId="3628051677" sldId="2147474103"/>
            <ac:spMk id="10" creationId="{FF47B496-FA68-C249-3BDC-3C4D78EF86EB}"/>
          </ac:spMkLst>
        </pc:spChg>
        <pc:spChg chg="del">
          <ac:chgData name="Antoine Dargier" userId="481a37f4-bfd0-4ed5-9683-451acf3f1d65" providerId="ADAL" clId="{51D997F2-51E1-419E-BC94-C9A33AD3AEEC}" dt="2022-12-01T14:52:52.878" v="1928" actId="478"/>
          <ac:spMkLst>
            <pc:docMk/>
            <pc:sldMk cId="3628051677" sldId="2147474103"/>
            <ac:spMk id="13" creationId="{240DFE70-FBF4-C274-9AB9-8F039F955E9F}"/>
          </ac:spMkLst>
        </pc:spChg>
        <pc:spChg chg="del">
          <ac:chgData name="Antoine Dargier" userId="481a37f4-bfd0-4ed5-9683-451acf3f1d65" providerId="ADAL" clId="{51D997F2-51E1-419E-BC94-C9A33AD3AEEC}" dt="2022-12-01T14:52:52.878" v="1928" actId="478"/>
          <ac:spMkLst>
            <pc:docMk/>
            <pc:sldMk cId="3628051677" sldId="2147474103"/>
            <ac:spMk id="14" creationId="{C9AF8FF5-7132-3342-96EE-BD5F1D29F7DA}"/>
          </ac:spMkLst>
        </pc:spChg>
        <pc:spChg chg="del">
          <ac:chgData name="Antoine Dargier" userId="481a37f4-bfd0-4ed5-9683-451acf3f1d65" providerId="ADAL" clId="{51D997F2-51E1-419E-BC94-C9A33AD3AEEC}" dt="2022-12-01T14:52:52.878" v="1928" actId="478"/>
          <ac:spMkLst>
            <pc:docMk/>
            <pc:sldMk cId="3628051677" sldId="2147474103"/>
            <ac:spMk id="15" creationId="{8A245215-CFB3-28B3-CCD8-0B7C599E8A88}"/>
          </ac:spMkLst>
        </pc:spChg>
        <pc:spChg chg="del">
          <ac:chgData name="Antoine Dargier" userId="481a37f4-bfd0-4ed5-9683-451acf3f1d65" providerId="ADAL" clId="{51D997F2-51E1-419E-BC94-C9A33AD3AEEC}" dt="2022-12-01T14:52:52.878" v="1928" actId="478"/>
          <ac:spMkLst>
            <pc:docMk/>
            <pc:sldMk cId="3628051677" sldId="2147474103"/>
            <ac:spMk id="16" creationId="{AA047201-1E45-435E-46EB-48F6FEA1E631}"/>
          </ac:spMkLst>
        </pc:spChg>
        <pc:graphicFrameChg chg="add mod modGraphic">
          <ac:chgData name="Antoine Dargier" userId="481a37f4-bfd0-4ed5-9683-451acf3f1d65" providerId="ADAL" clId="{51D997F2-51E1-419E-BC94-C9A33AD3AEEC}" dt="2022-12-01T15:12:07.238" v="2337" actId="207"/>
          <ac:graphicFrameMkLst>
            <pc:docMk/>
            <pc:sldMk cId="3628051677" sldId="2147474103"/>
            <ac:graphicFrameMk id="8" creationId="{53C8CAF3-A757-A24E-0AF4-6CD35504E70F}"/>
          </ac:graphicFrameMkLst>
        </pc:graphicFrameChg>
        <pc:picChg chg="del">
          <ac:chgData name="Antoine Dargier" userId="481a37f4-bfd0-4ed5-9683-451acf3f1d65" providerId="ADAL" clId="{51D997F2-51E1-419E-BC94-C9A33AD3AEEC}" dt="2022-12-01T14:52:52.878" v="1928" actId="478"/>
          <ac:picMkLst>
            <pc:docMk/>
            <pc:sldMk cId="3628051677" sldId="2147474103"/>
            <ac:picMk id="5" creationId="{18BF6404-4F2F-DAE1-5842-B9D8550B43EF}"/>
          </ac:picMkLst>
        </pc:picChg>
        <pc:picChg chg="del">
          <ac:chgData name="Antoine Dargier" userId="481a37f4-bfd0-4ed5-9683-451acf3f1d65" providerId="ADAL" clId="{51D997F2-51E1-419E-BC94-C9A33AD3AEEC}" dt="2022-12-01T14:52:52.878" v="1928" actId="478"/>
          <ac:picMkLst>
            <pc:docMk/>
            <pc:sldMk cId="3628051677" sldId="2147474103"/>
            <ac:picMk id="7" creationId="{0D95C813-7E29-9985-7206-563EDCD1F2B6}"/>
          </ac:picMkLst>
        </pc:picChg>
        <pc:picChg chg="del">
          <ac:chgData name="Antoine Dargier" userId="481a37f4-bfd0-4ed5-9683-451acf3f1d65" providerId="ADAL" clId="{51D997F2-51E1-419E-BC94-C9A33AD3AEEC}" dt="2022-12-01T14:52:52.878" v="1928" actId="478"/>
          <ac:picMkLst>
            <pc:docMk/>
            <pc:sldMk cId="3628051677" sldId="2147474103"/>
            <ac:picMk id="12" creationId="{CF9ABE79-F5D3-09BB-4CA4-DEDD94C1B391}"/>
          </ac:picMkLst>
        </pc:picChg>
      </pc:sldChg>
      <pc:sldChg chg="addSp delSp modSp add mod">
        <pc:chgData name="Antoine Dargier" userId="481a37f4-bfd0-4ed5-9683-451acf3f1d65" providerId="ADAL" clId="{51D997F2-51E1-419E-BC94-C9A33AD3AEEC}" dt="2022-12-01T15:12:20.106" v="2339" actId="14100"/>
        <pc:sldMkLst>
          <pc:docMk/>
          <pc:sldMk cId="1566582917" sldId="2147474104"/>
        </pc:sldMkLst>
        <pc:spChg chg="mod">
          <ac:chgData name="Antoine Dargier" userId="481a37f4-bfd0-4ed5-9683-451acf3f1d65" providerId="ADAL" clId="{51D997F2-51E1-419E-BC94-C9A33AD3AEEC}" dt="2022-12-01T15:11:20.628" v="2333" actId="20577"/>
          <ac:spMkLst>
            <pc:docMk/>
            <pc:sldMk cId="1566582917" sldId="2147474104"/>
            <ac:spMk id="2" creationId="{2E7D7E47-8883-FFA1-6233-F06BB274F14C}"/>
          </ac:spMkLst>
        </pc:spChg>
        <pc:graphicFrameChg chg="add mod">
          <ac:chgData name="Antoine Dargier" userId="481a37f4-bfd0-4ed5-9683-451acf3f1d65" providerId="ADAL" clId="{51D997F2-51E1-419E-BC94-C9A33AD3AEEC}" dt="2022-12-01T15:12:20.106" v="2339" actId="14100"/>
          <ac:graphicFrameMkLst>
            <pc:docMk/>
            <pc:sldMk cId="1566582917" sldId="2147474104"/>
            <ac:graphicFrameMk id="3" creationId="{5776A67C-7267-3ED4-747C-30BD4511A657}"/>
          </ac:graphicFrameMkLst>
        </pc:graphicFrameChg>
        <pc:graphicFrameChg chg="del">
          <ac:chgData name="Antoine Dargier" userId="481a37f4-bfd0-4ed5-9683-451acf3f1d65" providerId="ADAL" clId="{51D997F2-51E1-419E-BC94-C9A33AD3AEEC}" dt="2022-12-01T15:02:33.513" v="2294" actId="478"/>
          <ac:graphicFrameMkLst>
            <pc:docMk/>
            <pc:sldMk cId="1566582917" sldId="2147474104"/>
            <ac:graphicFrameMk id="8" creationId="{53C8CAF3-A757-A24E-0AF4-6CD35504E70F}"/>
          </ac:graphicFrameMkLst>
        </pc:graphicFrameChg>
      </pc:sldChg>
      <pc:sldChg chg="addSp delSp modSp add mod">
        <pc:chgData name="Antoine Dargier" userId="481a37f4-bfd0-4ed5-9683-451acf3f1d65" providerId="ADAL" clId="{51D997F2-51E1-419E-BC94-C9A33AD3AEEC}" dt="2022-12-01T15:22:09.830" v="2742" actId="1076"/>
        <pc:sldMkLst>
          <pc:docMk/>
          <pc:sldMk cId="3303072001" sldId="2147474105"/>
        </pc:sldMkLst>
        <pc:spChg chg="mod">
          <ac:chgData name="Antoine Dargier" userId="481a37f4-bfd0-4ed5-9683-451acf3f1d65" providerId="ADAL" clId="{51D997F2-51E1-419E-BC94-C9A33AD3AEEC}" dt="2022-12-01T15:17:35.810" v="2522" actId="20577"/>
          <ac:spMkLst>
            <pc:docMk/>
            <pc:sldMk cId="3303072001" sldId="2147474105"/>
            <ac:spMk id="2" creationId="{2E7D7E47-8883-FFA1-6233-F06BB274F14C}"/>
          </ac:spMkLst>
        </pc:spChg>
        <pc:spChg chg="add mod">
          <ac:chgData name="Antoine Dargier" userId="481a37f4-bfd0-4ed5-9683-451acf3f1d65" providerId="ADAL" clId="{51D997F2-51E1-419E-BC94-C9A33AD3AEEC}" dt="2022-12-01T15:17:03.371" v="2471" actId="114"/>
          <ac:spMkLst>
            <pc:docMk/>
            <pc:sldMk cId="3303072001" sldId="2147474105"/>
            <ac:spMk id="3" creationId="{39088461-4B06-E753-0BD1-2F170A0B4BA6}"/>
          </ac:spMkLst>
        </pc:spChg>
        <pc:spChg chg="add mod">
          <ac:chgData name="Antoine Dargier" userId="481a37f4-bfd0-4ed5-9683-451acf3f1d65" providerId="ADAL" clId="{51D997F2-51E1-419E-BC94-C9A33AD3AEEC}" dt="2022-12-01T15:17:12.848" v="2482" actId="20577"/>
          <ac:spMkLst>
            <pc:docMk/>
            <pc:sldMk cId="3303072001" sldId="2147474105"/>
            <ac:spMk id="5" creationId="{7722A270-0B53-4F1B-1D49-BB10E7B14802}"/>
          </ac:spMkLst>
        </pc:spChg>
        <pc:spChg chg="add mod">
          <ac:chgData name="Antoine Dargier" userId="481a37f4-bfd0-4ed5-9683-451acf3f1d65" providerId="ADAL" clId="{51D997F2-51E1-419E-BC94-C9A33AD3AEEC}" dt="2022-12-01T15:17:30.321" v="2521" actId="20577"/>
          <ac:spMkLst>
            <pc:docMk/>
            <pc:sldMk cId="3303072001" sldId="2147474105"/>
            <ac:spMk id="6" creationId="{CC0FF036-C5AC-10A5-3C4E-8FE3614C9DBD}"/>
          </ac:spMkLst>
        </pc:spChg>
        <pc:spChg chg="add mod">
          <ac:chgData name="Antoine Dargier" userId="481a37f4-bfd0-4ed5-9683-451acf3f1d65" providerId="ADAL" clId="{51D997F2-51E1-419E-BC94-C9A33AD3AEEC}" dt="2022-12-01T15:19:48.978" v="2568" actId="14100"/>
          <ac:spMkLst>
            <pc:docMk/>
            <pc:sldMk cId="3303072001" sldId="2147474105"/>
            <ac:spMk id="7" creationId="{8E9845C4-8E8F-4D5E-F0E0-7EC959356FC3}"/>
          </ac:spMkLst>
        </pc:spChg>
        <pc:spChg chg="add mod">
          <ac:chgData name="Antoine Dargier" userId="481a37f4-bfd0-4ed5-9683-451acf3f1d65" providerId="ADAL" clId="{51D997F2-51E1-419E-BC94-C9A33AD3AEEC}" dt="2022-12-01T15:19:58.193" v="2597" actId="20577"/>
          <ac:spMkLst>
            <pc:docMk/>
            <pc:sldMk cId="3303072001" sldId="2147474105"/>
            <ac:spMk id="8" creationId="{4033E0EA-6979-5AC5-D7F3-952278276FA4}"/>
          </ac:spMkLst>
        </pc:spChg>
        <pc:graphicFrameChg chg="del">
          <ac:chgData name="Antoine Dargier" userId="481a37f4-bfd0-4ed5-9683-451acf3f1d65" providerId="ADAL" clId="{51D997F2-51E1-419E-BC94-C9A33AD3AEEC}" dt="2022-12-01T15:13:48.846" v="2394" actId="478"/>
          <ac:graphicFrameMkLst>
            <pc:docMk/>
            <pc:sldMk cId="3303072001" sldId="2147474105"/>
            <ac:graphicFrameMk id="4" creationId="{E643BE91-C4F2-C582-1097-D381AA0BE329}"/>
          </ac:graphicFrameMkLst>
        </pc:graphicFrameChg>
        <pc:picChg chg="add mod">
          <ac:chgData name="Antoine Dargier" userId="481a37f4-bfd0-4ed5-9683-451acf3f1d65" providerId="ADAL" clId="{51D997F2-51E1-419E-BC94-C9A33AD3AEEC}" dt="2022-12-01T15:15:23.955" v="2409" actId="1076"/>
          <ac:picMkLst>
            <pc:docMk/>
            <pc:sldMk cId="3303072001" sldId="2147474105"/>
            <ac:picMk id="190466" creationId="{70749BB3-5AAA-717F-C8D0-878335361FC1}"/>
          </ac:picMkLst>
        </pc:picChg>
        <pc:picChg chg="add mod">
          <ac:chgData name="Antoine Dargier" userId="481a37f4-bfd0-4ed5-9683-451acf3f1d65" providerId="ADAL" clId="{51D997F2-51E1-419E-BC94-C9A33AD3AEEC}" dt="2022-12-01T15:15:13.605" v="2407" actId="1076"/>
          <ac:picMkLst>
            <pc:docMk/>
            <pc:sldMk cId="3303072001" sldId="2147474105"/>
            <ac:picMk id="190468" creationId="{B43B966C-1562-F350-EF33-DB882C47B942}"/>
          </ac:picMkLst>
        </pc:picChg>
        <pc:picChg chg="add mod">
          <ac:chgData name="Antoine Dargier" userId="481a37f4-bfd0-4ed5-9683-451acf3f1d65" providerId="ADAL" clId="{51D997F2-51E1-419E-BC94-C9A33AD3AEEC}" dt="2022-12-01T15:15:09.203" v="2406" actId="1076"/>
          <ac:picMkLst>
            <pc:docMk/>
            <pc:sldMk cId="3303072001" sldId="2147474105"/>
            <ac:picMk id="190470" creationId="{9ED905B0-CAD3-27E8-377C-6C4208A7459B}"/>
          </ac:picMkLst>
        </pc:picChg>
        <pc:cxnChg chg="add mod">
          <ac:chgData name="Antoine Dargier" userId="481a37f4-bfd0-4ed5-9683-451acf3f1d65" providerId="ADAL" clId="{51D997F2-51E1-419E-BC94-C9A33AD3AEEC}" dt="2022-12-01T15:22:09.830" v="2742" actId="1076"/>
          <ac:cxnSpMkLst>
            <pc:docMk/>
            <pc:sldMk cId="3303072001" sldId="2147474105"/>
            <ac:cxnSpMk id="9" creationId="{F51DA04C-E325-83E4-9179-6808931447C2}"/>
          </ac:cxnSpMkLst>
        </pc:cxnChg>
      </pc:sldChg>
      <pc:sldChg chg="addSp delSp modSp add mod">
        <pc:chgData name="Antoine Dargier" userId="481a37f4-bfd0-4ed5-9683-451acf3f1d65" providerId="ADAL" clId="{51D997F2-51E1-419E-BC94-C9A33AD3AEEC}" dt="2022-12-01T15:22:29.516" v="2748" actId="14100"/>
        <pc:sldMkLst>
          <pc:docMk/>
          <pc:sldMk cId="1623143169" sldId="2147474107"/>
        </pc:sldMkLst>
        <pc:spChg chg="mod">
          <ac:chgData name="Antoine Dargier" userId="481a37f4-bfd0-4ed5-9683-451acf3f1d65" providerId="ADAL" clId="{51D997F2-51E1-419E-BC94-C9A33AD3AEEC}" dt="2022-12-01T15:17:42.405" v="2525" actId="20577"/>
          <ac:spMkLst>
            <pc:docMk/>
            <pc:sldMk cId="1623143169" sldId="2147474107"/>
            <ac:spMk id="2" creationId="{2E7D7E47-8883-FFA1-6233-F06BB274F14C}"/>
          </ac:spMkLst>
        </pc:spChg>
        <pc:spChg chg="del">
          <ac:chgData name="Antoine Dargier" userId="481a37f4-bfd0-4ed5-9683-451acf3f1d65" providerId="ADAL" clId="{51D997F2-51E1-419E-BC94-C9A33AD3AEEC}" dt="2022-12-01T15:17:46.425" v="2526" actId="478"/>
          <ac:spMkLst>
            <pc:docMk/>
            <pc:sldMk cId="1623143169" sldId="2147474107"/>
            <ac:spMk id="3" creationId="{39088461-4B06-E753-0BD1-2F170A0B4BA6}"/>
          </ac:spMkLst>
        </pc:spChg>
        <pc:spChg chg="del">
          <ac:chgData name="Antoine Dargier" userId="481a37f4-bfd0-4ed5-9683-451acf3f1d65" providerId="ADAL" clId="{51D997F2-51E1-419E-BC94-C9A33AD3AEEC}" dt="2022-12-01T15:17:46.425" v="2526" actId="478"/>
          <ac:spMkLst>
            <pc:docMk/>
            <pc:sldMk cId="1623143169" sldId="2147474107"/>
            <ac:spMk id="5" creationId="{7722A270-0B53-4F1B-1D49-BB10E7B14802}"/>
          </ac:spMkLst>
        </pc:spChg>
        <pc:spChg chg="del">
          <ac:chgData name="Antoine Dargier" userId="481a37f4-bfd0-4ed5-9683-451acf3f1d65" providerId="ADAL" clId="{51D997F2-51E1-419E-BC94-C9A33AD3AEEC}" dt="2022-12-01T15:17:46.425" v="2526" actId="478"/>
          <ac:spMkLst>
            <pc:docMk/>
            <pc:sldMk cId="1623143169" sldId="2147474107"/>
            <ac:spMk id="6" creationId="{CC0FF036-C5AC-10A5-3C4E-8FE3614C9DBD}"/>
          </ac:spMkLst>
        </pc:spChg>
        <pc:spChg chg="add mod">
          <ac:chgData name="Antoine Dargier" userId="481a37f4-bfd0-4ed5-9683-451acf3f1d65" providerId="ADAL" clId="{51D997F2-51E1-419E-BC94-C9A33AD3AEEC}" dt="2022-12-01T15:20:03.757" v="2605" actId="20577"/>
          <ac:spMkLst>
            <pc:docMk/>
            <pc:sldMk cId="1623143169" sldId="2147474107"/>
            <ac:spMk id="12" creationId="{E1AF0D0D-EAD8-E536-FEBE-5A2344146A93}"/>
          </ac:spMkLst>
        </pc:spChg>
        <pc:spChg chg="add mod">
          <ac:chgData name="Antoine Dargier" userId="481a37f4-bfd0-4ed5-9683-451acf3f1d65" providerId="ADAL" clId="{51D997F2-51E1-419E-BC94-C9A33AD3AEEC}" dt="2022-12-01T15:20:12.794" v="2615" actId="20577"/>
          <ac:spMkLst>
            <pc:docMk/>
            <pc:sldMk cId="1623143169" sldId="2147474107"/>
            <ac:spMk id="13" creationId="{82A2B08A-6E20-6311-6A1B-A8DD556CF105}"/>
          </ac:spMkLst>
        </pc:spChg>
        <pc:spChg chg="add mod">
          <ac:chgData name="Antoine Dargier" userId="481a37f4-bfd0-4ed5-9683-451acf3f1d65" providerId="ADAL" clId="{51D997F2-51E1-419E-BC94-C9A33AD3AEEC}" dt="2022-12-01T15:20:21.164" v="2626" actId="20577"/>
          <ac:spMkLst>
            <pc:docMk/>
            <pc:sldMk cId="1623143169" sldId="2147474107"/>
            <ac:spMk id="14" creationId="{2833091B-E3F0-409A-3F09-316352CA0368}"/>
          </ac:spMkLst>
        </pc:spChg>
        <pc:spChg chg="add mod">
          <ac:chgData name="Antoine Dargier" userId="481a37f4-bfd0-4ed5-9683-451acf3f1d65" providerId="ADAL" clId="{51D997F2-51E1-419E-BC94-C9A33AD3AEEC}" dt="2022-12-01T15:20:45.375" v="2661" actId="20577"/>
          <ac:spMkLst>
            <pc:docMk/>
            <pc:sldMk cId="1623143169" sldId="2147474107"/>
            <ac:spMk id="15" creationId="{6E9B679E-EAF2-69C6-3F22-35A9E5556465}"/>
          </ac:spMkLst>
        </pc:spChg>
        <pc:spChg chg="add mod">
          <ac:chgData name="Antoine Dargier" userId="481a37f4-bfd0-4ed5-9683-451acf3f1d65" providerId="ADAL" clId="{51D997F2-51E1-419E-BC94-C9A33AD3AEEC}" dt="2022-12-01T15:21:06.931" v="2693" actId="14100"/>
          <ac:spMkLst>
            <pc:docMk/>
            <pc:sldMk cId="1623143169" sldId="2147474107"/>
            <ac:spMk id="16" creationId="{C5B6EFFB-6E0F-827D-2C19-99AAB58C96E7}"/>
          </ac:spMkLst>
        </pc:spChg>
        <pc:spChg chg="add mod">
          <ac:chgData name="Antoine Dargier" userId="481a37f4-bfd0-4ed5-9683-451acf3f1d65" providerId="ADAL" clId="{51D997F2-51E1-419E-BC94-C9A33AD3AEEC}" dt="2022-12-01T15:21:55.840" v="2740" actId="113"/>
          <ac:spMkLst>
            <pc:docMk/>
            <pc:sldMk cId="1623143169" sldId="2147474107"/>
            <ac:spMk id="17" creationId="{ACB54C04-863D-57A6-A618-D628A2CD5644}"/>
          </ac:spMkLst>
        </pc:spChg>
        <pc:picChg chg="add mod">
          <ac:chgData name="Antoine Dargier" userId="481a37f4-bfd0-4ed5-9683-451acf3f1d65" providerId="ADAL" clId="{51D997F2-51E1-419E-BC94-C9A33AD3AEEC}" dt="2022-12-01T15:18:30.678" v="2530" actId="1076"/>
          <ac:picMkLst>
            <pc:docMk/>
            <pc:sldMk cId="1623143169" sldId="2147474107"/>
            <ac:picMk id="7" creationId="{4914D5E7-994C-EB72-2086-00F4F887E780}"/>
          </ac:picMkLst>
        </pc:picChg>
        <pc:picChg chg="add mod">
          <ac:chgData name="Antoine Dargier" userId="481a37f4-bfd0-4ed5-9683-451acf3f1d65" providerId="ADAL" clId="{51D997F2-51E1-419E-BC94-C9A33AD3AEEC}" dt="2022-12-01T15:18:47.216" v="2532" actId="1076"/>
          <ac:picMkLst>
            <pc:docMk/>
            <pc:sldMk cId="1623143169" sldId="2147474107"/>
            <ac:picMk id="9" creationId="{CD58C8C5-810B-FCFE-925D-BCC9E18300B1}"/>
          </ac:picMkLst>
        </pc:picChg>
        <pc:picChg chg="add mod">
          <ac:chgData name="Antoine Dargier" userId="481a37f4-bfd0-4ed5-9683-451acf3f1d65" providerId="ADAL" clId="{51D997F2-51E1-419E-BC94-C9A33AD3AEEC}" dt="2022-12-01T15:20:25.604" v="2636" actId="1035"/>
          <ac:picMkLst>
            <pc:docMk/>
            <pc:sldMk cId="1623143169" sldId="2147474107"/>
            <ac:picMk id="11" creationId="{F2D78EFD-9B1F-FBB3-343C-DF6597549773}"/>
          </ac:picMkLst>
        </pc:picChg>
        <pc:picChg chg="del">
          <ac:chgData name="Antoine Dargier" userId="481a37f4-bfd0-4ed5-9683-451acf3f1d65" providerId="ADAL" clId="{51D997F2-51E1-419E-BC94-C9A33AD3AEEC}" dt="2022-12-01T15:17:46.425" v="2526" actId="478"/>
          <ac:picMkLst>
            <pc:docMk/>
            <pc:sldMk cId="1623143169" sldId="2147474107"/>
            <ac:picMk id="190466" creationId="{70749BB3-5AAA-717F-C8D0-878335361FC1}"/>
          </ac:picMkLst>
        </pc:picChg>
        <pc:picChg chg="del">
          <ac:chgData name="Antoine Dargier" userId="481a37f4-bfd0-4ed5-9683-451acf3f1d65" providerId="ADAL" clId="{51D997F2-51E1-419E-BC94-C9A33AD3AEEC}" dt="2022-12-01T15:17:46.425" v="2526" actId="478"/>
          <ac:picMkLst>
            <pc:docMk/>
            <pc:sldMk cId="1623143169" sldId="2147474107"/>
            <ac:picMk id="190468" creationId="{B43B966C-1562-F350-EF33-DB882C47B942}"/>
          </ac:picMkLst>
        </pc:picChg>
        <pc:picChg chg="del">
          <ac:chgData name="Antoine Dargier" userId="481a37f4-bfd0-4ed5-9683-451acf3f1d65" providerId="ADAL" clId="{51D997F2-51E1-419E-BC94-C9A33AD3AEEC}" dt="2022-12-01T15:17:46.425" v="2526" actId="478"/>
          <ac:picMkLst>
            <pc:docMk/>
            <pc:sldMk cId="1623143169" sldId="2147474107"/>
            <ac:picMk id="190470" creationId="{9ED905B0-CAD3-27E8-377C-6C4208A7459B}"/>
          </ac:picMkLst>
        </pc:picChg>
        <pc:cxnChg chg="add mod">
          <ac:chgData name="Antoine Dargier" userId="481a37f4-bfd0-4ed5-9683-451acf3f1d65" providerId="ADAL" clId="{51D997F2-51E1-419E-BC94-C9A33AD3AEEC}" dt="2022-12-01T15:22:15.528" v="2744" actId="1076"/>
          <ac:cxnSpMkLst>
            <pc:docMk/>
            <pc:sldMk cId="1623143169" sldId="2147474107"/>
            <ac:cxnSpMk id="18" creationId="{80CC6AD2-F973-0E63-7447-703C1065D8D5}"/>
          </ac:cxnSpMkLst>
        </pc:cxnChg>
        <pc:cxnChg chg="add mod">
          <ac:chgData name="Antoine Dargier" userId="481a37f4-bfd0-4ed5-9683-451acf3f1d65" providerId="ADAL" clId="{51D997F2-51E1-419E-BC94-C9A33AD3AEEC}" dt="2022-12-01T15:22:29.516" v="2748" actId="14100"/>
          <ac:cxnSpMkLst>
            <pc:docMk/>
            <pc:sldMk cId="1623143169" sldId="2147474107"/>
            <ac:cxnSpMk id="19" creationId="{C94AE6D8-D2F0-3389-5159-B4D223E33553}"/>
          </ac:cxnSpMkLst>
        </pc:cxnChg>
      </pc:sldChg>
      <pc:sldChg chg="del">
        <pc:chgData name="Antoine Dargier" userId="481a37f4-bfd0-4ed5-9683-451acf3f1d65" providerId="ADAL" clId="{51D997F2-51E1-419E-BC94-C9A33AD3AEEC}" dt="2022-12-01T15:55:12.019" v="2749" actId="47"/>
        <pc:sldMkLst>
          <pc:docMk/>
          <pc:sldMk cId="42054733" sldId="2147474108"/>
        </pc:sldMkLst>
      </pc:sldChg>
    </pc:docChg>
  </pc:docChgLst>
  <pc:docChgLst>
    <pc:chgData name="Paul Kuntz (Student at CentraleSupelec)" userId="13e0a3e2-9892-41c3-807e-2ca7b67a9271" providerId="ADAL" clId="{679907DC-319F-3E4D-9784-A4DB45D2E747}"/>
    <pc:docChg chg="undo redo custSel addSld delSld modSld sldOrd modMainMaster addSection modSection">
      <pc:chgData name="Paul Kuntz (Student at CentraleSupelec)" userId="13e0a3e2-9892-41c3-807e-2ca7b67a9271" providerId="ADAL" clId="{679907DC-319F-3E4D-9784-A4DB45D2E747}" dt="2022-11-25T10:42:21.988" v="8849" actId="1076"/>
      <pc:docMkLst>
        <pc:docMk/>
      </pc:docMkLst>
      <pc:sldChg chg="addSp delSp modSp mod">
        <pc:chgData name="Paul Kuntz (Student at CentraleSupelec)" userId="13e0a3e2-9892-41c3-807e-2ca7b67a9271" providerId="ADAL" clId="{679907DC-319F-3E4D-9784-A4DB45D2E747}" dt="2022-11-25T10:40:08.726" v="8779" actId="1036"/>
        <pc:sldMkLst>
          <pc:docMk/>
          <pc:sldMk cId="0" sldId="258"/>
        </pc:sldMkLst>
        <pc:spChg chg="mod">
          <ac:chgData name="Paul Kuntz (Student at CentraleSupelec)" userId="13e0a3e2-9892-41c3-807e-2ca7b67a9271" providerId="ADAL" clId="{679907DC-319F-3E4D-9784-A4DB45D2E747}" dt="2022-11-25T10:40:08.726" v="8779" actId="1036"/>
          <ac:spMkLst>
            <pc:docMk/>
            <pc:sldMk cId="0" sldId="258"/>
            <ac:spMk id="6" creationId="{00000000-0000-0000-0000-000000000000}"/>
          </ac:spMkLst>
        </pc:spChg>
        <pc:spChg chg="mod">
          <ac:chgData name="Paul Kuntz (Student at CentraleSupelec)" userId="13e0a3e2-9892-41c3-807e-2ca7b67a9271" providerId="ADAL" clId="{679907DC-319F-3E4D-9784-A4DB45D2E747}" dt="2022-11-24T18:23:18.065" v="2362"/>
          <ac:spMkLst>
            <pc:docMk/>
            <pc:sldMk cId="0" sldId="258"/>
            <ac:spMk id="12" creationId="{00000000-0000-0000-0000-000000000000}"/>
          </ac:spMkLst>
        </pc:spChg>
        <pc:grpChg chg="del">
          <ac:chgData name="Paul Kuntz (Student at CentraleSupelec)" userId="13e0a3e2-9892-41c3-807e-2ca7b67a9271" providerId="ADAL" clId="{679907DC-319F-3E4D-9784-A4DB45D2E747}" dt="2022-11-25T10:40:05.500" v="8774" actId="478"/>
          <ac:grpSpMkLst>
            <pc:docMk/>
            <pc:sldMk cId="0" sldId="258"/>
            <ac:grpSpMk id="27" creationId="{6C13903A-411A-563E-9072-763FA3B1134E}"/>
          </ac:grpSpMkLst>
        </pc:grpChg>
        <pc:picChg chg="add del">
          <ac:chgData name="Paul Kuntz (Student at CentraleSupelec)" userId="13e0a3e2-9892-41c3-807e-2ca7b67a9271" providerId="ADAL" clId="{679907DC-319F-3E4D-9784-A4DB45D2E747}" dt="2022-11-24T17:56:26.260" v="1333" actId="478"/>
          <ac:picMkLst>
            <pc:docMk/>
            <pc:sldMk cId="0" sldId="258"/>
            <ac:picMk id="11" creationId="{00000000-0000-0000-0000-000000000000}"/>
          </ac:picMkLst>
        </pc:picChg>
      </pc:sldChg>
      <pc:sldChg chg="del">
        <pc:chgData name="Paul Kuntz (Student at CentraleSupelec)" userId="13e0a3e2-9892-41c3-807e-2ca7b67a9271" providerId="ADAL" clId="{679907DC-319F-3E4D-9784-A4DB45D2E747}" dt="2022-11-23T14:24:52.097" v="620" actId="2696"/>
        <pc:sldMkLst>
          <pc:docMk/>
          <pc:sldMk cId="0" sldId="259"/>
        </pc:sldMkLst>
      </pc:sldChg>
      <pc:sldChg chg="del">
        <pc:chgData name="Paul Kuntz (Student at CentraleSupelec)" userId="13e0a3e2-9892-41c3-807e-2ca7b67a9271" providerId="ADAL" clId="{679907DC-319F-3E4D-9784-A4DB45D2E747}" dt="2022-11-24T18:06:47.177" v="2048" actId="2696"/>
        <pc:sldMkLst>
          <pc:docMk/>
          <pc:sldMk cId="0" sldId="260"/>
        </pc:sldMkLst>
      </pc:sldChg>
      <pc:sldChg chg="mod modTransition modShow">
        <pc:chgData name="Paul Kuntz (Student at CentraleSupelec)" userId="13e0a3e2-9892-41c3-807e-2ca7b67a9271" providerId="ADAL" clId="{679907DC-319F-3E4D-9784-A4DB45D2E747}" dt="2022-11-25T10:40:35.603" v="8816" actId="729"/>
        <pc:sldMkLst>
          <pc:docMk/>
          <pc:sldMk cId="1593433040" sldId="261"/>
        </pc:sldMkLst>
      </pc:sldChg>
      <pc:sldChg chg="addSp modSp mod modShow">
        <pc:chgData name="Paul Kuntz (Student at CentraleSupelec)" userId="13e0a3e2-9892-41c3-807e-2ca7b67a9271" providerId="ADAL" clId="{679907DC-319F-3E4D-9784-A4DB45D2E747}" dt="2022-11-25T10:40:28.075" v="8815" actId="729"/>
        <pc:sldMkLst>
          <pc:docMk/>
          <pc:sldMk cId="3676255466" sldId="262"/>
        </pc:sldMkLst>
        <pc:spChg chg="add mod">
          <ac:chgData name="Paul Kuntz (Student at CentraleSupelec)" userId="13e0a3e2-9892-41c3-807e-2ca7b67a9271" providerId="ADAL" clId="{679907DC-319F-3E4D-9784-A4DB45D2E747}" dt="2022-11-25T10:40:22.342" v="8814" actId="20577"/>
          <ac:spMkLst>
            <pc:docMk/>
            <pc:sldMk cId="3676255466" sldId="262"/>
            <ac:spMk id="2" creationId="{F5D42F7E-F516-C117-16D1-E4BEBD17B988}"/>
          </ac:spMkLst>
        </pc:spChg>
      </pc:sldChg>
      <pc:sldChg chg="modSp">
        <pc:chgData name="Paul Kuntz (Student at CentraleSupelec)" userId="13e0a3e2-9892-41c3-807e-2ca7b67a9271" providerId="ADAL" clId="{679907DC-319F-3E4D-9784-A4DB45D2E747}" dt="2022-11-24T18:23:18.065" v="2362"/>
        <pc:sldMkLst>
          <pc:docMk/>
          <pc:sldMk cId="407782062" sldId="270"/>
        </pc:sldMkLst>
        <pc:spChg chg="mod">
          <ac:chgData name="Paul Kuntz (Student at CentraleSupelec)" userId="13e0a3e2-9892-41c3-807e-2ca7b67a9271" providerId="ADAL" clId="{679907DC-319F-3E4D-9784-A4DB45D2E747}" dt="2022-11-24T18:23:18.065" v="2362"/>
          <ac:spMkLst>
            <pc:docMk/>
            <pc:sldMk cId="407782062" sldId="270"/>
            <ac:spMk id="5" creationId="{9EBC0C74-7BB0-4F19-917C-3BE237D82935}"/>
          </ac:spMkLst>
        </pc:spChg>
        <pc:spChg chg="mod">
          <ac:chgData name="Paul Kuntz (Student at CentraleSupelec)" userId="13e0a3e2-9892-41c3-807e-2ca7b67a9271" providerId="ADAL" clId="{679907DC-319F-3E4D-9784-A4DB45D2E747}" dt="2022-11-24T18:23:18.065" v="2362"/>
          <ac:spMkLst>
            <pc:docMk/>
            <pc:sldMk cId="407782062" sldId="270"/>
            <ac:spMk id="8" creationId="{6A693475-C2D2-42B2-8B58-4963316E4D17}"/>
          </ac:spMkLst>
        </pc:spChg>
      </pc:sldChg>
      <pc:sldChg chg="del">
        <pc:chgData name="Paul Kuntz (Student at CentraleSupelec)" userId="13e0a3e2-9892-41c3-807e-2ca7b67a9271" providerId="ADAL" clId="{679907DC-319F-3E4D-9784-A4DB45D2E747}" dt="2022-11-23T14:24:56.709" v="622" actId="2696"/>
        <pc:sldMkLst>
          <pc:docMk/>
          <pc:sldMk cId="3155115380" sldId="275"/>
        </pc:sldMkLst>
      </pc:sldChg>
      <pc:sldChg chg="addSp delSp modSp new mod">
        <pc:chgData name="Paul Kuntz (Student at CentraleSupelec)" userId="13e0a3e2-9892-41c3-807e-2ca7b67a9271" providerId="ADAL" clId="{679907DC-319F-3E4D-9784-A4DB45D2E747}" dt="2022-11-24T18:23:18.065" v="2362"/>
        <pc:sldMkLst>
          <pc:docMk/>
          <pc:sldMk cId="205902318" sldId="277"/>
        </pc:sldMkLst>
        <pc:spChg chg="mod">
          <ac:chgData name="Paul Kuntz (Student at CentraleSupelec)" userId="13e0a3e2-9892-41c3-807e-2ca7b67a9271" providerId="ADAL" clId="{679907DC-319F-3E4D-9784-A4DB45D2E747}" dt="2022-11-24T18:23:18.065" v="2362"/>
          <ac:spMkLst>
            <pc:docMk/>
            <pc:sldMk cId="205902318" sldId="277"/>
            <ac:spMk id="2" creationId="{2E7D7E47-8883-FFA1-6233-F06BB274F14C}"/>
          </ac:spMkLst>
        </pc:spChg>
        <pc:graphicFrameChg chg="add del modGraphic">
          <ac:chgData name="Paul Kuntz (Student at CentraleSupelec)" userId="13e0a3e2-9892-41c3-807e-2ca7b67a9271" providerId="ADAL" clId="{679907DC-319F-3E4D-9784-A4DB45D2E747}" dt="2022-11-22T14:05:51.771" v="16" actId="478"/>
          <ac:graphicFrameMkLst>
            <pc:docMk/>
            <pc:sldMk cId="205902318" sldId="277"/>
            <ac:graphicFrameMk id="3" creationId="{C2BE88AC-43E2-4F11-717C-FC26DAC0CFE8}"/>
          </ac:graphicFrameMkLst>
        </pc:graphicFrameChg>
        <pc:graphicFrameChg chg="add mod modGraphic">
          <ac:chgData name="Paul Kuntz (Student at CentraleSupelec)" userId="13e0a3e2-9892-41c3-807e-2ca7b67a9271" providerId="ADAL" clId="{679907DC-319F-3E4D-9784-A4DB45D2E747}" dt="2022-11-22T14:36:12.736" v="455" actId="20577"/>
          <ac:graphicFrameMkLst>
            <pc:docMk/>
            <pc:sldMk cId="205902318" sldId="277"/>
            <ac:graphicFrameMk id="4" creationId="{E643BE91-C4F2-C582-1097-D381AA0BE329}"/>
          </ac:graphicFrameMkLst>
        </pc:graphicFrameChg>
      </pc:sldChg>
      <pc:sldChg chg="new del">
        <pc:chgData name="Paul Kuntz (Student at CentraleSupelec)" userId="13e0a3e2-9892-41c3-807e-2ca7b67a9271" providerId="ADAL" clId="{679907DC-319F-3E4D-9784-A4DB45D2E747}" dt="2022-11-22T14:04:09.261" v="1" actId="2696"/>
        <pc:sldMkLst>
          <pc:docMk/>
          <pc:sldMk cId="2440578268" sldId="277"/>
        </pc:sldMkLst>
      </pc:sldChg>
      <pc:sldChg chg="del">
        <pc:chgData name="Paul Kuntz (Student at CentraleSupelec)" userId="13e0a3e2-9892-41c3-807e-2ca7b67a9271" providerId="ADAL" clId="{679907DC-319F-3E4D-9784-A4DB45D2E747}" dt="2022-11-25T10:37:26.615" v="8698" actId="2696"/>
        <pc:sldMkLst>
          <pc:docMk/>
          <pc:sldMk cId="3359315074" sldId="278"/>
        </pc:sldMkLst>
      </pc:sldChg>
      <pc:sldChg chg="mod modShow">
        <pc:chgData name="Paul Kuntz (Student at CentraleSupelec)" userId="13e0a3e2-9892-41c3-807e-2ca7b67a9271" providerId="ADAL" clId="{679907DC-319F-3E4D-9784-A4DB45D2E747}" dt="2022-11-25T10:40:35.603" v="8816" actId="729"/>
        <pc:sldMkLst>
          <pc:docMk/>
          <pc:sldMk cId="31402586" sldId="279"/>
        </pc:sldMkLst>
      </pc:sldChg>
      <pc:sldChg chg="modSp">
        <pc:chgData name="Paul Kuntz (Student at CentraleSupelec)" userId="13e0a3e2-9892-41c3-807e-2ca7b67a9271" providerId="ADAL" clId="{679907DC-319F-3E4D-9784-A4DB45D2E747}" dt="2022-11-24T18:23:18.065" v="2362"/>
        <pc:sldMkLst>
          <pc:docMk/>
          <pc:sldMk cId="1312230870" sldId="280"/>
        </pc:sldMkLst>
        <pc:spChg chg="mod">
          <ac:chgData name="Paul Kuntz (Student at CentraleSupelec)" userId="13e0a3e2-9892-41c3-807e-2ca7b67a9271" providerId="ADAL" clId="{679907DC-319F-3E4D-9784-A4DB45D2E747}" dt="2022-11-24T18:23:18.065" v="2362"/>
          <ac:spMkLst>
            <pc:docMk/>
            <pc:sldMk cId="1312230870" sldId="280"/>
            <ac:spMk id="12" creationId="{00000000-0000-0000-0000-000000000000}"/>
          </ac:spMkLst>
        </pc:spChg>
      </pc:sldChg>
      <pc:sldChg chg="mod modShow">
        <pc:chgData name="Paul Kuntz (Student at CentraleSupelec)" userId="13e0a3e2-9892-41c3-807e-2ca7b67a9271" providerId="ADAL" clId="{679907DC-319F-3E4D-9784-A4DB45D2E747}" dt="2022-11-25T10:40:35.603" v="8816" actId="729"/>
        <pc:sldMkLst>
          <pc:docMk/>
          <pc:sldMk cId="2635926730" sldId="282"/>
        </pc:sldMkLst>
      </pc:sldChg>
      <pc:sldChg chg="del">
        <pc:chgData name="Paul Kuntz (Student at CentraleSupelec)" userId="13e0a3e2-9892-41c3-807e-2ca7b67a9271" providerId="ADAL" clId="{679907DC-319F-3E4D-9784-A4DB45D2E747}" dt="2022-11-24T18:07:52.964" v="2050" actId="2696"/>
        <pc:sldMkLst>
          <pc:docMk/>
          <pc:sldMk cId="1965452385" sldId="283"/>
        </pc:sldMkLst>
      </pc:sldChg>
      <pc:sldChg chg="modSp new del mod">
        <pc:chgData name="Paul Kuntz (Student at CentraleSupelec)" userId="13e0a3e2-9892-41c3-807e-2ca7b67a9271" providerId="ADAL" clId="{679907DC-319F-3E4D-9784-A4DB45D2E747}" dt="2022-11-23T14:23:26.066" v="550" actId="2696"/>
        <pc:sldMkLst>
          <pc:docMk/>
          <pc:sldMk cId="52731932" sldId="284"/>
        </pc:sldMkLst>
        <pc:spChg chg="mod">
          <ac:chgData name="Paul Kuntz (Student at CentraleSupelec)" userId="13e0a3e2-9892-41c3-807e-2ca7b67a9271" providerId="ADAL" clId="{679907DC-319F-3E4D-9784-A4DB45D2E747}" dt="2022-11-23T14:23:24.712" v="549" actId="20577"/>
          <ac:spMkLst>
            <pc:docMk/>
            <pc:sldMk cId="52731932" sldId="284"/>
            <ac:spMk id="2" creationId="{8860616B-1FA3-3090-3DD7-85B8D1059AD9}"/>
          </ac:spMkLst>
        </pc:spChg>
      </pc:sldChg>
      <pc:sldChg chg="new del">
        <pc:chgData name="Paul Kuntz (Student at CentraleSupelec)" userId="13e0a3e2-9892-41c3-807e-2ca7b67a9271" providerId="ADAL" clId="{679907DC-319F-3E4D-9784-A4DB45D2E747}" dt="2022-11-23T14:22:10.441" v="480" actId="680"/>
        <pc:sldMkLst>
          <pc:docMk/>
          <pc:sldMk cId="2304482973" sldId="284"/>
        </pc:sldMkLst>
      </pc:sldChg>
      <pc:sldChg chg="new del">
        <pc:chgData name="Paul Kuntz (Student at CentraleSupelec)" userId="13e0a3e2-9892-41c3-807e-2ca7b67a9271" providerId="ADAL" clId="{679907DC-319F-3E4D-9784-A4DB45D2E747}" dt="2022-11-23T14:23:49.876" v="552" actId="2696"/>
        <pc:sldMkLst>
          <pc:docMk/>
          <pc:sldMk cId="3313324805" sldId="284"/>
        </pc:sldMkLst>
      </pc:sldChg>
      <pc:sldChg chg="addSp modSp add del mod setBg">
        <pc:chgData name="Paul Kuntz (Student at CentraleSupelec)" userId="13e0a3e2-9892-41c3-807e-2ca7b67a9271" providerId="ADAL" clId="{679907DC-319F-3E4D-9784-A4DB45D2E747}" dt="2022-11-24T18:53:35.679" v="2826" actId="2696"/>
        <pc:sldMkLst>
          <pc:docMk/>
          <pc:sldMk cId="3435494425" sldId="284"/>
        </pc:sldMkLst>
        <pc:spChg chg="mod">
          <ac:chgData name="Paul Kuntz (Student at CentraleSupelec)" userId="13e0a3e2-9892-41c3-807e-2ca7b67a9271" providerId="ADAL" clId="{679907DC-319F-3E4D-9784-A4DB45D2E747}" dt="2022-11-23T14:54:25.421" v="624" actId="1076"/>
          <ac:spMkLst>
            <pc:docMk/>
            <pc:sldMk cId="3435494425" sldId="284"/>
            <ac:spMk id="2" creationId="{00000000-0000-0000-0000-000000000000}"/>
          </ac:spMkLst>
        </pc:spChg>
        <pc:graphicFrameChg chg="add mod">
          <ac:chgData name="Paul Kuntz (Student at CentraleSupelec)" userId="13e0a3e2-9892-41c3-807e-2ca7b67a9271" providerId="ADAL" clId="{679907DC-319F-3E4D-9784-A4DB45D2E747}" dt="2022-11-23T15:14:48.043" v="628" actId="14100"/>
          <ac:graphicFrameMkLst>
            <pc:docMk/>
            <pc:sldMk cId="3435494425" sldId="284"/>
            <ac:graphicFrameMk id="3" creationId="{6BF42E3F-1D15-9538-B5D4-9953836C7559}"/>
          </ac:graphicFrameMkLst>
        </pc:graphicFrameChg>
      </pc:sldChg>
      <pc:sldChg chg="add mod setBg modShow">
        <pc:chgData name="Paul Kuntz (Student at CentraleSupelec)" userId="13e0a3e2-9892-41c3-807e-2ca7b67a9271" providerId="ADAL" clId="{679907DC-319F-3E4D-9784-A4DB45D2E747}" dt="2022-11-25T10:40:35.603" v="8816" actId="729"/>
        <pc:sldMkLst>
          <pc:docMk/>
          <pc:sldMk cId="3920886680" sldId="285"/>
        </pc:sldMkLst>
      </pc:sldChg>
      <pc:sldChg chg="add mod setBg modShow">
        <pc:chgData name="Paul Kuntz (Student at CentraleSupelec)" userId="13e0a3e2-9892-41c3-807e-2ca7b67a9271" providerId="ADAL" clId="{679907DC-319F-3E4D-9784-A4DB45D2E747}" dt="2022-11-25T10:40:35.603" v="8816" actId="729"/>
        <pc:sldMkLst>
          <pc:docMk/>
          <pc:sldMk cId="604507522" sldId="286"/>
        </pc:sldMkLst>
      </pc:sldChg>
      <pc:sldChg chg="addSp delSp modSp new del mod">
        <pc:chgData name="Paul Kuntz (Student at CentraleSupelec)" userId="13e0a3e2-9892-41c3-807e-2ca7b67a9271" providerId="ADAL" clId="{679907DC-319F-3E4D-9784-A4DB45D2E747}" dt="2022-11-24T18:39:18.973" v="2546" actId="2696"/>
        <pc:sldMkLst>
          <pc:docMk/>
          <pc:sldMk cId="3841575228" sldId="288"/>
        </pc:sldMkLst>
        <pc:spChg chg="mod">
          <ac:chgData name="Paul Kuntz (Student at CentraleSupelec)" userId="13e0a3e2-9892-41c3-807e-2ca7b67a9271" providerId="ADAL" clId="{679907DC-319F-3E4D-9784-A4DB45D2E747}" dt="2022-11-24T18:23:18.065" v="2362"/>
          <ac:spMkLst>
            <pc:docMk/>
            <pc:sldMk cId="3841575228" sldId="288"/>
            <ac:spMk id="2" creationId="{ED5D74FC-59E8-2451-614B-CB26174885A8}"/>
          </ac:spMkLst>
        </pc:spChg>
        <pc:spChg chg="add mod">
          <ac:chgData name="Paul Kuntz (Student at CentraleSupelec)" userId="13e0a3e2-9892-41c3-807e-2ca7b67a9271" providerId="ADAL" clId="{679907DC-319F-3E4D-9784-A4DB45D2E747}" dt="2022-11-23T15:45:16.943" v="921" actId="20577"/>
          <ac:spMkLst>
            <pc:docMk/>
            <pc:sldMk cId="3841575228" sldId="288"/>
            <ac:spMk id="4" creationId="{126F5D78-170B-9B28-7F1B-D4DB3CF43C98}"/>
          </ac:spMkLst>
        </pc:spChg>
        <pc:spChg chg="add del mod">
          <ac:chgData name="Paul Kuntz (Student at CentraleSupelec)" userId="13e0a3e2-9892-41c3-807e-2ca7b67a9271" providerId="ADAL" clId="{679907DC-319F-3E4D-9784-A4DB45D2E747}" dt="2022-11-23T15:46:02.833" v="940"/>
          <ac:spMkLst>
            <pc:docMk/>
            <pc:sldMk cId="3841575228" sldId="288"/>
            <ac:spMk id="5" creationId="{E0481BD7-57BA-0E82-058F-3CD1D72C5885}"/>
          </ac:spMkLst>
        </pc:spChg>
        <pc:spChg chg="add mod">
          <ac:chgData name="Paul Kuntz (Student at CentraleSupelec)" userId="13e0a3e2-9892-41c3-807e-2ca7b67a9271" providerId="ADAL" clId="{679907DC-319F-3E4D-9784-A4DB45D2E747}" dt="2022-11-23T15:54:47.481" v="1118" actId="2085"/>
          <ac:spMkLst>
            <pc:docMk/>
            <pc:sldMk cId="3841575228" sldId="288"/>
            <ac:spMk id="7" creationId="{AA888DF9-620C-48FB-607B-BC555B6B8539}"/>
          </ac:spMkLst>
        </pc:spChg>
        <pc:spChg chg="add mod">
          <ac:chgData name="Paul Kuntz (Student at CentraleSupelec)" userId="13e0a3e2-9892-41c3-807e-2ca7b67a9271" providerId="ADAL" clId="{679907DC-319F-3E4D-9784-A4DB45D2E747}" dt="2022-11-23T15:54:47.481" v="1118" actId="2085"/>
          <ac:spMkLst>
            <pc:docMk/>
            <pc:sldMk cId="3841575228" sldId="288"/>
            <ac:spMk id="8" creationId="{29D1CCAB-DDE6-9A7B-FB1B-9E44AF111296}"/>
          </ac:spMkLst>
        </pc:spChg>
        <pc:spChg chg="add mod">
          <ac:chgData name="Paul Kuntz (Student at CentraleSupelec)" userId="13e0a3e2-9892-41c3-807e-2ca7b67a9271" providerId="ADAL" clId="{679907DC-319F-3E4D-9784-A4DB45D2E747}" dt="2022-11-23T15:54:47.481" v="1118" actId="2085"/>
          <ac:spMkLst>
            <pc:docMk/>
            <pc:sldMk cId="3841575228" sldId="288"/>
            <ac:spMk id="9" creationId="{C137A390-B9ED-BC82-6A32-7617C6CF433C}"/>
          </ac:spMkLst>
        </pc:spChg>
        <pc:spChg chg="add mod">
          <ac:chgData name="Paul Kuntz (Student at CentraleSupelec)" userId="13e0a3e2-9892-41c3-807e-2ca7b67a9271" providerId="ADAL" clId="{679907DC-319F-3E4D-9784-A4DB45D2E747}" dt="2022-11-23T15:47:38.965" v="1007" actId="1076"/>
          <ac:spMkLst>
            <pc:docMk/>
            <pc:sldMk cId="3841575228" sldId="288"/>
            <ac:spMk id="14" creationId="{032A3087-941A-6308-A973-3297FFD86C5D}"/>
          </ac:spMkLst>
        </pc:spChg>
        <pc:spChg chg="add mod">
          <ac:chgData name="Paul Kuntz (Student at CentraleSupelec)" userId="13e0a3e2-9892-41c3-807e-2ca7b67a9271" providerId="ADAL" clId="{679907DC-319F-3E4D-9784-A4DB45D2E747}" dt="2022-11-23T15:54:10.003" v="1109" actId="207"/>
          <ac:spMkLst>
            <pc:docMk/>
            <pc:sldMk cId="3841575228" sldId="288"/>
            <ac:spMk id="15" creationId="{0A64BEBD-ED11-DB38-B082-DF61A998420F}"/>
          </ac:spMkLst>
        </pc:spChg>
        <pc:spChg chg="add del mod">
          <ac:chgData name="Paul Kuntz (Student at CentraleSupelec)" userId="13e0a3e2-9892-41c3-807e-2ca7b67a9271" providerId="ADAL" clId="{679907DC-319F-3E4D-9784-A4DB45D2E747}" dt="2022-11-23T15:48:22.796" v="1027" actId="478"/>
          <ac:spMkLst>
            <pc:docMk/>
            <pc:sldMk cId="3841575228" sldId="288"/>
            <ac:spMk id="16" creationId="{0C771018-AD6D-E93F-770D-A73CBD185ADC}"/>
          </ac:spMkLst>
        </pc:spChg>
        <pc:spChg chg="add del mod">
          <ac:chgData name="Paul Kuntz (Student at CentraleSupelec)" userId="13e0a3e2-9892-41c3-807e-2ca7b67a9271" providerId="ADAL" clId="{679907DC-319F-3E4D-9784-A4DB45D2E747}" dt="2022-11-23T15:48:12.902" v="1023" actId="478"/>
          <ac:spMkLst>
            <pc:docMk/>
            <pc:sldMk cId="3841575228" sldId="288"/>
            <ac:spMk id="17" creationId="{E209E233-3A4D-4A8C-002A-FB8DA57EE5CD}"/>
          </ac:spMkLst>
        </pc:spChg>
        <pc:spChg chg="add del mod">
          <ac:chgData name="Paul Kuntz (Student at CentraleSupelec)" userId="13e0a3e2-9892-41c3-807e-2ca7b67a9271" providerId="ADAL" clId="{679907DC-319F-3E4D-9784-A4DB45D2E747}" dt="2022-11-23T15:48:21.337" v="1026" actId="478"/>
          <ac:spMkLst>
            <pc:docMk/>
            <pc:sldMk cId="3841575228" sldId="288"/>
            <ac:spMk id="18" creationId="{91B43B36-6351-4745-EA5D-52E9D345FDC9}"/>
          </ac:spMkLst>
        </pc:spChg>
        <pc:spChg chg="add mod">
          <ac:chgData name="Paul Kuntz (Student at CentraleSupelec)" userId="13e0a3e2-9892-41c3-807e-2ca7b67a9271" providerId="ADAL" clId="{679907DC-319F-3E4D-9784-A4DB45D2E747}" dt="2022-11-23T15:50:30.713" v="1058" actId="20577"/>
          <ac:spMkLst>
            <pc:docMk/>
            <pc:sldMk cId="3841575228" sldId="288"/>
            <ac:spMk id="19" creationId="{B6A8950E-8E74-C179-B75C-EC672A091FB1}"/>
          </ac:spMkLst>
        </pc:spChg>
        <pc:spChg chg="add del mod">
          <ac:chgData name="Paul Kuntz (Student at CentraleSupelec)" userId="13e0a3e2-9892-41c3-807e-2ca7b67a9271" providerId="ADAL" clId="{679907DC-319F-3E4D-9784-A4DB45D2E747}" dt="2022-11-23T15:48:21.337" v="1026" actId="478"/>
          <ac:spMkLst>
            <pc:docMk/>
            <pc:sldMk cId="3841575228" sldId="288"/>
            <ac:spMk id="20" creationId="{3131CA7E-685F-1169-E2BF-0D7CCDA45892}"/>
          </ac:spMkLst>
        </pc:spChg>
        <pc:spChg chg="add del mod">
          <ac:chgData name="Paul Kuntz (Student at CentraleSupelec)" userId="13e0a3e2-9892-41c3-807e-2ca7b67a9271" providerId="ADAL" clId="{679907DC-319F-3E4D-9784-A4DB45D2E747}" dt="2022-11-23T15:48:11.684" v="1022" actId="478"/>
          <ac:spMkLst>
            <pc:docMk/>
            <pc:sldMk cId="3841575228" sldId="288"/>
            <ac:spMk id="21" creationId="{9C2E846C-8F31-E2DC-30AE-2B1CBC87CEDE}"/>
          </ac:spMkLst>
        </pc:spChg>
        <pc:spChg chg="mod">
          <ac:chgData name="Paul Kuntz (Student at CentraleSupelec)" userId="13e0a3e2-9892-41c3-807e-2ca7b67a9271" providerId="ADAL" clId="{679907DC-319F-3E4D-9784-A4DB45D2E747}" dt="2022-11-23T15:54:16.911" v="1111" actId="207"/>
          <ac:spMkLst>
            <pc:docMk/>
            <pc:sldMk cId="3841575228" sldId="288"/>
            <ac:spMk id="24" creationId="{33537467-E8E3-D6FD-E83E-9D884648B00A}"/>
          </ac:spMkLst>
        </pc:spChg>
        <pc:spChg chg="mod">
          <ac:chgData name="Paul Kuntz (Student at CentraleSupelec)" userId="13e0a3e2-9892-41c3-807e-2ca7b67a9271" providerId="ADAL" clId="{679907DC-319F-3E4D-9784-A4DB45D2E747}" dt="2022-11-23T15:50:37.718" v="1077" actId="20577"/>
          <ac:spMkLst>
            <pc:docMk/>
            <pc:sldMk cId="3841575228" sldId="288"/>
            <ac:spMk id="25" creationId="{B6F364E0-06E6-B21B-5CCB-96F72C54C07C}"/>
          </ac:spMkLst>
        </pc:spChg>
        <pc:spChg chg="mod">
          <ac:chgData name="Paul Kuntz (Student at CentraleSupelec)" userId="13e0a3e2-9892-41c3-807e-2ca7b67a9271" providerId="ADAL" clId="{679907DC-319F-3E4D-9784-A4DB45D2E747}" dt="2022-11-23T15:54:21.667" v="1113" actId="2085"/>
          <ac:spMkLst>
            <pc:docMk/>
            <pc:sldMk cId="3841575228" sldId="288"/>
            <ac:spMk id="27" creationId="{08CC9F91-0F4B-915C-7C78-6FF31B32E557}"/>
          </ac:spMkLst>
        </pc:spChg>
        <pc:spChg chg="mod">
          <ac:chgData name="Paul Kuntz (Student at CentraleSupelec)" userId="13e0a3e2-9892-41c3-807e-2ca7b67a9271" providerId="ADAL" clId="{679907DC-319F-3E4D-9784-A4DB45D2E747}" dt="2022-11-23T15:50:44.691" v="1089" actId="20577"/>
          <ac:spMkLst>
            <pc:docMk/>
            <pc:sldMk cId="3841575228" sldId="288"/>
            <ac:spMk id="28" creationId="{567D1FC5-4129-4A97-A9EE-E11CB6685F81}"/>
          </ac:spMkLst>
        </pc:spChg>
        <pc:spChg chg="mod">
          <ac:chgData name="Paul Kuntz (Student at CentraleSupelec)" userId="13e0a3e2-9892-41c3-807e-2ca7b67a9271" providerId="ADAL" clId="{679907DC-319F-3E4D-9784-A4DB45D2E747}" dt="2022-11-23T15:54:27.827" v="1115" actId="2085"/>
          <ac:spMkLst>
            <pc:docMk/>
            <pc:sldMk cId="3841575228" sldId="288"/>
            <ac:spMk id="30" creationId="{2BAF8BFE-33A7-BE55-2E15-07B5BAF4842F}"/>
          </ac:spMkLst>
        </pc:spChg>
        <pc:spChg chg="mod">
          <ac:chgData name="Paul Kuntz (Student at CentraleSupelec)" userId="13e0a3e2-9892-41c3-807e-2ca7b67a9271" providerId="ADAL" clId="{679907DC-319F-3E4D-9784-A4DB45D2E747}" dt="2022-11-23T15:50:48.895" v="1095" actId="20577"/>
          <ac:spMkLst>
            <pc:docMk/>
            <pc:sldMk cId="3841575228" sldId="288"/>
            <ac:spMk id="31" creationId="{C81449E2-1302-9B87-5BDF-30326DDEFDA0}"/>
          </ac:spMkLst>
        </pc:spChg>
        <pc:spChg chg="add mod">
          <ac:chgData name="Paul Kuntz (Student at CentraleSupelec)" userId="13e0a3e2-9892-41c3-807e-2ca7b67a9271" providerId="ADAL" clId="{679907DC-319F-3E4D-9784-A4DB45D2E747}" dt="2022-11-23T15:59:48.370" v="1202" actId="1076"/>
          <ac:spMkLst>
            <pc:docMk/>
            <pc:sldMk cId="3841575228" sldId="288"/>
            <ac:spMk id="32" creationId="{0560114D-DB62-8082-D1A6-C9CCF098697C}"/>
          </ac:spMkLst>
        </pc:spChg>
        <pc:spChg chg="add mod">
          <ac:chgData name="Paul Kuntz (Student at CentraleSupelec)" userId="13e0a3e2-9892-41c3-807e-2ca7b67a9271" providerId="ADAL" clId="{679907DC-319F-3E4D-9784-A4DB45D2E747}" dt="2022-11-23T16:00:00.378" v="1207" actId="20577"/>
          <ac:spMkLst>
            <pc:docMk/>
            <pc:sldMk cId="3841575228" sldId="288"/>
            <ac:spMk id="33" creationId="{1B0A32DD-3915-6F9F-4F00-388D6F090CBB}"/>
          </ac:spMkLst>
        </pc:spChg>
        <pc:spChg chg="add mod">
          <ac:chgData name="Paul Kuntz (Student at CentraleSupelec)" userId="13e0a3e2-9892-41c3-807e-2ca7b67a9271" providerId="ADAL" clId="{679907DC-319F-3E4D-9784-A4DB45D2E747}" dt="2022-11-23T16:01:07.159" v="1249" actId="1076"/>
          <ac:spMkLst>
            <pc:docMk/>
            <pc:sldMk cId="3841575228" sldId="288"/>
            <ac:spMk id="34" creationId="{62801A4F-CA4C-5B28-33A7-A29147E88DB5}"/>
          </ac:spMkLst>
        </pc:spChg>
        <pc:spChg chg="add mod">
          <ac:chgData name="Paul Kuntz (Student at CentraleSupelec)" userId="13e0a3e2-9892-41c3-807e-2ca7b67a9271" providerId="ADAL" clId="{679907DC-319F-3E4D-9784-A4DB45D2E747}" dt="2022-11-23T16:01:01.930" v="1248" actId="20577"/>
          <ac:spMkLst>
            <pc:docMk/>
            <pc:sldMk cId="3841575228" sldId="288"/>
            <ac:spMk id="35" creationId="{31338BA8-6B94-022E-BE3A-4C6B7647FABD}"/>
          </ac:spMkLst>
        </pc:spChg>
        <pc:grpChg chg="add mod">
          <ac:chgData name="Paul Kuntz (Student at CentraleSupelec)" userId="13e0a3e2-9892-41c3-807e-2ca7b67a9271" providerId="ADAL" clId="{679907DC-319F-3E4D-9784-A4DB45D2E747}" dt="2022-11-23T15:48:54.192" v="1046" actId="1035"/>
          <ac:grpSpMkLst>
            <pc:docMk/>
            <pc:sldMk cId="3841575228" sldId="288"/>
            <ac:grpSpMk id="22" creationId="{A6E35D37-0BFD-4870-791B-69290C461A24}"/>
          </ac:grpSpMkLst>
        </pc:grpChg>
        <pc:grpChg chg="add mod">
          <ac:chgData name="Paul Kuntz (Student at CentraleSupelec)" userId="13e0a3e2-9892-41c3-807e-2ca7b67a9271" providerId="ADAL" clId="{679907DC-319F-3E4D-9784-A4DB45D2E747}" dt="2022-11-23T15:48:54.192" v="1046" actId="1035"/>
          <ac:grpSpMkLst>
            <pc:docMk/>
            <pc:sldMk cId="3841575228" sldId="288"/>
            <ac:grpSpMk id="23" creationId="{878CC15E-D0D5-E4D0-B253-AE1BC4EF36A1}"/>
          </ac:grpSpMkLst>
        </pc:grpChg>
        <pc:grpChg chg="add mod">
          <ac:chgData name="Paul Kuntz (Student at CentraleSupelec)" userId="13e0a3e2-9892-41c3-807e-2ca7b67a9271" providerId="ADAL" clId="{679907DC-319F-3E4D-9784-A4DB45D2E747}" dt="2022-11-23T15:48:54.192" v="1046" actId="1035"/>
          <ac:grpSpMkLst>
            <pc:docMk/>
            <pc:sldMk cId="3841575228" sldId="288"/>
            <ac:grpSpMk id="26" creationId="{B4FF05DA-1EF9-272A-6E8C-15AFDE9F47BB}"/>
          </ac:grpSpMkLst>
        </pc:grpChg>
        <pc:grpChg chg="add mod">
          <ac:chgData name="Paul Kuntz (Student at CentraleSupelec)" userId="13e0a3e2-9892-41c3-807e-2ca7b67a9271" providerId="ADAL" clId="{679907DC-319F-3E4D-9784-A4DB45D2E747}" dt="2022-11-23T15:48:54.192" v="1046" actId="1035"/>
          <ac:grpSpMkLst>
            <pc:docMk/>
            <pc:sldMk cId="3841575228" sldId="288"/>
            <ac:grpSpMk id="29" creationId="{3A4F5247-604C-85DF-AB6B-0B24292379DB}"/>
          </ac:grpSpMkLst>
        </pc:grpChg>
        <pc:graphicFrameChg chg="add mod">
          <ac:chgData name="Paul Kuntz (Student at CentraleSupelec)" userId="13e0a3e2-9892-41c3-807e-2ca7b67a9271" providerId="ADAL" clId="{679907DC-319F-3E4D-9784-A4DB45D2E747}" dt="2022-11-24T18:08:38.944" v="2076" actId="20577"/>
          <ac:graphicFrameMkLst>
            <pc:docMk/>
            <pc:sldMk cId="3841575228" sldId="288"/>
            <ac:graphicFrameMk id="3" creationId="{DBB2CB63-A509-8DE9-B3F6-0806A2C60C24}"/>
          </ac:graphicFrameMkLst>
        </pc:graphicFrameChg>
        <pc:graphicFrameChg chg="add del mod">
          <ac:chgData name="Paul Kuntz (Student at CentraleSupelec)" userId="13e0a3e2-9892-41c3-807e-2ca7b67a9271" providerId="ADAL" clId="{679907DC-319F-3E4D-9784-A4DB45D2E747}" dt="2022-11-23T15:45:26.681" v="930"/>
          <ac:graphicFrameMkLst>
            <pc:docMk/>
            <pc:sldMk cId="3841575228" sldId="288"/>
            <ac:graphicFrameMk id="6" creationId="{1130E966-272F-3142-011F-59509B015617}"/>
          </ac:graphicFrameMkLst>
        </pc:graphicFrameChg>
        <pc:cxnChg chg="add del mod">
          <ac:chgData name="Paul Kuntz (Student at CentraleSupelec)" userId="13e0a3e2-9892-41c3-807e-2ca7b67a9271" providerId="ADAL" clId="{679907DC-319F-3E4D-9784-A4DB45D2E747}" dt="2022-11-23T15:46:47.601" v="958" actId="478"/>
          <ac:cxnSpMkLst>
            <pc:docMk/>
            <pc:sldMk cId="3841575228" sldId="288"/>
            <ac:cxnSpMk id="11" creationId="{0C33048C-884D-15D2-F51B-B580DF114FCF}"/>
          </ac:cxnSpMkLst>
        </pc:cxnChg>
      </pc:sldChg>
      <pc:sldChg chg="addSp delSp modSp add del mod">
        <pc:chgData name="Paul Kuntz (Student at CentraleSupelec)" userId="13e0a3e2-9892-41c3-807e-2ca7b67a9271" providerId="ADAL" clId="{679907DC-319F-3E4D-9784-A4DB45D2E747}" dt="2022-11-24T18:52:37.570" v="2825" actId="2696"/>
        <pc:sldMkLst>
          <pc:docMk/>
          <pc:sldMk cId="2810778098" sldId="289"/>
        </pc:sldMkLst>
        <pc:spChg chg="mod">
          <ac:chgData name="Paul Kuntz (Student at CentraleSupelec)" userId="13e0a3e2-9892-41c3-807e-2ca7b67a9271" providerId="ADAL" clId="{679907DC-319F-3E4D-9784-A4DB45D2E747}" dt="2022-11-24T18:23:18.065" v="2362"/>
          <ac:spMkLst>
            <pc:docMk/>
            <pc:sldMk cId="2810778098" sldId="289"/>
            <ac:spMk id="2" creationId="{ED5D74FC-59E8-2451-614B-CB26174885A8}"/>
          </ac:spMkLst>
        </pc:spChg>
        <pc:spChg chg="add mod">
          <ac:chgData name="Paul Kuntz (Student at CentraleSupelec)" userId="13e0a3e2-9892-41c3-807e-2ca7b67a9271" providerId="ADAL" clId="{679907DC-319F-3E4D-9784-A4DB45D2E747}" dt="2022-11-23T15:34:57.813" v="675" actId="20577"/>
          <ac:spMkLst>
            <pc:docMk/>
            <pc:sldMk cId="2810778098" sldId="289"/>
            <ac:spMk id="4" creationId="{C283AA22-6253-342D-CD9B-837A6DDA5171}"/>
          </ac:spMkLst>
        </pc:spChg>
        <pc:spChg chg="add mod">
          <ac:chgData name="Paul Kuntz (Student at CentraleSupelec)" userId="13e0a3e2-9892-41c3-807e-2ca7b67a9271" providerId="ADAL" clId="{679907DC-319F-3E4D-9784-A4DB45D2E747}" dt="2022-11-23T15:35:15.299" v="700" actId="20577"/>
          <ac:spMkLst>
            <pc:docMk/>
            <pc:sldMk cId="2810778098" sldId="289"/>
            <ac:spMk id="5" creationId="{44B99CAF-5AE0-70A3-735A-ACDDA78E19C6}"/>
          </ac:spMkLst>
        </pc:spChg>
        <pc:spChg chg="add mod">
          <ac:chgData name="Paul Kuntz (Student at CentraleSupelec)" userId="13e0a3e2-9892-41c3-807e-2ca7b67a9271" providerId="ADAL" clId="{679907DC-319F-3E4D-9784-A4DB45D2E747}" dt="2022-11-23T15:40:46.854" v="900" actId="1076"/>
          <ac:spMkLst>
            <pc:docMk/>
            <pc:sldMk cId="2810778098" sldId="289"/>
            <ac:spMk id="6" creationId="{D174C012-EEC6-04B7-7117-C7BCF6859BB1}"/>
          </ac:spMkLst>
        </pc:spChg>
        <pc:spChg chg="add mod">
          <ac:chgData name="Paul Kuntz (Student at CentraleSupelec)" userId="13e0a3e2-9892-41c3-807e-2ca7b67a9271" providerId="ADAL" clId="{679907DC-319F-3E4D-9784-A4DB45D2E747}" dt="2022-11-23T15:40:51.274" v="902" actId="20577"/>
          <ac:spMkLst>
            <pc:docMk/>
            <pc:sldMk cId="2810778098" sldId="289"/>
            <ac:spMk id="7" creationId="{400C94CA-AF2E-11AD-9386-42A9D8923544}"/>
          </ac:spMkLst>
        </pc:spChg>
        <pc:spChg chg="add mod">
          <ac:chgData name="Paul Kuntz (Student at CentraleSupelec)" userId="13e0a3e2-9892-41c3-807e-2ca7b67a9271" providerId="ADAL" clId="{679907DC-319F-3E4D-9784-A4DB45D2E747}" dt="2022-11-23T15:36:29.093" v="794" actId="1076"/>
          <ac:spMkLst>
            <pc:docMk/>
            <pc:sldMk cId="2810778098" sldId="289"/>
            <ac:spMk id="8" creationId="{77323AEF-FB01-E741-1967-E41637283429}"/>
          </ac:spMkLst>
        </pc:spChg>
        <pc:spChg chg="add mod">
          <ac:chgData name="Paul Kuntz (Student at CentraleSupelec)" userId="13e0a3e2-9892-41c3-807e-2ca7b67a9271" providerId="ADAL" clId="{679907DC-319F-3E4D-9784-A4DB45D2E747}" dt="2022-11-23T15:36:26.151" v="793" actId="1076"/>
          <ac:spMkLst>
            <pc:docMk/>
            <pc:sldMk cId="2810778098" sldId="289"/>
            <ac:spMk id="9" creationId="{6395AED3-64CF-216B-F9CA-416B26B0EC64}"/>
          </ac:spMkLst>
        </pc:spChg>
        <pc:spChg chg="add mod">
          <ac:chgData name="Paul Kuntz (Student at CentraleSupelec)" userId="13e0a3e2-9892-41c3-807e-2ca7b67a9271" providerId="ADAL" clId="{679907DC-319F-3E4D-9784-A4DB45D2E747}" dt="2022-11-23T15:40:46.854" v="900" actId="1076"/>
          <ac:spMkLst>
            <pc:docMk/>
            <pc:sldMk cId="2810778098" sldId="289"/>
            <ac:spMk id="10" creationId="{8B867D0C-922F-70F7-0AA3-4ECBE83D7F0A}"/>
          </ac:spMkLst>
        </pc:spChg>
        <pc:spChg chg="add del mod">
          <ac:chgData name="Paul Kuntz (Student at CentraleSupelec)" userId="13e0a3e2-9892-41c3-807e-2ca7b67a9271" providerId="ADAL" clId="{679907DC-319F-3E4D-9784-A4DB45D2E747}" dt="2022-11-23T15:36:55.547" v="800" actId="478"/>
          <ac:spMkLst>
            <pc:docMk/>
            <pc:sldMk cId="2810778098" sldId="289"/>
            <ac:spMk id="11" creationId="{E11D7ADD-5151-E5A5-9B3D-8478BA929ABD}"/>
          </ac:spMkLst>
        </pc:spChg>
        <pc:graphicFrameChg chg="del">
          <ac:chgData name="Paul Kuntz (Student at CentraleSupelec)" userId="13e0a3e2-9892-41c3-807e-2ca7b67a9271" providerId="ADAL" clId="{679907DC-319F-3E4D-9784-A4DB45D2E747}" dt="2022-11-23T15:33:47.400" v="659" actId="478"/>
          <ac:graphicFrameMkLst>
            <pc:docMk/>
            <pc:sldMk cId="2810778098" sldId="289"/>
            <ac:graphicFrameMk id="3" creationId="{DBB2CB63-A509-8DE9-B3F6-0806A2C60C24}"/>
          </ac:graphicFrameMkLst>
        </pc:graphicFrameChg>
        <pc:graphicFrameChg chg="add mod">
          <ac:chgData name="Paul Kuntz (Student at CentraleSupelec)" userId="13e0a3e2-9892-41c3-807e-2ca7b67a9271" providerId="ADAL" clId="{679907DC-319F-3E4D-9784-A4DB45D2E747}" dt="2022-11-23T15:39:50.255" v="878" actId="1076"/>
          <ac:graphicFrameMkLst>
            <pc:docMk/>
            <pc:sldMk cId="2810778098" sldId="289"/>
            <ac:graphicFrameMk id="12" creationId="{647C0F96-5C2D-D5A3-7DA1-321DE06E5E03}"/>
          </ac:graphicFrameMkLst>
        </pc:graphicFrameChg>
      </pc:sldChg>
      <pc:sldChg chg="modSp add del mod">
        <pc:chgData name="Paul Kuntz (Student at CentraleSupelec)" userId="13e0a3e2-9892-41c3-807e-2ca7b67a9271" providerId="ADAL" clId="{679907DC-319F-3E4D-9784-A4DB45D2E747}" dt="2022-11-24T18:56:15.449" v="2900" actId="2696"/>
        <pc:sldMkLst>
          <pc:docMk/>
          <pc:sldMk cId="3716490012" sldId="290"/>
        </pc:sldMkLst>
        <pc:spChg chg="mod">
          <ac:chgData name="Paul Kuntz (Student at CentraleSupelec)" userId="13e0a3e2-9892-41c3-807e-2ca7b67a9271" providerId="ADAL" clId="{679907DC-319F-3E4D-9784-A4DB45D2E747}" dt="2022-11-24T18:23:18.065" v="2362"/>
          <ac:spMkLst>
            <pc:docMk/>
            <pc:sldMk cId="3716490012" sldId="290"/>
            <ac:spMk id="2" creationId="{ED5D74FC-59E8-2451-614B-CB26174885A8}"/>
          </ac:spMkLst>
        </pc:spChg>
      </pc:sldChg>
      <pc:sldChg chg="modSp add del mod">
        <pc:chgData name="Paul Kuntz (Student at CentraleSupelec)" userId="13e0a3e2-9892-41c3-807e-2ca7b67a9271" providerId="ADAL" clId="{679907DC-319F-3E4D-9784-A4DB45D2E747}" dt="2022-11-24T18:56:15.494" v="2901" actId="2696"/>
        <pc:sldMkLst>
          <pc:docMk/>
          <pc:sldMk cId="807007089" sldId="291"/>
        </pc:sldMkLst>
        <pc:spChg chg="mod">
          <ac:chgData name="Paul Kuntz (Student at CentraleSupelec)" userId="13e0a3e2-9892-41c3-807e-2ca7b67a9271" providerId="ADAL" clId="{679907DC-319F-3E4D-9784-A4DB45D2E747}" dt="2022-11-24T18:23:18.065" v="2362"/>
          <ac:spMkLst>
            <pc:docMk/>
            <pc:sldMk cId="807007089" sldId="291"/>
            <ac:spMk id="2" creationId="{ED5D74FC-59E8-2451-614B-CB26174885A8}"/>
          </ac:spMkLst>
        </pc:spChg>
      </pc:sldChg>
      <pc:sldChg chg="new del">
        <pc:chgData name="Paul Kuntz (Student at CentraleSupelec)" userId="13e0a3e2-9892-41c3-807e-2ca7b67a9271" providerId="ADAL" clId="{679907DC-319F-3E4D-9784-A4DB45D2E747}" dt="2022-11-24T17:56:55.812" v="1335" actId="2696"/>
        <pc:sldMkLst>
          <pc:docMk/>
          <pc:sldMk cId="263890424" sldId="292"/>
        </pc:sldMkLst>
      </pc:sldChg>
      <pc:sldChg chg="addSp delSp modSp add mod">
        <pc:chgData name="Paul Kuntz (Student at CentraleSupelec)" userId="13e0a3e2-9892-41c3-807e-2ca7b67a9271" providerId="ADAL" clId="{679907DC-319F-3E4D-9784-A4DB45D2E747}" dt="2022-11-25T10:39:44.343" v="8759" actId="1038"/>
        <pc:sldMkLst>
          <pc:docMk/>
          <pc:sldMk cId="2074534126" sldId="292"/>
        </pc:sldMkLst>
        <pc:spChg chg="mod">
          <ac:chgData name="Paul Kuntz (Student at CentraleSupelec)" userId="13e0a3e2-9892-41c3-807e-2ca7b67a9271" providerId="ADAL" clId="{679907DC-319F-3E4D-9784-A4DB45D2E747}" dt="2022-11-24T18:01:24.283" v="1578" actId="14100"/>
          <ac:spMkLst>
            <pc:docMk/>
            <pc:sldMk cId="2074534126" sldId="292"/>
            <ac:spMk id="2" creationId="{F5D42F7E-F516-C117-16D1-E4BEBD17B988}"/>
          </ac:spMkLst>
        </pc:spChg>
        <pc:spChg chg="mod">
          <ac:chgData name="Paul Kuntz (Student at CentraleSupelec)" userId="13e0a3e2-9892-41c3-807e-2ca7b67a9271" providerId="ADAL" clId="{679907DC-319F-3E4D-9784-A4DB45D2E747}" dt="2022-11-25T10:08:38.073" v="7879" actId="20577"/>
          <ac:spMkLst>
            <pc:docMk/>
            <pc:sldMk cId="2074534126" sldId="292"/>
            <ac:spMk id="3" creationId="{00000000-0000-0000-0000-000000000000}"/>
          </ac:spMkLst>
        </pc:spChg>
        <pc:spChg chg="del">
          <ac:chgData name="Paul Kuntz (Student at CentraleSupelec)" userId="13e0a3e2-9892-41c3-807e-2ca7b67a9271" providerId="ADAL" clId="{679907DC-319F-3E4D-9784-A4DB45D2E747}" dt="2022-11-24T17:59:42.489" v="1369" actId="478"/>
          <ac:spMkLst>
            <pc:docMk/>
            <pc:sldMk cId="2074534126" sldId="292"/>
            <ac:spMk id="6" creationId="{00000000-0000-0000-0000-000000000000}"/>
          </ac:spMkLst>
        </pc:spChg>
        <pc:spChg chg="add del mod">
          <ac:chgData name="Paul Kuntz (Student at CentraleSupelec)" userId="13e0a3e2-9892-41c3-807e-2ca7b67a9271" providerId="ADAL" clId="{679907DC-319F-3E4D-9784-A4DB45D2E747}" dt="2022-11-25T09:54:59.558" v="7822"/>
          <ac:spMkLst>
            <pc:docMk/>
            <pc:sldMk cId="2074534126" sldId="292"/>
            <ac:spMk id="6" creationId="{18802C2F-D468-BACA-F8A7-DB10F0B251B3}"/>
          </ac:spMkLst>
        </pc:spChg>
        <pc:spChg chg="add mod">
          <ac:chgData name="Paul Kuntz (Student at CentraleSupelec)" userId="13e0a3e2-9892-41c3-807e-2ca7b67a9271" providerId="ADAL" clId="{679907DC-319F-3E4D-9784-A4DB45D2E747}" dt="2022-11-25T09:55:40.095" v="7834" actId="14100"/>
          <ac:spMkLst>
            <pc:docMk/>
            <pc:sldMk cId="2074534126" sldId="292"/>
            <ac:spMk id="9" creationId="{A0D030EC-8B41-FE3F-9EF7-05AE21571306}"/>
          </ac:spMkLst>
        </pc:spChg>
        <pc:spChg chg="add del mod">
          <ac:chgData name="Paul Kuntz (Student at CentraleSupelec)" userId="13e0a3e2-9892-41c3-807e-2ca7b67a9271" providerId="ADAL" clId="{679907DC-319F-3E4D-9784-A4DB45D2E747}" dt="2022-11-24T17:59:56.365" v="1373" actId="478"/>
          <ac:spMkLst>
            <pc:docMk/>
            <pc:sldMk cId="2074534126" sldId="292"/>
            <ac:spMk id="9" creationId="{E37F273C-35F4-4ED8-D05D-1C487B00A8DB}"/>
          </ac:spMkLst>
        </pc:spChg>
        <pc:spChg chg="add del mod">
          <ac:chgData name="Paul Kuntz (Student at CentraleSupelec)" userId="13e0a3e2-9892-41c3-807e-2ca7b67a9271" providerId="ADAL" clId="{679907DC-319F-3E4D-9784-A4DB45D2E747}" dt="2022-11-25T10:07:59.350" v="7840" actId="478"/>
          <ac:spMkLst>
            <pc:docMk/>
            <pc:sldMk cId="2074534126" sldId="292"/>
            <ac:spMk id="10" creationId="{8131340A-86B1-7080-622C-D5CCDD73FF84}"/>
          </ac:spMkLst>
        </pc:spChg>
        <pc:spChg chg="add mod">
          <ac:chgData name="Paul Kuntz (Student at CentraleSupelec)" userId="13e0a3e2-9892-41c3-807e-2ca7b67a9271" providerId="ADAL" clId="{679907DC-319F-3E4D-9784-A4DB45D2E747}" dt="2022-11-25T09:55:10.656" v="7826" actId="1076"/>
          <ac:spMkLst>
            <pc:docMk/>
            <pc:sldMk cId="2074534126" sldId="292"/>
            <ac:spMk id="13" creationId="{8423EDC3-5941-14DE-47C1-D8F22D67A1A5}"/>
          </ac:spMkLst>
        </pc:spChg>
        <pc:spChg chg="add">
          <ac:chgData name="Paul Kuntz (Student at CentraleSupelec)" userId="13e0a3e2-9892-41c3-807e-2ca7b67a9271" providerId="ADAL" clId="{679907DC-319F-3E4D-9784-A4DB45D2E747}" dt="2022-11-25T09:59:56.460" v="7835" actId="11529"/>
          <ac:spMkLst>
            <pc:docMk/>
            <pc:sldMk cId="2074534126" sldId="292"/>
            <ac:spMk id="14" creationId="{B3080BAF-38FC-919D-E523-5231CCFB42ED}"/>
          </ac:spMkLst>
        </pc:spChg>
        <pc:spChg chg="add mod">
          <ac:chgData name="Paul Kuntz (Student at CentraleSupelec)" userId="13e0a3e2-9892-41c3-807e-2ca7b67a9271" providerId="ADAL" clId="{679907DC-319F-3E4D-9784-A4DB45D2E747}" dt="2022-11-25T10:39:44.343" v="8759" actId="1038"/>
          <ac:spMkLst>
            <pc:docMk/>
            <pc:sldMk cId="2074534126" sldId="292"/>
            <ac:spMk id="16" creationId="{5133446B-F1AB-7812-9A43-CBB84CFE0335}"/>
          </ac:spMkLst>
        </pc:spChg>
        <pc:spChg chg="add del mod">
          <ac:chgData name="Paul Kuntz (Student at CentraleSupelec)" userId="13e0a3e2-9892-41c3-807e-2ca7b67a9271" providerId="ADAL" clId="{679907DC-319F-3E4D-9784-A4DB45D2E747}" dt="2022-11-25T10:17:13.631" v="8161" actId="478"/>
          <ac:spMkLst>
            <pc:docMk/>
            <pc:sldMk cId="2074534126" sldId="292"/>
            <ac:spMk id="17" creationId="{A2BF979E-9F82-6BF6-2F4E-FDE6B1484F82}"/>
          </ac:spMkLst>
        </pc:spChg>
        <pc:spChg chg="add mod">
          <ac:chgData name="Paul Kuntz (Student at CentraleSupelec)" userId="13e0a3e2-9892-41c3-807e-2ca7b67a9271" providerId="ADAL" clId="{679907DC-319F-3E4D-9784-A4DB45D2E747}" dt="2022-11-25T10:20:52.488" v="8351" actId="123"/>
          <ac:spMkLst>
            <pc:docMk/>
            <pc:sldMk cId="2074534126" sldId="292"/>
            <ac:spMk id="18" creationId="{8EA6EA9E-B7B7-9356-5D0C-F2C4EEF30A93}"/>
          </ac:spMkLst>
        </pc:spChg>
        <pc:spChg chg="add mod">
          <ac:chgData name="Paul Kuntz (Student at CentraleSupelec)" userId="13e0a3e2-9892-41c3-807e-2ca7b67a9271" providerId="ADAL" clId="{679907DC-319F-3E4D-9784-A4DB45D2E747}" dt="2022-11-25T10:39:44.343" v="8759" actId="1038"/>
          <ac:spMkLst>
            <pc:docMk/>
            <pc:sldMk cId="2074534126" sldId="292"/>
            <ac:spMk id="19" creationId="{F45F981A-07EF-3799-F232-64BAFA3692CE}"/>
          </ac:spMkLst>
        </pc:spChg>
        <pc:spChg chg="add mod">
          <ac:chgData name="Paul Kuntz (Student at CentraleSupelec)" userId="13e0a3e2-9892-41c3-807e-2ca7b67a9271" providerId="ADAL" clId="{679907DC-319F-3E4D-9784-A4DB45D2E747}" dt="2022-11-25T10:20:49.682" v="8350" actId="122"/>
          <ac:spMkLst>
            <pc:docMk/>
            <pc:sldMk cId="2074534126" sldId="292"/>
            <ac:spMk id="20" creationId="{4878C88E-73A0-629F-AC91-C96265CF3EEC}"/>
          </ac:spMkLst>
        </pc:spChg>
        <pc:spChg chg="add del mod">
          <ac:chgData name="Paul Kuntz (Student at CentraleSupelec)" userId="13e0a3e2-9892-41c3-807e-2ca7b67a9271" providerId="ADAL" clId="{679907DC-319F-3E4D-9784-A4DB45D2E747}" dt="2022-11-25T10:39:24.155" v="8746" actId="478"/>
          <ac:spMkLst>
            <pc:docMk/>
            <pc:sldMk cId="2074534126" sldId="292"/>
            <ac:spMk id="21" creationId="{82F882E1-A64E-2E8B-AA44-304E6DDBA540}"/>
          </ac:spMkLst>
        </pc:spChg>
        <pc:spChg chg="add mod">
          <ac:chgData name="Paul Kuntz (Student at CentraleSupelec)" userId="13e0a3e2-9892-41c3-807e-2ca7b67a9271" providerId="ADAL" clId="{679907DC-319F-3E4D-9784-A4DB45D2E747}" dt="2022-11-25T10:39:40.010" v="8750" actId="14100"/>
          <ac:spMkLst>
            <pc:docMk/>
            <pc:sldMk cId="2074534126" sldId="292"/>
            <ac:spMk id="23" creationId="{91A3C98F-3220-9889-B659-AAFCD7B4DD81}"/>
          </ac:spMkLst>
        </pc:spChg>
        <pc:graphicFrameChg chg="add mod">
          <ac:chgData name="Paul Kuntz (Student at CentraleSupelec)" userId="13e0a3e2-9892-41c3-807e-2ca7b67a9271" providerId="ADAL" clId="{679907DC-319F-3E4D-9784-A4DB45D2E747}" dt="2022-11-25T10:17:33.842" v="8164" actId="12789"/>
          <ac:graphicFrameMkLst>
            <pc:docMk/>
            <pc:sldMk cId="2074534126" sldId="292"/>
            <ac:graphicFrameMk id="15" creationId="{89CE3017-BF55-7054-7F0D-DA15F2D571C5}"/>
          </ac:graphicFrameMkLst>
        </pc:graphicFrameChg>
      </pc:sldChg>
      <pc:sldChg chg="add del ord">
        <pc:chgData name="Paul Kuntz (Student at CentraleSupelec)" userId="13e0a3e2-9892-41c3-807e-2ca7b67a9271" providerId="ADAL" clId="{679907DC-319F-3E4D-9784-A4DB45D2E747}" dt="2022-11-24T17:58:32.511" v="1338" actId="2696"/>
        <pc:sldMkLst>
          <pc:docMk/>
          <pc:sldMk cId="2431264515" sldId="292"/>
        </pc:sldMkLst>
      </pc:sldChg>
      <pc:sldChg chg="addSp delSp modSp add mod">
        <pc:chgData name="Paul Kuntz (Student at CentraleSupelec)" userId="13e0a3e2-9892-41c3-807e-2ca7b67a9271" providerId="ADAL" clId="{679907DC-319F-3E4D-9784-A4DB45D2E747}" dt="2022-11-24T19:17:20.912" v="3473" actId="20577"/>
        <pc:sldMkLst>
          <pc:docMk/>
          <pc:sldMk cId="179811998" sldId="293"/>
        </pc:sldMkLst>
        <pc:spChg chg="del">
          <ac:chgData name="Paul Kuntz (Student at CentraleSupelec)" userId="13e0a3e2-9892-41c3-807e-2ca7b67a9271" providerId="ADAL" clId="{679907DC-319F-3E4D-9784-A4DB45D2E747}" dt="2022-11-24T18:04:04.519" v="1877" actId="478"/>
          <ac:spMkLst>
            <pc:docMk/>
            <pc:sldMk cId="179811998" sldId="293"/>
            <ac:spMk id="2" creationId="{F5D42F7E-F516-C117-16D1-E4BEBD17B988}"/>
          </ac:spMkLst>
        </pc:spChg>
        <pc:spChg chg="mod">
          <ac:chgData name="Paul Kuntz (Student at CentraleSupelec)" userId="13e0a3e2-9892-41c3-807e-2ca7b67a9271" providerId="ADAL" clId="{679907DC-319F-3E4D-9784-A4DB45D2E747}" dt="2022-11-24T18:20:58.727" v="2283" actId="20577"/>
          <ac:spMkLst>
            <pc:docMk/>
            <pc:sldMk cId="179811998" sldId="293"/>
            <ac:spMk id="3" creationId="{00000000-0000-0000-0000-000000000000}"/>
          </ac:spMkLst>
        </pc:spChg>
        <pc:spChg chg="mod">
          <ac:chgData name="Paul Kuntz (Student at CentraleSupelec)" userId="13e0a3e2-9892-41c3-807e-2ca7b67a9271" providerId="ADAL" clId="{679907DC-319F-3E4D-9784-A4DB45D2E747}" dt="2022-11-24T19:17:20.912" v="3473" actId="20577"/>
          <ac:spMkLst>
            <pc:docMk/>
            <pc:sldMk cId="179811998" sldId="293"/>
            <ac:spMk id="7" creationId="{00000000-0000-0000-0000-000000000000}"/>
          </ac:spMkLst>
        </pc:spChg>
        <pc:spChg chg="add mod">
          <ac:chgData name="Paul Kuntz (Student at CentraleSupelec)" userId="13e0a3e2-9892-41c3-807e-2ca7b67a9271" providerId="ADAL" clId="{679907DC-319F-3E4D-9784-A4DB45D2E747}" dt="2022-11-24T19:16:06.105" v="3456" actId="20577"/>
          <ac:spMkLst>
            <pc:docMk/>
            <pc:sldMk cId="179811998" sldId="293"/>
            <ac:spMk id="8" creationId="{A9EE7830-DE24-1614-599A-992CF1D806DC}"/>
          </ac:spMkLst>
        </pc:spChg>
        <pc:spChg chg="add mod">
          <ac:chgData name="Paul Kuntz (Student at CentraleSupelec)" userId="13e0a3e2-9892-41c3-807e-2ca7b67a9271" providerId="ADAL" clId="{679907DC-319F-3E4D-9784-A4DB45D2E747}" dt="2022-11-24T18:14:19.606" v="2190" actId="465"/>
          <ac:spMkLst>
            <pc:docMk/>
            <pc:sldMk cId="179811998" sldId="293"/>
            <ac:spMk id="9" creationId="{A8D0194B-D17D-F740-29A8-3E0E87AA329B}"/>
          </ac:spMkLst>
        </pc:spChg>
        <pc:spChg chg="del">
          <ac:chgData name="Paul Kuntz (Student at CentraleSupelec)" userId="13e0a3e2-9892-41c3-807e-2ca7b67a9271" providerId="ADAL" clId="{679907DC-319F-3E4D-9784-A4DB45D2E747}" dt="2022-11-24T18:04:04.519" v="1877" actId="478"/>
          <ac:spMkLst>
            <pc:docMk/>
            <pc:sldMk cId="179811998" sldId="293"/>
            <ac:spMk id="10" creationId="{8131340A-86B1-7080-622C-D5CCDD73FF84}"/>
          </ac:spMkLst>
        </pc:spChg>
        <pc:spChg chg="add mod">
          <ac:chgData name="Paul Kuntz (Student at CentraleSupelec)" userId="13e0a3e2-9892-41c3-807e-2ca7b67a9271" providerId="ADAL" clId="{679907DC-319F-3E4D-9784-A4DB45D2E747}" dt="2022-11-24T18:13:45.276" v="2185" actId="164"/>
          <ac:spMkLst>
            <pc:docMk/>
            <pc:sldMk cId="179811998" sldId="293"/>
            <ac:spMk id="11" creationId="{4309F703-EE6C-0292-A5AC-2899640A770A}"/>
          </ac:spMkLst>
        </pc:spChg>
        <pc:spChg chg="add mod">
          <ac:chgData name="Paul Kuntz (Student at CentraleSupelec)" userId="13e0a3e2-9892-41c3-807e-2ca7b67a9271" providerId="ADAL" clId="{679907DC-319F-3E4D-9784-A4DB45D2E747}" dt="2022-11-24T18:13:35.340" v="2182" actId="164"/>
          <ac:spMkLst>
            <pc:docMk/>
            <pc:sldMk cId="179811998" sldId="293"/>
            <ac:spMk id="12" creationId="{9D2EBCC8-9B32-A4AF-9405-BE39510DA3CC}"/>
          </ac:spMkLst>
        </pc:spChg>
        <pc:spChg chg="add mod">
          <ac:chgData name="Paul Kuntz (Student at CentraleSupelec)" userId="13e0a3e2-9892-41c3-807e-2ca7b67a9271" providerId="ADAL" clId="{679907DC-319F-3E4D-9784-A4DB45D2E747}" dt="2022-11-24T19:15:22.416" v="3440" actId="404"/>
          <ac:spMkLst>
            <pc:docMk/>
            <pc:sldMk cId="179811998" sldId="293"/>
            <ac:spMk id="13" creationId="{22A03A3F-7399-3DFA-457F-CF0FA5B917CC}"/>
          </ac:spMkLst>
        </pc:spChg>
        <pc:spChg chg="add mod">
          <ac:chgData name="Paul Kuntz (Student at CentraleSupelec)" userId="13e0a3e2-9892-41c3-807e-2ca7b67a9271" providerId="ADAL" clId="{679907DC-319F-3E4D-9784-A4DB45D2E747}" dt="2022-11-24T19:16:56.047" v="3472" actId="20577"/>
          <ac:spMkLst>
            <pc:docMk/>
            <pc:sldMk cId="179811998" sldId="293"/>
            <ac:spMk id="14" creationId="{D8217A32-42C7-978A-CF9C-5ACE9B2C183A}"/>
          </ac:spMkLst>
        </pc:spChg>
        <pc:spChg chg="add mod">
          <ac:chgData name="Paul Kuntz (Student at CentraleSupelec)" userId="13e0a3e2-9892-41c3-807e-2ca7b67a9271" providerId="ADAL" clId="{679907DC-319F-3E4D-9784-A4DB45D2E747}" dt="2022-11-24T19:14:29.214" v="3361" actId="114"/>
          <ac:spMkLst>
            <pc:docMk/>
            <pc:sldMk cId="179811998" sldId="293"/>
            <ac:spMk id="15" creationId="{B9A4DCAF-AE66-5979-AD13-69CB672FB29C}"/>
          </ac:spMkLst>
        </pc:spChg>
        <pc:spChg chg="add mod">
          <ac:chgData name="Paul Kuntz (Student at CentraleSupelec)" userId="13e0a3e2-9892-41c3-807e-2ca7b67a9271" providerId="ADAL" clId="{679907DC-319F-3E4D-9784-A4DB45D2E747}" dt="2022-11-24T18:39:06.625" v="2545" actId="465"/>
          <ac:spMkLst>
            <pc:docMk/>
            <pc:sldMk cId="179811998" sldId="293"/>
            <ac:spMk id="16" creationId="{56CC0E55-D849-3B30-288B-773F76D68AC8}"/>
          </ac:spMkLst>
        </pc:spChg>
        <pc:spChg chg="add mod">
          <ac:chgData name="Paul Kuntz (Student at CentraleSupelec)" userId="13e0a3e2-9892-41c3-807e-2ca7b67a9271" providerId="ADAL" clId="{679907DC-319F-3E4D-9784-A4DB45D2E747}" dt="2022-11-24T18:15:17.270" v="2206" actId="465"/>
          <ac:spMkLst>
            <pc:docMk/>
            <pc:sldMk cId="179811998" sldId="293"/>
            <ac:spMk id="17" creationId="{BDDA354F-9B8D-AC3F-02D1-1CAF01726198}"/>
          </ac:spMkLst>
        </pc:spChg>
        <pc:spChg chg="add mod">
          <ac:chgData name="Paul Kuntz (Student at CentraleSupelec)" userId="13e0a3e2-9892-41c3-807e-2ca7b67a9271" providerId="ADAL" clId="{679907DC-319F-3E4D-9784-A4DB45D2E747}" dt="2022-11-24T18:14:19.606" v="2190" actId="465"/>
          <ac:spMkLst>
            <pc:docMk/>
            <pc:sldMk cId="179811998" sldId="293"/>
            <ac:spMk id="19" creationId="{C93CF4DF-5E53-BD8E-33D0-937C18A7187B}"/>
          </ac:spMkLst>
        </pc:spChg>
        <pc:spChg chg="add mod">
          <ac:chgData name="Paul Kuntz (Student at CentraleSupelec)" userId="13e0a3e2-9892-41c3-807e-2ca7b67a9271" providerId="ADAL" clId="{679907DC-319F-3E4D-9784-A4DB45D2E747}" dt="2022-11-24T18:15:05.622" v="2205" actId="1035"/>
          <ac:spMkLst>
            <pc:docMk/>
            <pc:sldMk cId="179811998" sldId="293"/>
            <ac:spMk id="22" creationId="{7FCE14DD-050C-7FA2-74BA-9C7BABD2CE58}"/>
          </ac:spMkLst>
        </pc:spChg>
        <pc:grpChg chg="add mod">
          <ac:chgData name="Paul Kuntz (Student at CentraleSupelec)" userId="13e0a3e2-9892-41c3-807e-2ca7b67a9271" providerId="ADAL" clId="{679907DC-319F-3E4D-9784-A4DB45D2E747}" dt="2022-11-24T18:14:28.034" v="2191" actId="12789"/>
          <ac:grpSpMkLst>
            <pc:docMk/>
            <pc:sldMk cId="179811998" sldId="293"/>
            <ac:grpSpMk id="23" creationId="{DCFBBB35-BB09-E33B-BDB4-319079ED4173}"/>
          </ac:grpSpMkLst>
        </pc:grpChg>
        <pc:grpChg chg="add mod">
          <ac:chgData name="Paul Kuntz (Student at CentraleSupelec)" userId="13e0a3e2-9892-41c3-807e-2ca7b67a9271" providerId="ADAL" clId="{679907DC-319F-3E4D-9784-A4DB45D2E747}" dt="2022-11-24T18:14:19.606" v="2190" actId="465"/>
          <ac:grpSpMkLst>
            <pc:docMk/>
            <pc:sldMk cId="179811998" sldId="293"/>
            <ac:grpSpMk id="24" creationId="{2E9AD743-2578-9251-C942-EFC41D878A6D}"/>
          </ac:grpSpMkLst>
        </pc:grpChg>
        <pc:grpChg chg="add mod">
          <ac:chgData name="Paul Kuntz (Student at CentraleSupelec)" userId="13e0a3e2-9892-41c3-807e-2ca7b67a9271" providerId="ADAL" clId="{679907DC-319F-3E4D-9784-A4DB45D2E747}" dt="2022-11-24T18:14:19.606" v="2190" actId="465"/>
          <ac:grpSpMkLst>
            <pc:docMk/>
            <pc:sldMk cId="179811998" sldId="293"/>
            <ac:grpSpMk id="25" creationId="{937508AC-64F8-08EC-83CE-68DA0C41AB1A}"/>
          </ac:grpSpMkLst>
        </pc:grpChg>
        <pc:grpChg chg="add mod">
          <ac:chgData name="Paul Kuntz (Student at CentraleSupelec)" userId="13e0a3e2-9892-41c3-807e-2ca7b67a9271" providerId="ADAL" clId="{679907DC-319F-3E4D-9784-A4DB45D2E747}" dt="2022-11-24T18:14:40.718" v="2192" actId="12789"/>
          <ac:grpSpMkLst>
            <pc:docMk/>
            <pc:sldMk cId="179811998" sldId="293"/>
            <ac:grpSpMk id="26" creationId="{26803C59-C450-CA8D-7855-88EC710CD955}"/>
          </ac:grpSpMkLst>
        </pc:grpChg>
        <pc:picChg chg="add mod">
          <ac:chgData name="Paul Kuntz (Student at CentraleSupelec)" userId="13e0a3e2-9892-41c3-807e-2ca7b67a9271" providerId="ADAL" clId="{679907DC-319F-3E4D-9784-A4DB45D2E747}" dt="2022-11-24T18:14:19.606" v="2190" actId="465"/>
          <ac:picMkLst>
            <pc:docMk/>
            <pc:sldMk cId="179811998" sldId="293"/>
            <ac:picMk id="6" creationId="{73AD0F3A-3C45-7DFD-EDBA-3DC158631711}"/>
          </ac:picMkLst>
        </pc:picChg>
        <pc:picChg chg="add mod">
          <ac:chgData name="Paul Kuntz (Student at CentraleSupelec)" userId="13e0a3e2-9892-41c3-807e-2ca7b67a9271" providerId="ADAL" clId="{679907DC-319F-3E4D-9784-A4DB45D2E747}" dt="2022-11-24T18:14:19.606" v="2190" actId="465"/>
          <ac:picMkLst>
            <pc:docMk/>
            <pc:sldMk cId="179811998" sldId="293"/>
            <ac:picMk id="18" creationId="{7C6996E0-D9E6-FDB7-4684-12236C40586E}"/>
          </ac:picMkLst>
        </pc:picChg>
        <pc:picChg chg="add mod">
          <ac:chgData name="Paul Kuntz (Student at CentraleSupelec)" userId="13e0a3e2-9892-41c3-807e-2ca7b67a9271" providerId="ADAL" clId="{679907DC-319F-3E4D-9784-A4DB45D2E747}" dt="2022-11-24T18:13:45.276" v="2185" actId="164"/>
          <ac:picMkLst>
            <pc:docMk/>
            <pc:sldMk cId="179811998" sldId="293"/>
            <ac:picMk id="20" creationId="{31DF2577-2B03-DF33-6237-BBE0517AB9C6}"/>
          </ac:picMkLst>
        </pc:picChg>
        <pc:picChg chg="add mod">
          <ac:chgData name="Paul Kuntz (Student at CentraleSupelec)" userId="13e0a3e2-9892-41c3-807e-2ca7b67a9271" providerId="ADAL" clId="{679907DC-319F-3E4D-9784-A4DB45D2E747}" dt="2022-11-24T18:13:35.340" v="2182" actId="164"/>
          <ac:picMkLst>
            <pc:docMk/>
            <pc:sldMk cId="179811998" sldId="293"/>
            <ac:picMk id="21" creationId="{CEDA1A99-D2AC-1144-4746-EC39C70A6E95}"/>
          </ac:picMkLst>
        </pc:picChg>
      </pc:sldChg>
      <pc:sldChg chg="addSp delSp modSp add mod setBg">
        <pc:chgData name="Paul Kuntz (Student at CentraleSupelec)" userId="13e0a3e2-9892-41c3-807e-2ca7b67a9271" providerId="ADAL" clId="{679907DC-319F-3E4D-9784-A4DB45D2E747}" dt="2022-11-24T18:55:17.113" v="2846" actId="1036"/>
        <pc:sldMkLst>
          <pc:docMk/>
          <pc:sldMk cId="199762290" sldId="294"/>
        </pc:sldMkLst>
        <pc:spChg chg="mod">
          <ac:chgData name="Paul Kuntz (Student at CentraleSupelec)" userId="13e0a3e2-9892-41c3-807e-2ca7b67a9271" providerId="ADAL" clId="{679907DC-319F-3E4D-9784-A4DB45D2E747}" dt="2022-11-24T18:16:01.953" v="2224" actId="1076"/>
          <ac:spMkLst>
            <pc:docMk/>
            <pc:sldMk cId="199762290" sldId="294"/>
            <ac:spMk id="2" creationId="{00000000-0000-0000-0000-000000000000}"/>
          </ac:spMkLst>
        </pc:spChg>
        <pc:spChg chg="add del mod">
          <ac:chgData name="Paul Kuntz (Student at CentraleSupelec)" userId="13e0a3e2-9892-41c3-807e-2ca7b67a9271" providerId="ADAL" clId="{679907DC-319F-3E4D-9784-A4DB45D2E747}" dt="2022-11-24T18:11:13.377" v="2155"/>
          <ac:spMkLst>
            <pc:docMk/>
            <pc:sldMk cId="199762290" sldId="294"/>
            <ac:spMk id="4" creationId="{35003C8D-E588-C557-E0CA-701757FC1123}"/>
          </ac:spMkLst>
        </pc:spChg>
        <pc:spChg chg="add del mod">
          <ac:chgData name="Paul Kuntz (Student at CentraleSupelec)" userId="13e0a3e2-9892-41c3-807e-2ca7b67a9271" providerId="ADAL" clId="{679907DC-319F-3E4D-9784-A4DB45D2E747}" dt="2022-11-24T18:11:16.174" v="2157" actId="767"/>
          <ac:spMkLst>
            <pc:docMk/>
            <pc:sldMk cId="199762290" sldId="294"/>
            <ac:spMk id="5" creationId="{54946C40-A2FF-8518-3AA7-F3FA362DB258}"/>
          </ac:spMkLst>
        </pc:spChg>
        <pc:spChg chg="add del mod">
          <ac:chgData name="Paul Kuntz (Student at CentraleSupelec)" userId="13e0a3e2-9892-41c3-807e-2ca7b67a9271" providerId="ADAL" clId="{679907DC-319F-3E4D-9784-A4DB45D2E747}" dt="2022-11-24T18:23:13.870" v="2361"/>
          <ac:spMkLst>
            <pc:docMk/>
            <pc:sldMk cId="199762290" sldId="294"/>
            <ac:spMk id="6" creationId="{F16797D0-C9F0-7266-333E-2C3026A5220B}"/>
          </ac:spMkLst>
        </pc:spChg>
        <pc:graphicFrameChg chg="mod">
          <ac:chgData name="Paul Kuntz (Student at CentraleSupelec)" userId="13e0a3e2-9892-41c3-807e-2ca7b67a9271" providerId="ADAL" clId="{679907DC-319F-3E4D-9784-A4DB45D2E747}" dt="2022-11-24T18:10:44.782" v="2132" actId="1076"/>
          <ac:graphicFrameMkLst>
            <pc:docMk/>
            <pc:sldMk cId="199762290" sldId="294"/>
            <ac:graphicFrameMk id="3" creationId="{8CAFE477-FFBD-F1D2-A101-B1DA771C80DF}"/>
          </ac:graphicFrameMkLst>
        </pc:graphicFrameChg>
        <pc:picChg chg="mod">
          <ac:chgData name="Paul Kuntz (Student at CentraleSupelec)" userId="13e0a3e2-9892-41c3-807e-2ca7b67a9271" providerId="ADAL" clId="{679907DC-319F-3E4D-9784-A4DB45D2E747}" dt="2022-11-24T18:55:04.293" v="2843" actId="1036"/>
          <ac:picMkLst>
            <pc:docMk/>
            <pc:sldMk cId="199762290" sldId="294"/>
            <ac:picMk id="13" creationId="{37A46EFC-2B28-0902-6CDD-5CB64A4B7A3F}"/>
          </ac:picMkLst>
        </pc:picChg>
        <pc:picChg chg="mod">
          <ac:chgData name="Paul Kuntz (Student at CentraleSupelec)" userId="13e0a3e2-9892-41c3-807e-2ca7b67a9271" providerId="ADAL" clId="{679907DC-319F-3E4D-9784-A4DB45D2E747}" dt="2022-11-24T18:55:17.113" v="2846" actId="1036"/>
          <ac:picMkLst>
            <pc:docMk/>
            <pc:sldMk cId="199762290" sldId="294"/>
            <ac:picMk id="18" creationId="{E37F56F5-234F-731F-CCBA-8B9FC592F28C}"/>
          </ac:picMkLst>
        </pc:picChg>
        <pc:picChg chg="mod">
          <ac:chgData name="Paul Kuntz (Student at CentraleSupelec)" userId="13e0a3e2-9892-41c3-807e-2ca7b67a9271" providerId="ADAL" clId="{679907DC-319F-3E4D-9784-A4DB45D2E747}" dt="2022-11-24T18:55:04.293" v="2843" actId="1036"/>
          <ac:picMkLst>
            <pc:docMk/>
            <pc:sldMk cId="199762290" sldId="294"/>
            <ac:picMk id="19" creationId="{C6528322-1335-E008-AFC6-4D358CB6BD90}"/>
          </ac:picMkLst>
        </pc:picChg>
        <pc:picChg chg="mod">
          <ac:chgData name="Paul Kuntz (Student at CentraleSupelec)" userId="13e0a3e2-9892-41c3-807e-2ca7b67a9271" providerId="ADAL" clId="{679907DC-319F-3E4D-9784-A4DB45D2E747}" dt="2022-11-24T18:55:04.293" v="2843" actId="1036"/>
          <ac:picMkLst>
            <pc:docMk/>
            <pc:sldMk cId="199762290" sldId="294"/>
            <ac:picMk id="21" creationId="{5AB951C8-29D8-6483-74C5-90EE1D0FCC07}"/>
          </ac:picMkLst>
        </pc:picChg>
        <pc:picChg chg="mod">
          <ac:chgData name="Paul Kuntz (Student at CentraleSupelec)" userId="13e0a3e2-9892-41c3-807e-2ca7b67a9271" providerId="ADAL" clId="{679907DC-319F-3E4D-9784-A4DB45D2E747}" dt="2022-11-24T18:55:04.293" v="2843" actId="1036"/>
          <ac:picMkLst>
            <pc:docMk/>
            <pc:sldMk cId="199762290" sldId="294"/>
            <ac:picMk id="22" creationId="{81B821AA-E9D5-63FD-7AAE-321F141ADD3B}"/>
          </ac:picMkLst>
        </pc:picChg>
        <pc:picChg chg="mod">
          <ac:chgData name="Paul Kuntz (Student at CentraleSupelec)" userId="13e0a3e2-9892-41c3-807e-2ca7b67a9271" providerId="ADAL" clId="{679907DC-319F-3E4D-9784-A4DB45D2E747}" dt="2022-11-24T18:55:04.293" v="2843" actId="1036"/>
          <ac:picMkLst>
            <pc:docMk/>
            <pc:sldMk cId="199762290" sldId="294"/>
            <ac:picMk id="24" creationId="{8263759E-49BE-3A3B-9FE0-86706B97BE8A}"/>
          </ac:picMkLst>
        </pc:picChg>
      </pc:sldChg>
      <pc:sldChg chg="addSp delSp modSp add mod ord">
        <pc:chgData name="Paul Kuntz (Student at CentraleSupelec)" userId="13e0a3e2-9892-41c3-807e-2ca7b67a9271" providerId="ADAL" clId="{679907DC-319F-3E4D-9784-A4DB45D2E747}" dt="2022-11-25T09:55:06.514" v="7824"/>
        <pc:sldMkLst>
          <pc:docMk/>
          <pc:sldMk cId="2108961930" sldId="295"/>
        </pc:sldMkLst>
        <pc:spChg chg="mod">
          <ac:chgData name="Paul Kuntz (Student at CentraleSupelec)" userId="13e0a3e2-9892-41c3-807e-2ca7b67a9271" providerId="ADAL" clId="{679907DC-319F-3E4D-9784-A4DB45D2E747}" dt="2022-11-24T18:16:42.095" v="2277" actId="20577"/>
          <ac:spMkLst>
            <pc:docMk/>
            <pc:sldMk cId="2108961930" sldId="295"/>
            <ac:spMk id="3" creationId="{00000000-0000-0000-0000-000000000000}"/>
          </ac:spMkLst>
        </pc:spChg>
        <pc:spChg chg="add mod">
          <ac:chgData name="Paul Kuntz (Student at CentraleSupelec)" userId="13e0a3e2-9892-41c3-807e-2ca7b67a9271" providerId="ADAL" clId="{679907DC-319F-3E4D-9784-A4DB45D2E747}" dt="2022-11-24T18:54:29.845" v="2834" actId="207"/>
          <ac:spMkLst>
            <pc:docMk/>
            <pc:sldMk cId="2108961930" sldId="295"/>
            <ac:spMk id="6" creationId="{741E995D-64D1-1AC7-2439-5DAEC11AF0A5}"/>
          </ac:spMkLst>
        </pc:spChg>
        <pc:spChg chg="mod">
          <ac:chgData name="Paul Kuntz (Student at CentraleSupelec)" userId="13e0a3e2-9892-41c3-807e-2ca7b67a9271" providerId="ADAL" clId="{679907DC-319F-3E4D-9784-A4DB45D2E747}" dt="2022-11-24T18:21:56.877" v="2349" actId="20577"/>
          <ac:spMkLst>
            <pc:docMk/>
            <pc:sldMk cId="2108961930" sldId="295"/>
            <ac:spMk id="7" creationId="{00000000-0000-0000-0000-000000000000}"/>
          </ac:spMkLst>
        </pc:spChg>
        <pc:spChg chg="del">
          <ac:chgData name="Paul Kuntz (Student at CentraleSupelec)" userId="13e0a3e2-9892-41c3-807e-2ca7b67a9271" providerId="ADAL" clId="{679907DC-319F-3E4D-9784-A4DB45D2E747}" dt="2022-11-24T18:16:50.066" v="2278" actId="478"/>
          <ac:spMkLst>
            <pc:docMk/>
            <pc:sldMk cId="2108961930" sldId="295"/>
            <ac:spMk id="8" creationId="{A9EE7830-DE24-1614-599A-992CF1D806DC}"/>
          </ac:spMkLst>
        </pc:spChg>
        <pc:spChg chg="add mod">
          <ac:chgData name="Paul Kuntz (Student at CentraleSupelec)" userId="13e0a3e2-9892-41c3-807e-2ca7b67a9271" providerId="ADAL" clId="{679907DC-319F-3E4D-9784-A4DB45D2E747}" dt="2022-11-24T23:41:29.247" v="7399" actId="408"/>
          <ac:spMkLst>
            <pc:docMk/>
            <pc:sldMk cId="2108961930" sldId="295"/>
            <ac:spMk id="10" creationId="{82699CE5-803F-3BBD-E60F-58439588089A}"/>
          </ac:spMkLst>
        </pc:spChg>
        <pc:spChg chg="add del mod">
          <ac:chgData name="Paul Kuntz (Student at CentraleSupelec)" userId="13e0a3e2-9892-41c3-807e-2ca7b67a9271" providerId="ADAL" clId="{679907DC-319F-3E4D-9784-A4DB45D2E747}" dt="2022-11-25T09:55:06.514" v="7824"/>
          <ac:spMkLst>
            <pc:docMk/>
            <pc:sldMk cId="2108961930" sldId="295"/>
            <ac:spMk id="11" creationId="{526E740C-19BE-ABCA-10A6-84BD6393882F}"/>
          </ac:spMkLst>
        </pc:spChg>
        <pc:spChg chg="add del mod">
          <ac:chgData name="Paul Kuntz (Student at CentraleSupelec)" userId="13e0a3e2-9892-41c3-807e-2ca7b67a9271" providerId="ADAL" clId="{679907DC-319F-3E4D-9784-A4DB45D2E747}" dt="2022-11-25T09:55:06.514" v="7824"/>
          <ac:spMkLst>
            <pc:docMk/>
            <pc:sldMk cId="2108961930" sldId="295"/>
            <ac:spMk id="12" creationId="{4C7F25D4-CFC5-4EB2-D685-0A569417C87B}"/>
          </ac:spMkLst>
        </pc:spChg>
        <pc:spChg chg="del">
          <ac:chgData name="Paul Kuntz (Student at CentraleSupelec)" userId="13e0a3e2-9892-41c3-807e-2ca7b67a9271" providerId="ADAL" clId="{679907DC-319F-3E4D-9784-A4DB45D2E747}" dt="2022-11-24T18:16:50.066" v="2278" actId="478"/>
          <ac:spMkLst>
            <pc:docMk/>
            <pc:sldMk cId="2108961930" sldId="295"/>
            <ac:spMk id="13" creationId="{22A03A3F-7399-3DFA-457F-CF0FA5B917CC}"/>
          </ac:spMkLst>
        </pc:spChg>
        <pc:spChg chg="del">
          <ac:chgData name="Paul Kuntz (Student at CentraleSupelec)" userId="13e0a3e2-9892-41c3-807e-2ca7b67a9271" providerId="ADAL" clId="{679907DC-319F-3E4D-9784-A4DB45D2E747}" dt="2022-11-24T18:16:50.066" v="2278" actId="478"/>
          <ac:spMkLst>
            <pc:docMk/>
            <pc:sldMk cId="2108961930" sldId="295"/>
            <ac:spMk id="14" creationId="{D8217A32-42C7-978A-CF9C-5ACE9B2C183A}"/>
          </ac:spMkLst>
        </pc:spChg>
        <pc:spChg chg="del">
          <ac:chgData name="Paul Kuntz (Student at CentraleSupelec)" userId="13e0a3e2-9892-41c3-807e-2ca7b67a9271" providerId="ADAL" clId="{679907DC-319F-3E4D-9784-A4DB45D2E747}" dt="2022-11-24T18:16:50.066" v="2278" actId="478"/>
          <ac:spMkLst>
            <pc:docMk/>
            <pc:sldMk cId="2108961930" sldId="295"/>
            <ac:spMk id="15" creationId="{B9A4DCAF-AE66-5979-AD13-69CB672FB29C}"/>
          </ac:spMkLst>
        </pc:spChg>
        <pc:spChg chg="del">
          <ac:chgData name="Paul Kuntz (Student at CentraleSupelec)" userId="13e0a3e2-9892-41c3-807e-2ca7b67a9271" providerId="ADAL" clId="{679907DC-319F-3E4D-9784-A4DB45D2E747}" dt="2022-11-24T18:16:50.066" v="2278" actId="478"/>
          <ac:spMkLst>
            <pc:docMk/>
            <pc:sldMk cId="2108961930" sldId="295"/>
            <ac:spMk id="16" creationId="{56CC0E55-D849-3B30-288B-773F76D68AC8}"/>
          </ac:spMkLst>
        </pc:spChg>
        <pc:spChg chg="del">
          <ac:chgData name="Paul Kuntz (Student at CentraleSupelec)" userId="13e0a3e2-9892-41c3-807e-2ca7b67a9271" providerId="ADAL" clId="{679907DC-319F-3E4D-9784-A4DB45D2E747}" dt="2022-11-24T18:16:50.066" v="2278" actId="478"/>
          <ac:spMkLst>
            <pc:docMk/>
            <pc:sldMk cId="2108961930" sldId="295"/>
            <ac:spMk id="17" creationId="{BDDA354F-9B8D-AC3F-02D1-1CAF01726198}"/>
          </ac:spMkLst>
        </pc:spChg>
        <pc:spChg chg="del">
          <ac:chgData name="Paul Kuntz (Student at CentraleSupelec)" userId="13e0a3e2-9892-41c3-807e-2ca7b67a9271" providerId="ADAL" clId="{679907DC-319F-3E4D-9784-A4DB45D2E747}" dt="2022-11-24T18:16:50.066" v="2278" actId="478"/>
          <ac:spMkLst>
            <pc:docMk/>
            <pc:sldMk cId="2108961930" sldId="295"/>
            <ac:spMk id="22" creationId="{7FCE14DD-050C-7FA2-74BA-9C7BABD2CE58}"/>
          </ac:spMkLst>
        </pc:spChg>
        <pc:spChg chg="add mod">
          <ac:chgData name="Paul Kuntz (Student at CentraleSupelec)" userId="13e0a3e2-9892-41c3-807e-2ca7b67a9271" providerId="ADAL" clId="{679907DC-319F-3E4D-9784-A4DB45D2E747}" dt="2022-11-24T23:41:29.247" v="7399" actId="408"/>
          <ac:spMkLst>
            <pc:docMk/>
            <pc:sldMk cId="2108961930" sldId="295"/>
            <ac:spMk id="27" creationId="{0D95BCFA-C48D-EC17-D4DB-87CE4C902A00}"/>
          </ac:spMkLst>
        </pc:spChg>
        <pc:spChg chg="add mod">
          <ac:chgData name="Paul Kuntz (Student at CentraleSupelec)" userId="13e0a3e2-9892-41c3-807e-2ca7b67a9271" providerId="ADAL" clId="{679907DC-319F-3E4D-9784-A4DB45D2E747}" dt="2022-11-24T23:41:29.247" v="7399" actId="408"/>
          <ac:spMkLst>
            <pc:docMk/>
            <pc:sldMk cId="2108961930" sldId="295"/>
            <ac:spMk id="28" creationId="{8E7267B1-61D9-1332-830B-E987CC7286BE}"/>
          </ac:spMkLst>
        </pc:spChg>
        <pc:spChg chg="add mod">
          <ac:chgData name="Paul Kuntz (Student at CentraleSupelec)" userId="13e0a3e2-9892-41c3-807e-2ca7b67a9271" providerId="ADAL" clId="{679907DC-319F-3E4D-9784-A4DB45D2E747}" dt="2022-11-24T23:41:29.247" v="7399" actId="408"/>
          <ac:spMkLst>
            <pc:docMk/>
            <pc:sldMk cId="2108961930" sldId="295"/>
            <ac:spMk id="29" creationId="{90B583E7-A246-DD3D-DF35-C69FAEFB6FB1}"/>
          </ac:spMkLst>
        </pc:spChg>
        <pc:spChg chg="add mod">
          <ac:chgData name="Paul Kuntz (Student at CentraleSupelec)" userId="13e0a3e2-9892-41c3-807e-2ca7b67a9271" providerId="ADAL" clId="{679907DC-319F-3E4D-9784-A4DB45D2E747}" dt="2022-11-24T23:41:29.247" v="7399" actId="408"/>
          <ac:spMkLst>
            <pc:docMk/>
            <pc:sldMk cId="2108961930" sldId="295"/>
            <ac:spMk id="30" creationId="{7888EA0D-E5CC-B468-ED57-4AA73C182AD4}"/>
          </ac:spMkLst>
        </pc:spChg>
        <pc:spChg chg="mod">
          <ac:chgData name="Paul Kuntz (Student at CentraleSupelec)" userId="13e0a3e2-9892-41c3-807e-2ca7b67a9271" providerId="ADAL" clId="{679907DC-319F-3E4D-9784-A4DB45D2E747}" dt="2022-11-24T23:41:29.247" v="7399" actId="408"/>
          <ac:spMkLst>
            <pc:docMk/>
            <pc:sldMk cId="2108961930" sldId="295"/>
            <ac:spMk id="32" creationId="{444BB12A-A4F1-3DF2-9F55-D865DAF19C20}"/>
          </ac:spMkLst>
        </pc:spChg>
        <pc:spChg chg="mod">
          <ac:chgData name="Paul Kuntz (Student at CentraleSupelec)" userId="13e0a3e2-9892-41c3-807e-2ca7b67a9271" providerId="ADAL" clId="{679907DC-319F-3E4D-9784-A4DB45D2E747}" dt="2022-11-24T23:41:29.247" v="7399" actId="408"/>
          <ac:spMkLst>
            <pc:docMk/>
            <pc:sldMk cId="2108961930" sldId="295"/>
            <ac:spMk id="33" creationId="{8659D628-74E6-F080-6E1D-3772D4D68B14}"/>
          </ac:spMkLst>
        </pc:spChg>
        <pc:spChg chg="mod">
          <ac:chgData name="Paul Kuntz (Student at CentraleSupelec)" userId="13e0a3e2-9892-41c3-807e-2ca7b67a9271" providerId="ADAL" clId="{679907DC-319F-3E4D-9784-A4DB45D2E747}" dt="2022-11-24T23:41:29.247" v="7399" actId="408"/>
          <ac:spMkLst>
            <pc:docMk/>
            <pc:sldMk cId="2108961930" sldId="295"/>
            <ac:spMk id="35" creationId="{BDD2FA39-7105-5340-8DA7-3F526C4CD498}"/>
          </ac:spMkLst>
        </pc:spChg>
        <pc:spChg chg="mod">
          <ac:chgData name="Paul Kuntz (Student at CentraleSupelec)" userId="13e0a3e2-9892-41c3-807e-2ca7b67a9271" providerId="ADAL" clId="{679907DC-319F-3E4D-9784-A4DB45D2E747}" dt="2022-11-24T23:41:29.247" v="7399" actId="408"/>
          <ac:spMkLst>
            <pc:docMk/>
            <pc:sldMk cId="2108961930" sldId="295"/>
            <ac:spMk id="36" creationId="{127C9FD6-AE2F-1664-4B45-702758848963}"/>
          </ac:spMkLst>
        </pc:spChg>
        <pc:spChg chg="mod">
          <ac:chgData name="Paul Kuntz (Student at CentraleSupelec)" userId="13e0a3e2-9892-41c3-807e-2ca7b67a9271" providerId="ADAL" clId="{679907DC-319F-3E4D-9784-A4DB45D2E747}" dt="2022-11-24T23:41:29.247" v="7399" actId="408"/>
          <ac:spMkLst>
            <pc:docMk/>
            <pc:sldMk cId="2108961930" sldId="295"/>
            <ac:spMk id="38" creationId="{3DA9D25B-1399-A16A-340B-47E32A829AB0}"/>
          </ac:spMkLst>
        </pc:spChg>
        <pc:spChg chg="mod">
          <ac:chgData name="Paul Kuntz (Student at CentraleSupelec)" userId="13e0a3e2-9892-41c3-807e-2ca7b67a9271" providerId="ADAL" clId="{679907DC-319F-3E4D-9784-A4DB45D2E747}" dt="2022-11-24T23:41:29.247" v="7399" actId="408"/>
          <ac:spMkLst>
            <pc:docMk/>
            <pc:sldMk cId="2108961930" sldId="295"/>
            <ac:spMk id="39" creationId="{7FD44A68-B6E7-5B88-D00D-776420951FB8}"/>
          </ac:spMkLst>
        </pc:spChg>
        <pc:spChg chg="mod">
          <ac:chgData name="Paul Kuntz (Student at CentraleSupelec)" userId="13e0a3e2-9892-41c3-807e-2ca7b67a9271" providerId="ADAL" clId="{679907DC-319F-3E4D-9784-A4DB45D2E747}" dt="2022-11-24T23:41:29.247" v="7399" actId="408"/>
          <ac:spMkLst>
            <pc:docMk/>
            <pc:sldMk cId="2108961930" sldId="295"/>
            <ac:spMk id="41" creationId="{78CA525B-3C86-6A98-E80C-EC8D0297A5E1}"/>
          </ac:spMkLst>
        </pc:spChg>
        <pc:spChg chg="mod">
          <ac:chgData name="Paul Kuntz (Student at CentraleSupelec)" userId="13e0a3e2-9892-41c3-807e-2ca7b67a9271" providerId="ADAL" clId="{679907DC-319F-3E4D-9784-A4DB45D2E747}" dt="2022-11-24T23:41:29.247" v="7399" actId="408"/>
          <ac:spMkLst>
            <pc:docMk/>
            <pc:sldMk cId="2108961930" sldId="295"/>
            <ac:spMk id="42" creationId="{FC6635DE-C413-A8B9-B620-955EA31D8CDA}"/>
          </ac:spMkLst>
        </pc:spChg>
        <pc:spChg chg="add mod">
          <ac:chgData name="Paul Kuntz (Student at CentraleSupelec)" userId="13e0a3e2-9892-41c3-807e-2ca7b67a9271" providerId="ADAL" clId="{679907DC-319F-3E4D-9784-A4DB45D2E747}" dt="2022-11-24T18:22:45.397" v="2358" actId="14100"/>
          <ac:spMkLst>
            <pc:docMk/>
            <pc:sldMk cId="2108961930" sldId="295"/>
            <ac:spMk id="43" creationId="{CA3F97C3-F0BA-D6BA-E5DC-19121E864BFE}"/>
          </ac:spMkLst>
        </pc:spChg>
        <pc:spChg chg="add mod">
          <ac:chgData name="Paul Kuntz (Student at CentraleSupelec)" userId="13e0a3e2-9892-41c3-807e-2ca7b67a9271" providerId="ADAL" clId="{679907DC-319F-3E4D-9784-A4DB45D2E747}" dt="2022-11-24T18:50:41.518" v="2794" actId="404"/>
          <ac:spMkLst>
            <pc:docMk/>
            <pc:sldMk cId="2108961930" sldId="295"/>
            <ac:spMk id="44" creationId="{3BAACAEB-68E2-61C2-C286-45C9D3BB3B52}"/>
          </ac:spMkLst>
        </pc:spChg>
        <pc:spChg chg="add mod">
          <ac:chgData name="Paul Kuntz (Student at CentraleSupelec)" userId="13e0a3e2-9892-41c3-807e-2ca7b67a9271" providerId="ADAL" clId="{679907DC-319F-3E4D-9784-A4DB45D2E747}" dt="2022-11-24T18:50:41.518" v="2794" actId="404"/>
          <ac:spMkLst>
            <pc:docMk/>
            <pc:sldMk cId="2108961930" sldId="295"/>
            <ac:spMk id="45" creationId="{7CCF33E6-207E-EE8D-D5CC-020DCE7ABD77}"/>
          </ac:spMkLst>
        </pc:spChg>
        <pc:spChg chg="add mod">
          <ac:chgData name="Paul Kuntz (Student at CentraleSupelec)" userId="13e0a3e2-9892-41c3-807e-2ca7b67a9271" providerId="ADAL" clId="{679907DC-319F-3E4D-9784-A4DB45D2E747}" dt="2022-11-24T18:24:48.503" v="2373"/>
          <ac:spMkLst>
            <pc:docMk/>
            <pc:sldMk cId="2108961930" sldId="295"/>
            <ac:spMk id="46" creationId="{871D0980-472F-9602-958F-A97455881A37}"/>
          </ac:spMkLst>
        </pc:spChg>
        <pc:spChg chg="add mod">
          <ac:chgData name="Paul Kuntz (Student at CentraleSupelec)" userId="13e0a3e2-9892-41c3-807e-2ca7b67a9271" providerId="ADAL" clId="{679907DC-319F-3E4D-9784-A4DB45D2E747}" dt="2022-11-24T18:24:48.503" v="2373"/>
          <ac:spMkLst>
            <pc:docMk/>
            <pc:sldMk cId="2108961930" sldId="295"/>
            <ac:spMk id="47" creationId="{7063491F-EB18-8B5E-3A2C-3495F1ACF8E9}"/>
          </ac:spMkLst>
        </pc:spChg>
        <pc:spChg chg="add mod">
          <ac:chgData name="Paul Kuntz (Student at CentraleSupelec)" userId="13e0a3e2-9892-41c3-807e-2ca7b67a9271" providerId="ADAL" clId="{679907DC-319F-3E4D-9784-A4DB45D2E747}" dt="2022-11-24T23:41:29.247" v="7399" actId="408"/>
          <ac:spMkLst>
            <pc:docMk/>
            <pc:sldMk cId="2108961930" sldId="295"/>
            <ac:spMk id="48" creationId="{6B671FEB-76AB-7CCA-0BF4-AB41ACA8F3D8}"/>
          </ac:spMkLst>
        </pc:spChg>
        <pc:spChg chg="add mod">
          <ac:chgData name="Paul Kuntz (Student at CentraleSupelec)" userId="13e0a3e2-9892-41c3-807e-2ca7b67a9271" providerId="ADAL" clId="{679907DC-319F-3E4D-9784-A4DB45D2E747}" dt="2022-11-24T23:41:29.247" v="7399" actId="408"/>
          <ac:spMkLst>
            <pc:docMk/>
            <pc:sldMk cId="2108961930" sldId="295"/>
            <ac:spMk id="49" creationId="{89B92803-5C34-8964-B31C-F878F2362BD1}"/>
          </ac:spMkLst>
        </pc:spChg>
        <pc:grpChg chg="add mod">
          <ac:chgData name="Paul Kuntz (Student at CentraleSupelec)" userId="13e0a3e2-9892-41c3-807e-2ca7b67a9271" providerId="ADAL" clId="{679907DC-319F-3E4D-9784-A4DB45D2E747}" dt="2022-11-24T23:41:29.247" v="7399" actId="408"/>
          <ac:grpSpMkLst>
            <pc:docMk/>
            <pc:sldMk cId="2108961930" sldId="295"/>
            <ac:grpSpMk id="8" creationId="{72C505EE-5921-C595-EFBF-BAB659261A43}"/>
          </ac:grpSpMkLst>
        </pc:grpChg>
        <pc:grpChg chg="add mod">
          <ac:chgData name="Paul Kuntz (Student at CentraleSupelec)" userId="13e0a3e2-9892-41c3-807e-2ca7b67a9271" providerId="ADAL" clId="{679907DC-319F-3E4D-9784-A4DB45D2E747}" dt="2022-11-24T23:41:29.247" v="7399" actId="408"/>
          <ac:grpSpMkLst>
            <pc:docMk/>
            <pc:sldMk cId="2108961930" sldId="295"/>
            <ac:grpSpMk id="9" creationId="{E1365741-0908-9F84-5D4C-D18FFF2648CB}"/>
          </ac:grpSpMkLst>
        </pc:grpChg>
        <pc:grpChg chg="del">
          <ac:chgData name="Paul Kuntz (Student at CentraleSupelec)" userId="13e0a3e2-9892-41c3-807e-2ca7b67a9271" providerId="ADAL" clId="{679907DC-319F-3E4D-9784-A4DB45D2E747}" dt="2022-11-24T18:16:50.066" v="2278" actId="478"/>
          <ac:grpSpMkLst>
            <pc:docMk/>
            <pc:sldMk cId="2108961930" sldId="295"/>
            <ac:grpSpMk id="23" creationId="{DCFBBB35-BB09-E33B-BDB4-319079ED4173}"/>
          </ac:grpSpMkLst>
        </pc:grpChg>
        <pc:grpChg chg="del">
          <ac:chgData name="Paul Kuntz (Student at CentraleSupelec)" userId="13e0a3e2-9892-41c3-807e-2ca7b67a9271" providerId="ADAL" clId="{679907DC-319F-3E4D-9784-A4DB45D2E747}" dt="2022-11-24T18:16:50.066" v="2278" actId="478"/>
          <ac:grpSpMkLst>
            <pc:docMk/>
            <pc:sldMk cId="2108961930" sldId="295"/>
            <ac:grpSpMk id="24" creationId="{2E9AD743-2578-9251-C942-EFC41D878A6D}"/>
          </ac:grpSpMkLst>
        </pc:grpChg>
        <pc:grpChg chg="del">
          <ac:chgData name="Paul Kuntz (Student at CentraleSupelec)" userId="13e0a3e2-9892-41c3-807e-2ca7b67a9271" providerId="ADAL" clId="{679907DC-319F-3E4D-9784-A4DB45D2E747}" dt="2022-11-24T18:16:50.066" v="2278" actId="478"/>
          <ac:grpSpMkLst>
            <pc:docMk/>
            <pc:sldMk cId="2108961930" sldId="295"/>
            <ac:grpSpMk id="25" creationId="{937508AC-64F8-08EC-83CE-68DA0C41AB1A}"/>
          </ac:grpSpMkLst>
        </pc:grpChg>
        <pc:grpChg chg="del">
          <ac:chgData name="Paul Kuntz (Student at CentraleSupelec)" userId="13e0a3e2-9892-41c3-807e-2ca7b67a9271" providerId="ADAL" clId="{679907DC-319F-3E4D-9784-A4DB45D2E747}" dt="2022-11-24T18:16:50.066" v="2278" actId="478"/>
          <ac:grpSpMkLst>
            <pc:docMk/>
            <pc:sldMk cId="2108961930" sldId="295"/>
            <ac:grpSpMk id="26" creationId="{26803C59-C450-CA8D-7855-88EC710CD955}"/>
          </ac:grpSpMkLst>
        </pc:grpChg>
        <pc:grpChg chg="add mod">
          <ac:chgData name="Paul Kuntz (Student at CentraleSupelec)" userId="13e0a3e2-9892-41c3-807e-2ca7b67a9271" providerId="ADAL" clId="{679907DC-319F-3E4D-9784-A4DB45D2E747}" dt="2022-11-24T23:41:29.247" v="7399" actId="408"/>
          <ac:grpSpMkLst>
            <pc:docMk/>
            <pc:sldMk cId="2108961930" sldId="295"/>
            <ac:grpSpMk id="31" creationId="{26F9BE3E-D828-FD70-9551-1A036A93F85E}"/>
          </ac:grpSpMkLst>
        </pc:grpChg>
        <pc:grpChg chg="add mod">
          <ac:chgData name="Paul Kuntz (Student at CentraleSupelec)" userId="13e0a3e2-9892-41c3-807e-2ca7b67a9271" providerId="ADAL" clId="{679907DC-319F-3E4D-9784-A4DB45D2E747}" dt="2022-11-24T23:41:29.247" v="7399" actId="408"/>
          <ac:grpSpMkLst>
            <pc:docMk/>
            <pc:sldMk cId="2108961930" sldId="295"/>
            <ac:grpSpMk id="34" creationId="{01FA05DF-E1C0-7829-74A0-80D0481C99A5}"/>
          </ac:grpSpMkLst>
        </pc:grpChg>
        <pc:grpChg chg="add mod">
          <ac:chgData name="Paul Kuntz (Student at CentraleSupelec)" userId="13e0a3e2-9892-41c3-807e-2ca7b67a9271" providerId="ADAL" clId="{679907DC-319F-3E4D-9784-A4DB45D2E747}" dt="2022-11-24T23:41:29.247" v="7399" actId="408"/>
          <ac:grpSpMkLst>
            <pc:docMk/>
            <pc:sldMk cId="2108961930" sldId="295"/>
            <ac:grpSpMk id="37" creationId="{5C786DED-B098-1B38-27D4-6A559D8FB923}"/>
          </ac:grpSpMkLst>
        </pc:grpChg>
        <pc:grpChg chg="add mod">
          <ac:chgData name="Paul Kuntz (Student at CentraleSupelec)" userId="13e0a3e2-9892-41c3-807e-2ca7b67a9271" providerId="ADAL" clId="{679907DC-319F-3E4D-9784-A4DB45D2E747}" dt="2022-11-24T23:41:29.247" v="7399" actId="408"/>
          <ac:grpSpMkLst>
            <pc:docMk/>
            <pc:sldMk cId="2108961930" sldId="295"/>
            <ac:grpSpMk id="40" creationId="{75E6069F-25BA-2571-519A-FFF468D2FF8D}"/>
          </ac:grpSpMkLst>
        </pc:grpChg>
        <pc:graphicFrameChg chg="add mod">
          <ac:chgData name="Paul Kuntz (Student at CentraleSupelec)" userId="13e0a3e2-9892-41c3-807e-2ca7b67a9271" providerId="ADAL" clId="{679907DC-319F-3E4D-9784-A4DB45D2E747}" dt="2022-11-24T18:50:29.060" v="2793"/>
          <ac:graphicFrameMkLst>
            <pc:docMk/>
            <pc:sldMk cId="2108961930" sldId="295"/>
            <ac:graphicFrameMk id="2" creationId="{FD819BEF-8C3D-0A03-F627-4E934869A4B8}"/>
          </ac:graphicFrameMkLst>
        </pc:graphicFrameChg>
      </pc:sldChg>
      <pc:sldChg chg="addSp delSp modSp add mod">
        <pc:chgData name="Paul Kuntz (Student at CentraleSupelec)" userId="13e0a3e2-9892-41c3-807e-2ca7b67a9271" providerId="ADAL" clId="{679907DC-319F-3E4D-9784-A4DB45D2E747}" dt="2022-11-25T10:20:01.668" v="8335" actId="2711"/>
        <pc:sldMkLst>
          <pc:docMk/>
          <pc:sldMk cId="2258179845" sldId="296"/>
        </pc:sldMkLst>
        <pc:spChg chg="mod">
          <ac:chgData name="Paul Kuntz (Student at CentraleSupelec)" userId="13e0a3e2-9892-41c3-807e-2ca7b67a9271" providerId="ADAL" clId="{679907DC-319F-3E4D-9784-A4DB45D2E747}" dt="2022-11-24T19:21:43.604" v="3661" actId="20577"/>
          <ac:spMkLst>
            <pc:docMk/>
            <pc:sldMk cId="2258179845" sldId="296"/>
            <ac:spMk id="3" creationId="{00000000-0000-0000-0000-000000000000}"/>
          </ac:spMkLst>
        </pc:spChg>
        <pc:spChg chg="del">
          <ac:chgData name="Paul Kuntz (Student at CentraleSupelec)" userId="13e0a3e2-9892-41c3-807e-2ca7b67a9271" providerId="ADAL" clId="{679907DC-319F-3E4D-9784-A4DB45D2E747}" dt="2022-11-24T18:51:28.178" v="2796" actId="478"/>
          <ac:spMkLst>
            <pc:docMk/>
            <pc:sldMk cId="2258179845" sldId="296"/>
            <ac:spMk id="6" creationId="{741E995D-64D1-1AC7-2439-5DAEC11AF0A5}"/>
          </ac:spMkLst>
        </pc:spChg>
        <pc:spChg chg="add mod">
          <ac:chgData name="Paul Kuntz (Student at CentraleSupelec)" userId="13e0a3e2-9892-41c3-807e-2ca7b67a9271" providerId="ADAL" clId="{679907DC-319F-3E4D-9784-A4DB45D2E747}" dt="2022-11-25T10:20:01.668" v="8335" actId="2711"/>
          <ac:spMkLst>
            <pc:docMk/>
            <pc:sldMk cId="2258179845" sldId="296"/>
            <ac:spMk id="11" creationId="{FA651644-BAA6-188E-5350-DF3EFD5F84EF}"/>
          </ac:spMkLst>
        </pc:spChg>
        <pc:spChg chg="add mod">
          <ac:chgData name="Paul Kuntz (Student at CentraleSupelec)" userId="13e0a3e2-9892-41c3-807e-2ca7b67a9271" providerId="ADAL" clId="{679907DC-319F-3E4D-9784-A4DB45D2E747}" dt="2022-11-25T10:20:01.668" v="8335" actId="2711"/>
          <ac:spMkLst>
            <pc:docMk/>
            <pc:sldMk cId="2258179845" sldId="296"/>
            <ac:spMk id="12" creationId="{FDB60F84-2869-354D-9BF1-3E609C000C50}"/>
          </ac:spMkLst>
        </pc:spChg>
        <pc:spChg chg="add mod">
          <ac:chgData name="Paul Kuntz (Student at CentraleSupelec)" userId="13e0a3e2-9892-41c3-807e-2ca7b67a9271" providerId="ADAL" clId="{679907DC-319F-3E4D-9784-A4DB45D2E747}" dt="2022-11-25T10:20:01.668" v="8335" actId="2711"/>
          <ac:spMkLst>
            <pc:docMk/>
            <pc:sldMk cId="2258179845" sldId="296"/>
            <ac:spMk id="13" creationId="{81C670D0-C25C-9C7C-B784-09CB882E8002}"/>
          </ac:spMkLst>
        </pc:spChg>
        <pc:spChg chg="add mod">
          <ac:chgData name="Paul Kuntz (Student at CentraleSupelec)" userId="13e0a3e2-9892-41c3-807e-2ca7b67a9271" providerId="ADAL" clId="{679907DC-319F-3E4D-9784-A4DB45D2E747}" dt="2022-11-25T10:20:01.668" v="8335" actId="2711"/>
          <ac:spMkLst>
            <pc:docMk/>
            <pc:sldMk cId="2258179845" sldId="296"/>
            <ac:spMk id="14" creationId="{86EA0AB6-9792-3681-F7D3-03A87C515B0F}"/>
          </ac:spMkLst>
        </pc:spChg>
        <pc:spChg chg="add mod">
          <ac:chgData name="Paul Kuntz (Student at CentraleSupelec)" userId="13e0a3e2-9892-41c3-807e-2ca7b67a9271" providerId="ADAL" clId="{679907DC-319F-3E4D-9784-A4DB45D2E747}" dt="2022-11-25T10:20:01.668" v="8335" actId="2711"/>
          <ac:spMkLst>
            <pc:docMk/>
            <pc:sldMk cId="2258179845" sldId="296"/>
            <ac:spMk id="15" creationId="{855D29FA-982C-D0B8-360C-25AB00A4957B}"/>
          </ac:spMkLst>
        </pc:spChg>
        <pc:spChg chg="add del mod">
          <ac:chgData name="Paul Kuntz (Student at CentraleSupelec)" userId="13e0a3e2-9892-41c3-807e-2ca7b67a9271" providerId="ADAL" clId="{679907DC-319F-3E4D-9784-A4DB45D2E747}" dt="2022-11-24T19:22:42.100" v="3662" actId="478"/>
          <ac:spMkLst>
            <pc:docMk/>
            <pc:sldMk cId="2258179845" sldId="296"/>
            <ac:spMk id="16" creationId="{CA9BA99B-92AF-7058-BBB4-688754A97595}"/>
          </ac:spMkLst>
        </pc:spChg>
        <pc:spChg chg="add mod">
          <ac:chgData name="Paul Kuntz (Student at CentraleSupelec)" userId="13e0a3e2-9892-41c3-807e-2ca7b67a9271" providerId="ADAL" clId="{679907DC-319F-3E4D-9784-A4DB45D2E747}" dt="2022-11-25T10:20:01.668" v="8335" actId="2711"/>
          <ac:spMkLst>
            <pc:docMk/>
            <pc:sldMk cId="2258179845" sldId="296"/>
            <ac:spMk id="17" creationId="{CDCBE93F-C0AE-E463-56F2-135B0AF94CF3}"/>
          </ac:spMkLst>
        </pc:spChg>
        <pc:spChg chg="del mod topLvl">
          <ac:chgData name="Paul Kuntz (Student at CentraleSupelec)" userId="13e0a3e2-9892-41c3-807e-2ca7b67a9271" providerId="ADAL" clId="{679907DC-319F-3E4D-9784-A4DB45D2E747}" dt="2022-11-24T19:23:01.529" v="3667" actId="478"/>
          <ac:spMkLst>
            <pc:docMk/>
            <pc:sldMk cId="2258179845" sldId="296"/>
            <ac:spMk id="20" creationId="{E9C2E810-5907-3D4A-EFDB-F2AF8FDD944D}"/>
          </ac:spMkLst>
        </pc:spChg>
        <pc:spChg chg="add mod">
          <ac:chgData name="Paul Kuntz (Student at CentraleSupelec)" userId="13e0a3e2-9892-41c3-807e-2ca7b67a9271" providerId="ADAL" clId="{679907DC-319F-3E4D-9784-A4DB45D2E747}" dt="2022-11-25T10:20:01.668" v="8335" actId="2711"/>
          <ac:spMkLst>
            <pc:docMk/>
            <pc:sldMk cId="2258179845" sldId="296"/>
            <ac:spMk id="24" creationId="{20FEB8CD-2DDC-ABD8-5524-90F7752516D6}"/>
          </ac:spMkLst>
        </pc:spChg>
        <pc:spChg chg="add del mod">
          <ac:chgData name="Paul Kuntz (Student at CentraleSupelec)" userId="13e0a3e2-9892-41c3-807e-2ca7b67a9271" providerId="ADAL" clId="{679907DC-319F-3E4D-9784-A4DB45D2E747}" dt="2022-11-24T22:14:28.606" v="4543"/>
          <ac:spMkLst>
            <pc:docMk/>
            <pc:sldMk cId="2258179845" sldId="296"/>
            <ac:spMk id="25" creationId="{212727D5-FD24-B91F-5D8B-71F77695DAEF}"/>
          </ac:spMkLst>
        </pc:spChg>
        <pc:spChg chg="add mod">
          <ac:chgData name="Paul Kuntz (Student at CentraleSupelec)" userId="13e0a3e2-9892-41c3-807e-2ca7b67a9271" providerId="ADAL" clId="{679907DC-319F-3E4D-9784-A4DB45D2E747}" dt="2022-11-25T10:20:01.668" v="8335" actId="2711"/>
          <ac:spMkLst>
            <pc:docMk/>
            <pc:sldMk cId="2258179845" sldId="296"/>
            <ac:spMk id="26" creationId="{C3FEAF3C-C598-E5BE-C8A4-38D18B828D4A}"/>
          </ac:spMkLst>
        </pc:spChg>
        <pc:spChg chg="add del mod">
          <ac:chgData name="Paul Kuntz (Student at CentraleSupelec)" userId="13e0a3e2-9892-41c3-807e-2ca7b67a9271" providerId="ADAL" clId="{679907DC-319F-3E4D-9784-A4DB45D2E747}" dt="2022-11-24T22:48:32.425" v="4598" actId="1076"/>
          <ac:spMkLst>
            <pc:docMk/>
            <pc:sldMk cId="2258179845" sldId="296"/>
            <ac:spMk id="43" creationId="{CA3F97C3-F0BA-D6BA-E5DC-19121E864BFE}"/>
          </ac:spMkLst>
        </pc:spChg>
        <pc:spChg chg="del">
          <ac:chgData name="Paul Kuntz (Student at CentraleSupelec)" userId="13e0a3e2-9892-41c3-807e-2ca7b67a9271" providerId="ADAL" clId="{679907DC-319F-3E4D-9784-A4DB45D2E747}" dt="2022-11-24T18:51:32.168" v="2797" actId="478"/>
          <ac:spMkLst>
            <pc:docMk/>
            <pc:sldMk cId="2258179845" sldId="296"/>
            <ac:spMk id="44" creationId="{3BAACAEB-68E2-61C2-C286-45C9D3BB3B52}"/>
          </ac:spMkLst>
        </pc:spChg>
        <pc:spChg chg="del">
          <ac:chgData name="Paul Kuntz (Student at CentraleSupelec)" userId="13e0a3e2-9892-41c3-807e-2ca7b67a9271" providerId="ADAL" clId="{679907DC-319F-3E4D-9784-A4DB45D2E747}" dt="2022-11-24T18:51:32.168" v="2797" actId="478"/>
          <ac:spMkLst>
            <pc:docMk/>
            <pc:sldMk cId="2258179845" sldId="296"/>
            <ac:spMk id="45" creationId="{7CCF33E6-207E-EE8D-D5CC-020DCE7ABD77}"/>
          </ac:spMkLst>
        </pc:spChg>
        <pc:spChg chg="del">
          <ac:chgData name="Paul Kuntz (Student at CentraleSupelec)" userId="13e0a3e2-9892-41c3-807e-2ca7b67a9271" providerId="ADAL" clId="{679907DC-319F-3E4D-9784-A4DB45D2E747}" dt="2022-11-24T18:51:32.168" v="2797" actId="478"/>
          <ac:spMkLst>
            <pc:docMk/>
            <pc:sldMk cId="2258179845" sldId="296"/>
            <ac:spMk id="46" creationId="{871D0980-472F-9602-958F-A97455881A37}"/>
          </ac:spMkLst>
        </pc:spChg>
        <pc:spChg chg="del">
          <ac:chgData name="Paul Kuntz (Student at CentraleSupelec)" userId="13e0a3e2-9892-41c3-807e-2ca7b67a9271" providerId="ADAL" clId="{679907DC-319F-3E4D-9784-A4DB45D2E747}" dt="2022-11-24T18:51:32.168" v="2797" actId="478"/>
          <ac:spMkLst>
            <pc:docMk/>
            <pc:sldMk cId="2258179845" sldId="296"/>
            <ac:spMk id="47" creationId="{7063491F-EB18-8B5E-3A2C-3495F1ACF8E9}"/>
          </ac:spMkLst>
        </pc:spChg>
        <pc:spChg chg="add mod">
          <ac:chgData name="Paul Kuntz (Student at CentraleSupelec)" userId="13e0a3e2-9892-41c3-807e-2ca7b67a9271" providerId="ADAL" clId="{679907DC-319F-3E4D-9784-A4DB45D2E747}" dt="2022-11-25T10:20:01.668" v="8335" actId="2711"/>
          <ac:spMkLst>
            <pc:docMk/>
            <pc:sldMk cId="2258179845" sldId="296"/>
            <ac:spMk id="50" creationId="{120AD733-638B-8137-79AD-65197CA930DE}"/>
          </ac:spMkLst>
        </pc:spChg>
        <pc:spChg chg="add mod">
          <ac:chgData name="Paul Kuntz (Student at CentraleSupelec)" userId="13e0a3e2-9892-41c3-807e-2ca7b67a9271" providerId="ADAL" clId="{679907DC-319F-3E4D-9784-A4DB45D2E747}" dt="2022-11-25T10:20:01.668" v="8335" actId="2711"/>
          <ac:spMkLst>
            <pc:docMk/>
            <pc:sldMk cId="2258179845" sldId="296"/>
            <ac:spMk id="51" creationId="{009A8190-D539-D102-6EE9-CBA4EFE04F5D}"/>
          </ac:spMkLst>
        </pc:spChg>
        <pc:spChg chg="add del mod">
          <ac:chgData name="Paul Kuntz (Student at CentraleSupelec)" userId="13e0a3e2-9892-41c3-807e-2ca7b67a9271" providerId="ADAL" clId="{679907DC-319F-3E4D-9784-A4DB45D2E747}" dt="2022-11-24T19:37:00.382" v="4012" actId="478"/>
          <ac:spMkLst>
            <pc:docMk/>
            <pc:sldMk cId="2258179845" sldId="296"/>
            <ac:spMk id="52" creationId="{29DBA0B7-D1B3-F324-7FD9-509DABA70773}"/>
          </ac:spMkLst>
        </pc:spChg>
        <pc:spChg chg="add mod">
          <ac:chgData name="Paul Kuntz (Student at CentraleSupelec)" userId="13e0a3e2-9892-41c3-807e-2ca7b67a9271" providerId="ADAL" clId="{679907DC-319F-3E4D-9784-A4DB45D2E747}" dt="2022-11-25T10:20:01.668" v="8335" actId="2711"/>
          <ac:spMkLst>
            <pc:docMk/>
            <pc:sldMk cId="2258179845" sldId="296"/>
            <ac:spMk id="53" creationId="{40EB201C-6A09-CEF2-1B77-0D7A8CDF7C54}"/>
          </ac:spMkLst>
        </pc:spChg>
        <pc:spChg chg="add mod">
          <ac:chgData name="Paul Kuntz (Student at CentraleSupelec)" userId="13e0a3e2-9892-41c3-807e-2ca7b67a9271" providerId="ADAL" clId="{679907DC-319F-3E4D-9784-A4DB45D2E747}" dt="2022-11-25T10:20:01.668" v="8335" actId="2711"/>
          <ac:spMkLst>
            <pc:docMk/>
            <pc:sldMk cId="2258179845" sldId="296"/>
            <ac:spMk id="54" creationId="{2B95FBD2-C9DA-2804-361C-AC7B56B88A6D}"/>
          </ac:spMkLst>
        </pc:spChg>
        <pc:spChg chg="add mod">
          <ac:chgData name="Paul Kuntz (Student at CentraleSupelec)" userId="13e0a3e2-9892-41c3-807e-2ca7b67a9271" providerId="ADAL" clId="{679907DC-319F-3E4D-9784-A4DB45D2E747}" dt="2022-11-25T10:20:01.668" v="8335" actId="2711"/>
          <ac:spMkLst>
            <pc:docMk/>
            <pc:sldMk cId="2258179845" sldId="296"/>
            <ac:spMk id="55" creationId="{B2EE1A2A-1D6F-C50D-E585-65CF27466285}"/>
          </ac:spMkLst>
        </pc:spChg>
        <pc:grpChg chg="del">
          <ac:chgData name="Paul Kuntz (Student at CentraleSupelec)" userId="13e0a3e2-9892-41c3-807e-2ca7b67a9271" providerId="ADAL" clId="{679907DC-319F-3E4D-9784-A4DB45D2E747}" dt="2022-11-24T18:51:28.178" v="2796" actId="478"/>
          <ac:grpSpMkLst>
            <pc:docMk/>
            <pc:sldMk cId="2258179845" sldId="296"/>
            <ac:grpSpMk id="9" creationId="{E1365741-0908-9F84-5D4C-D18FFF2648CB}"/>
          </ac:grpSpMkLst>
        </pc:grpChg>
        <pc:grpChg chg="add del mod">
          <ac:chgData name="Paul Kuntz (Student at CentraleSupelec)" userId="13e0a3e2-9892-41c3-807e-2ca7b67a9271" providerId="ADAL" clId="{679907DC-319F-3E4D-9784-A4DB45D2E747}" dt="2022-11-24T19:23:01.529" v="3667" actId="478"/>
          <ac:grpSpMkLst>
            <pc:docMk/>
            <pc:sldMk cId="2258179845" sldId="296"/>
            <ac:grpSpMk id="19" creationId="{C69A5A01-8B4F-0A41-9580-4D004D235510}"/>
          </ac:grpSpMkLst>
        </pc:grpChg>
        <pc:graphicFrameChg chg="del">
          <ac:chgData name="Paul Kuntz (Student at CentraleSupelec)" userId="13e0a3e2-9892-41c3-807e-2ca7b67a9271" providerId="ADAL" clId="{679907DC-319F-3E4D-9784-A4DB45D2E747}" dt="2022-11-24T18:51:28.178" v="2796" actId="478"/>
          <ac:graphicFrameMkLst>
            <pc:docMk/>
            <pc:sldMk cId="2258179845" sldId="296"/>
            <ac:graphicFrameMk id="2" creationId="{FD819BEF-8C3D-0A03-F627-4E934869A4B8}"/>
          </ac:graphicFrameMkLst>
        </pc:graphicFrameChg>
        <pc:graphicFrameChg chg="add del mod">
          <ac:chgData name="Paul Kuntz (Student at CentraleSupelec)" userId="13e0a3e2-9892-41c3-807e-2ca7b67a9271" providerId="ADAL" clId="{679907DC-319F-3E4D-9784-A4DB45D2E747}" dt="2022-11-24T23:01:38.053" v="5414" actId="478"/>
          <ac:graphicFrameMkLst>
            <pc:docMk/>
            <pc:sldMk cId="2258179845" sldId="296"/>
            <ac:graphicFrameMk id="18" creationId="{A3B9BF40-E842-026D-D3F2-F646246CA0D4}"/>
          </ac:graphicFrameMkLst>
        </pc:graphicFrameChg>
        <pc:graphicFrameChg chg="add mod">
          <ac:chgData name="Paul Kuntz (Student at CentraleSupelec)" userId="13e0a3e2-9892-41c3-807e-2ca7b67a9271" providerId="ADAL" clId="{679907DC-319F-3E4D-9784-A4DB45D2E747}" dt="2022-11-24T23:01:38.535" v="5415"/>
          <ac:graphicFrameMkLst>
            <pc:docMk/>
            <pc:sldMk cId="2258179845" sldId="296"/>
            <ac:graphicFrameMk id="56" creationId="{CB3826BF-D2B0-2A94-65A4-9FC6FD4C973A}"/>
          </ac:graphicFrameMkLst>
        </pc:graphicFrameChg>
        <pc:picChg chg="mod topLvl">
          <ac:chgData name="Paul Kuntz (Student at CentraleSupelec)" userId="13e0a3e2-9892-41c3-807e-2ca7b67a9271" providerId="ADAL" clId="{679907DC-319F-3E4D-9784-A4DB45D2E747}" dt="2022-11-24T23:21:50.710" v="6443" actId="1037"/>
          <ac:picMkLst>
            <pc:docMk/>
            <pc:sldMk cId="2258179845" sldId="296"/>
            <ac:picMk id="21" creationId="{BA7F5D4A-7F50-1051-C645-F55311AD4320}"/>
          </ac:picMkLst>
        </pc:picChg>
        <pc:picChg chg="add mod">
          <ac:chgData name="Paul Kuntz (Student at CentraleSupelec)" userId="13e0a3e2-9892-41c3-807e-2ca7b67a9271" providerId="ADAL" clId="{679907DC-319F-3E4D-9784-A4DB45D2E747}" dt="2022-11-24T23:21:56.832" v="6445" actId="1076"/>
          <ac:picMkLst>
            <pc:docMk/>
            <pc:sldMk cId="2258179845" sldId="296"/>
            <ac:picMk id="22" creationId="{FA93E450-E223-4942-4E13-2E3EB108CBC8}"/>
          </ac:picMkLst>
        </pc:picChg>
        <pc:picChg chg="add mod">
          <ac:chgData name="Paul Kuntz (Student at CentraleSupelec)" userId="13e0a3e2-9892-41c3-807e-2ca7b67a9271" providerId="ADAL" clId="{679907DC-319F-3E4D-9784-A4DB45D2E747}" dt="2022-11-24T23:21:37.450" v="6436" actId="1038"/>
          <ac:picMkLst>
            <pc:docMk/>
            <pc:sldMk cId="2258179845" sldId="296"/>
            <ac:picMk id="23" creationId="{F32F55C5-70C5-A2BC-7D1D-16335B5C585C}"/>
          </ac:picMkLst>
        </pc:picChg>
      </pc:sldChg>
      <pc:sldChg chg="modSp add del mod">
        <pc:chgData name="Paul Kuntz (Student at CentraleSupelec)" userId="13e0a3e2-9892-41c3-807e-2ca7b67a9271" providerId="ADAL" clId="{679907DC-319F-3E4D-9784-A4DB45D2E747}" dt="2022-11-24T22:49:17.339" v="4609" actId="2696"/>
        <pc:sldMkLst>
          <pc:docMk/>
          <pc:sldMk cId="2600615171" sldId="297"/>
        </pc:sldMkLst>
        <pc:spChg chg="mod">
          <ac:chgData name="Paul Kuntz (Student at CentraleSupelec)" userId="13e0a3e2-9892-41c3-807e-2ca7b67a9271" providerId="ADAL" clId="{679907DC-319F-3E4D-9784-A4DB45D2E747}" dt="2022-11-24T22:05:44.885" v="4463" actId="20577"/>
          <ac:spMkLst>
            <pc:docMk/>
            <pc:sldMk cId="2600615171" sldId="297"/>
            <ac:spMk id="3" creationId="{00000000-0000-0000-0000-000000000000}"/>
          </ac:spMkLst>
        </pc:spChg>
        <pc:spChg chg="mod">
          <ac:chgData name="Paul Kuntz (Student at CentraleSupelec)" userId="13e0a3e2-9892-41c3-807e-2ca7b67a9271" providerId="ADAL" clId="{679907DC-319F-3E4D-9784-A4DB45D2E747}" dt="2022-11-24T22:07:16.535" v="4471" actId="1036"/>
          <ac:spMkLst>
            <pc:docMk/>
            <pc:sldMk cId="2600615171" sldId="297"/>
            <ac:spMk id="12" creationId="{FDB60F84-2869-354D-9BF1-3E609C000C50}"/>
          </ac:spMkLst>
        </pc:spChg>
        <pc:spChg chg="mod">
          <ac:chgData name="Paul Kuntz (Student at CentraleSupelec)" userId="13e0a3e2-9892-41c3-807e-2ca7b67a9271" providerId="ADAL" clId="{679907DC-319F-3E4D-9784-A4DB45D2E747}" dt="2022-11-24T22:07:16.535" v="4471" actId="1036"/>
          <ac:spMkLst>
            <pc:docMk/>
            <pc:sldMk cId="2600615171" sldId="297"/>
            <ac:spMk id="14" creationId="{86EA0AB6-9792-3681-F7D3-03A87C515B0F}"/>
          </ac:spMkLst>
        </pc:spChg>
        <pc:picChg chg="mod">
          <ac:chgData name="Paul Kuntz (Student at CentraleSupelec)" userId="13e0a3e2-9892-41c3-807e-2ca7b67a9271" providerId="ADAL" clId="{679907DC-319F-3E4D-9784-A4DB45D2E747}" dt="2022-11-24T22:08:47.429" v="4472" actId="14826"/>
          <ac:picMkLst>
            <pc:docMk/>
            <pc:sldMk cId="2600615171" sldId="297"/>
            <ac:picMk id="22" creationId="{FA93E450-E223-4942-4E13-2E3EB108CBC8}"/>
          </ac:picMkLst>
        </pc:picChg>
      </pc:sldChg>
      <pc:sldChg chg="modSp add del mod">
        <pc:chgData name="Paul Kuntz (Student at CentraleSupelec)" userId="13e0a3e2-9892-41c3-807e-2ca7b67a9271" providerId="ADAL" clId="{679907DC-319F-3E4D-9784-A4DB45D2E747}" dt="2022-11-24T22:04:55.330" v="4372" actId="2696"/>
        <pc:sldMkLst>
          <pc:docMk/>
          <pc:sldMk cId="3132460551" sldId="297"/>
        </pc:sldMkLst>
        <pc:spChg chg="mod">
          <ac:chgData name="Paul Kuntz (Student at CentraleSupelec)" userId="13e0a3e2-9892-41c3-807e-2ca7b67a9271" providerId="ADAL" clId="{679907DC-319F-3E4D-9784-A4DB45D2E747}" dt="2022-11-24T18:55:48.611" v="2866" actId="20577"/>
          <ac:spMkLst>
            <pc:docMk/>
            <pc:sldMk cId="3132460551" sldId="297"/>
            <ac:spMk id="3" creationId="{00000000-0000-0000-0000-000000000000}"/>
          </ac:spMkLst>
        </pc:spChg>
        <pc:spChg chg="mod">
          <ac:chgData name="Paul Kuntz (Student at CentraleSupelec)" userId="13e0a3e2-9892-41c3-807e-2ca7b67a9271" providerId="ADAL" clId="{679907DC-319F-3E4D-9784-A4DB45D2E747}" dt="2022-11-24T18:55:59.526" v="2883" actId="20577"/>
          <ac:spMkLst>
            <pc:docMk/>
            <pc:sldMk cId="3132460551" sldId="297"/>
            <ac:spMk id="14" creationId="{86EA0AB6-9792-3681-F7D3-03A87C515B0F}"/>
          </ac:spMkLst>
        </pc:spChg>
      </pc:sldChg>
      <pc:sldChg chg="modSp add del mod">
        <pc:chgData name="Paul Kuntz (Student at CentraleSupelec)" userId="13e0a3e2-9892-41c3-807e-2ca7b67a9271" providerId="ADAL" clId="{679907DC-319F-3E4D-9784-A4DB45D2E747}" dt="2022-11-24T22:04:55.395" v="4373" actId="2696"/>
        <pc:sldMkLst>
          <pc:docMk/>
          <pc:sldMk cId="753909285" sldId="298"/>
        </pc:sldMkLst>
        <pc:spChg chg="mod">
          <ac:chgData name="Paul Kuntz (Student at CentraleSupelec)" userId="13e0a3e2-9892-41c3-807e-2ca7b67a9271" providerId="ADAL" clId="{679907DC-319F-3E4D-9784-A4DB45D2E747}" dt="2022-11-24T18:56:27.053" v="2924" actId="20577"/>
          <ac:spMkLst>
            <pc:docMk/>
            <pc:sldMk cId="753909285" sldId="298"/>
            <ac:spMk id="3" creationId="{00000000-0000-0000-0000-000000000000}"/>
          </ac:spMkLst>
        </pc:spChg>
      </pc:sldChg>
      <pc:sldChg chg="add del">
        <pc:chgData name="Paul Kuntz (Student at CentraleSupelec)" userId="13e0a3e2-9892-41c3-807e-2ca7b67a9271" providerId="ADAL" clId="{679907DC-319F-3E4D-9784-A4DB45D2E747}" dt="2022-11-24T22:49:18.600" v="4610" actId="2696"/>
        <pc:sldMkLst>
          <pc:docMk/>
          <pc:sldMk cId="2952314005" sldId="298"/>
        </pc:sldMkLst>
      </pc:sldChg>
      <pc:sldChg chg="addSp delSp modSp add del mod">
        <pc:chgData name="Paul Kuntz (Student at CentraleSupelec)" userId="13e0a3e2-9892-41c3-807e-2ca7b67a9271" providerId="ADAL" clId="{679907DC-319F-3E4D-9784-A4DB45D2E747}" dt="2022-11-24T23:23:25.454" v="6456" actId="2696"/>
        <pc:sldMkLst>
          <pc:docMk/>
          <pc:sldMk cId="3996840610" sldId="299"/>
        </pc:sldMkLst>
        <pc:spChg chg="add del mod">
          <ac:chgData name="Paul Kuntz (Student at CentraleSupelec)" userId="13e0a3e2-9892-41c3-807e-2ca7b67a9271" providerId="ADAL" clId="{679907DC-319F-3E4D-9784-A4DB45D2E747}" dt="2022-11-24T22:48:49.020" v="4601"/>
          <ac:spMkLst>
            <pc:docMk/>
            <pc:sldMk cId="3996840610" sldId="299"/>
            <ac:spMk id="2" creationId="{6BE70225-1EEE-0BDD-348D-5F2C7BDF6F74}"/>
          </ac:spMkLst>
        </pc:spChg>
        <pc:spChg chg="add del mod">
          <ac:chgData name="Paul Kuntz (Student at CentraleSupelec)" userId="13e0a3e2-9892-41c3-807e-2ca7b67a9271" providerId="ADAL" clId="{679907DC-319F-3E4D-9784-A4DB45D2E747}" dt="2022-11-24T22:49:10.080" v="4608"/>
          <ac:spMkLst>
            <pc:docMk/>
            <pc:sldMk cId="3996840610" sldId="299"/>
            <ac:spMk id="3" creationId="{00000000-0000-0000-0000-000000000000}"/>
          </ac:spMkLst>
        </pc:spChg>
        <pc:spChg chg="add del mod">
          <ac:chgData name="Paul Kuntz (Student at CentraleSupelec)" userId="13e0a3e2-9892-41c3-807e-2ca7b67a9271" providerId="ADAL" clId="{679907DC-319F-3E4D-9784-A4DB45D2E747}" dt="2022-11-24T22:48:53.175" v="4603"/>
          <ac:spMkLst>
            <pc:docMk/>
            <pc:sldMk cId="3996840610" sldId="299"/>
            <ac:spMk id="6" creationId="{A3A78254-F279-D3CC-C538-5EA49304FEAF}"/>
          </ac:spMkLst>
        </pc:spChg>
        <pc:spChg chg="add del mod">
          <ac:chgData name="Paul Kuntz (Student at CentraleSupelec)" userId="13e0a3e2-9892-41c3-807e-2ca7b67a9271" providerId="ADAL" clId="{679907DC-319F-3E4D-9784-A4DB45D2E747}" dt="2022-11-24T22:49:03.054" v="4607" actId="478"/>
          <ac:spMkLst>
            <pc:docMk/>
            <pc:sldMk cId="3996840610" sldId="299"/>
            <ac:spMk id="9" creationId="{31083E5A-1586-8A8D-4F9B-D82FCB2B0191}"/>
          </ac:spMkLst>
        </pc:spChg>
        <pc:spChg chg="add del mod">
          <ac:chgData name="Paul Kuntz (Student at CentraleSupelec)" userId="13e0a3e2-9892-41c3-807e-2ca7b67a9271" providerId="ADAL" clId="{679907DC-319F-3E4D-9784-A4DB45D2E747}" dt="2022-11-24T22:49:02.606" v="4606"/>
          <ac:spMkLst>
            <pc:docMk/>
            <pc:sldMk cId="3996840610" sldId="299"/>
            <ac:spMk id="10" creationId="{D9F75E13-147A-CF8A-956D-2CFED10206CF}"/>
          </ac:spMkLst>
        </pc:spChg>
        <pc:spChg chg="mod">
          <ac:chgData name="Paul Kuntz (Student at CentraleSupelec)" userId="13e0a3e2-9892-41c3-807e-2ca7b67a9271" providerId="ADAL" clId="{679907DC-319F-3E4D-9784-A4DB45D2E747}" dt="2022-11-24T23:07:09.953" v="5610" actId="20577"/>
          <ac:spMkLst>
            <pc:docMk/>
            <pc:sldMk cId="3996840610" sldId="299"/>
            <ac:spMk id="15" creationId="{855D29FA-982C-D0B8-360C-25AB00A4957B}"/>
          </ac:spMkLst>
        </pc:spChg>
        <pc:spChg chg="mod">
          <ac:chgData name="Paul Kuntz (Student at CentraleSupelec)" userId="13e0a3e2-9892-41c3-807e-2ca7b67a9271" providerId="ADAL" clId="{679907DC-319F-3E4D-9784-A4DB45D2E747}" dt="2022-11-24T23:11:51.167" v="5832" actId="554"/>
          <ac:spMkLst>
            <pc:docMk/>
            <pc:sldMk cId="3996840610" sldId="299"/>
            <ac:spMk id="17" creationId="{CDCBE93F-C0AE-E463-56F2-135B0AF94CF3}"/>
          </ac:spMkLst>
        </pc:spChg>
        <pc:spChg chg="mod">
          <ac:chgData name="Paul Kuntz (Student at CentraleSupelec)" userId="13e0a3e2-9892-41c3-807e-2ca7b67a9271" providerId="ADAL" clId="{679907DC-319F-3E4D-9784-A4DB45D2E747}" dt="2022-11-24T23:06:04.853" v="5589" actId="20577"/>
          <ac:spMkLst>
            <pc:docMk/>
            <pc:sldMk cId="3996840610" sldId="299"/>
            <ac:spMk id="24" creationId="{20FEB8CD-2DDC-ABD8-5524-90F7752516D6}"/>
          </ac:spMkLst>
        </pc:spChg>
        <pc:spChg chg="mod">
          <ac:chgData name="Paul Kuntz (Student at CentraleSupelec)" userId="13e0a3e2-9892-41c3-807e-2ca7b67a9271" providerId="ADAL" clId="{679907DC-319F-3E4D-9784-A4DB45D2E747}" dt="2022-11-24T23:08:36.281" v="5695" actId="313"/>
          <ac:spMkLst>
            <pc:docMk/>
            <pc:sldMk cId="3996840610" sldId="299"/>
            <ac:spMk id="26" creationId="{C3FEAF3C-C598-E5BE-C8A4-38D18B828D4A}"/>
          </ac:spMkLst>
        </pc:spChg>
        <pc:spChg chg="mod">
          <ac:chgData name="Paul Kuntz (Student at CentraleSupelec)" userId="13e0a3e2-9892-41c3-807e-2ca7b67a9271" providerId="ADAL" clId="{679907DC-319F-3E4D-9784-A4DB45D2E747}" dt="2022-11-24T23:05:39.079" v="5566" actId="465"/>
          <ac:spMkLst>
            <pc:docMk/>
            <pc:sldMk cId="3996840610" sldId="299"/>
            <ac:spMk id="50" creationId="{120AD733-638B-8137-79AD-65197CA930DE}"/>
          </ac:spMkLst>
        </pc:spChg>
        <pc:spChg chg="mod">
          <ac:chgData name="Paul Kuntz (Student at CentraleSupelec)" userId="13e0a3e2-9892-41c3-807e-2ca7b67a9271" providerId="ADAL" clId="{679907DC-319F-3E4D-9784-A4DB45D2E747}" dt="2022-11-24T23:08:18.635" v="5681" actId="20577"/>
          <ac:spMkLst>
            <pc:docMk/>
            <pc:sldMk cId="3996840610" sldId="299"/>
            <ac:spMk id="51" creationId="{009A8190-D539-D102-6EE9-CBA4EFE04F5D}"/>
          </ac:spMkLst>
        </pc:spChg>
        <pc:spChg chg="mod">
          <ac:chgData name="Paul Kuntz (Student at CentraleSupelec)" userId="13e0a3e2-9892-41c3-807e-2ca7b67a9271" providerId="ADAL" clId="{679907DC-319F-3E4D-9784-A4DB45D2E747}" dt="2022-11-24T22:58:05.529" v="5312" actId="1038"/>
          <ac:spMkLst>
            <pc:docMk/>
            <pc:sldMk cId="3996840610" sldId="299"/>
            <ac:spMk id="53" creationId="{40EB201C-6A09-CEF2-1B77-0D7A8CDF7C54}"/>
          </ac:spMkLst>
        </pc:spChg>
        <pc:spChg chg="mod">
          <ac:chgData name="Paul Kuntz (Student at CentraleSupelec)" userId="13e0a3e2-9892-41c3-807e-2ca7b67a9271" providerId="ADAL" clId="{679907DC-319F-3E4D-9784-A4DB45D2E747}" dt="2022-11-24T22:57:19.933" v="5297" actId="20577"/>
          <ac:spMkLst>
            <pc:docMk/>
            <pc:sldMk cId="3996840610" sldId="299"/>
            <ac:spMk id="54" creationId="{2B95FBD2-C9DA-2804-361C-AC7B56B88A6D}"/>
          </ac:spMkLst>
        </pc:spChg>
        <pc:spChg chg="mod">
          <ac:chgData name="Paul Kuntz (Student at CentraleSupelec)" userId="13e0a3e2-9892-41c3-807e-2ca7b67a9271" providerId="ADAL" clId="{679907DC-319F-3E4D-9784-A4DB45D2E747}" dt="2022-11-24T23:11:51.167" v="5832" actId="554"/>
          <ac:spMkLst>
            <pc:docMk/>
            <pc:sldMk cId="3996840610" sldId="299"/>
            <ac:spMk id="55" creationId="{B2EE1A2A-1D6F-C50D-E585-65CF27466285}"/>
          </ac:spMkLst>
        </pc:spChg>
        <pc:graphicFrameChg chg="mod">
          <ac:chgData name="Paul Kuntz (Student at CentraleSupelec)" userId="13e0a3e2-9892-41c3-807e-2ca7b67a9271" providerId="ADAL" clId="{679907DC-319F-3E4D-9784-A4DB45D2E747}" dt="2022-11-24T23:04:38.351" v="5486"/>
          <ac:graphicFrameMkLst>
            <pc:docMk/>
            <pc:sldMk cId="3996840610" sldId="299"/>
            <ac:graphicFrameMk id="18" creationId="{A3B9BF40-E842-026D-D3F2-F646246CA0D4}"/>
          </ac:graphicFrameMkLst>
        </pc:graphicFrameChg>
        <pc:picChg chg="mod">
          <ac:chgData name="Paul Kuntz (Student at CentraleSupelec)" userId="13e0a3e2-9892-41c3-807e-2ca7b67a9271" providerId="ADAL" clId="{679907DC-319F-3E4D-9784-A4DB45D2E747}" dt="2022-11-24T22:58:05.529" v="5312" actId="1038"/>
          <ac:picMkLst>
            <pc:docMk/>
            <pc:sldMk cId="3996840610" sldId="299"/>
            <ac:picMk id="21" creationId="{BA7F5D4A-7F50-1051-C645-F55311AD4320}"/>
          </ac:picMkLst>
        </pc:picChg>
      </pc:sldChg>
      <pc:sldChg chg="modSp add del mod">
        <pc:chgData name="Paul Kuntz (Student at CentraleSupelec)" userId="13e0a3e2-9892-41c3-807e-2ca7b67a9271" providerId="ADAL" clId="{679907DC-319F-3E4D-9784-A4DB45D2E747}" dt="2022-11-24T23:12:57.312" v="5898" actId="2696"/>
        <pc:sldMkLst>
          <pc:docMk/>
          <pc:sldMk cId="1466887506" sldId="300"/>
        </pc:sldMkLst>
        <pc:spChg chg="mod">
          <ac:chgData name="Paul Kuntz (Student at CentraleSupelec)" userId="13e0a3e2-9892-41c3-807e-2ca7b67a9271" providerId="ADAL" clId="{679907DC-319F-3E4D-9784-A4DB45D2E747}" dt="2022-11-24T23:12:23.957" v="5896" actId="20577"/>
          <ac:spMkLst>
            <pc:docMk/>
            <pc:sldMk cId="1466887506" sldId="300"/>
            <ac:spMk id="3" creationId="{00000000-0000-0000-0000-000000000000}"/>
          </ac:spMkLst>
        </pc:spChg>
        <pc:spChg chg="mod">
          <ac:chgData name="Paul Kuntz (Student at CentraleSupelec)" userId="13e0a3e2-9892-41c3-807e-2ca7b67a9271" providerId="ADAL" clId="{679907DC-319F-3E4D-9784-A4DB45D2E747}" dt="2022-11-24T22:57:45.797" v="5306" actId="1038"/>
          <ac:spMkLst>
            <pc:docMk/>
            <pc:sldMk cId="1466887506" sldId="300"/>
            <ac:spMk id="53" creationId="{40EB201C-6A09-CEF2-1B77-0D7A8CDF7C54}"/>
          </ac:spMkLst>
        </pc:spChg>
        <pc:picChg chg="mod">
          <ac:chgData name="Paul Kuntz (Student at CentraleSupelec)" userId="13e0a3e2-9892-41c3-807e-2ca7b67a9271" providerId="ADAL" clId="{679907DC-319F-3E4D-9784-A4DB45D2E747}" dt="2022-11-24T22:57:45.797" v="5306" actId="1038"/>
          <ac:picMkLst>
            <pc:docMk/>
            <pc:sldMk cId="1466887506" sldId="300"/>
            <ac:picMk id="21" creationId="{BA7F5D4A-7F50-1051-C645-F55311AD4320}"/>
          </ac:picMkLst>
        </pc:picChg>
      </pc:sldChg>
      <pc:sldChg chg="modSp add del mod">
        <pc:chgData name="Paul Kuntz (Student at CentraleSupelec)" userId="13e0a3e2-9892-41c3-807e-2ca7b67a9271" providerId="ADAL" clId="{679907DC-319F-3E4D-9784-A4DB45D2E747}" dt="2022-11-24T23:25:08.429" v="6511" actId="2696"/>
        <pc:sldMkLst>
          <pc:docMk/>
          <pc:sldMk cId="112860933" sldId="302"/>
        </pc:sldMkLst>
        <pc:spChg chg="mod">
          <ac:chgData name="Paul Kuntz (Student at CentraleSupelec)" userId="13e0a3e2-9892-41c3-807e-2ca7b67a9271" providerId="ADAL" clId="{679907DC-319F-3E4D-9784-A4DB45D2E747}" dt="2022-11-24T23:13:13.315" v="5963" actId="20577"/>
          <ac:spMkLst>
            <pc:docMk/>
            <pc:sldMk cId="112860933" sldId="302"/>
            <ac:spMk id="3" creationId="{00000000-0000-0000-0000-000000000000}"/>
          </ac:spMkLst>
        </pc:spChg>
        <pc:spChg chg="mod">
          <ac:chgData name="Paul Kuntz (Student at CentraleSupelec)" userId="13e0a3e2-9892-41c3-807e-2ca7b67a9271" providerId="ADAL" clId="{679907DC-319F-3E4D-9784-A4DB45D2E747}" dt="2022-11-24T23:20:09.765" v="6366" actId="20577"/>
          <ac:spMkLst>
            <pc:docMk/>
            <pc:sldMk cId="112860933" sldId="302"/>
            <ac:spMk id="15" creationId="{855D29FA-982C-D0B8-360C-25AB00A4957B}"/>
          </ac:spMkLst>
        </pc:spChg>
        <pc:spChg chg="mod">
          <ac:chgData name="Paul Kuntz (Student at CentraleSupelec)" userId="13e0a3e2-9892-41c3-807e-2ca7b67a9271" providerId="ADAL" clId="{679907DC-319F-3E4D-9784-A4DB45D2E747}" dt="2022-11-24T23:21:24.664" v="6431" actId="14100"/>
          <ac:spMkLst>
            <pc:docMk/>
            <pc:sldMk cId="112860933" sldId="302"/>
            <ac:spMk id="24" creationId="{20FEB8CD-2DDC-ABD8-5524-90F7752516D6}"/>
          </ac:spMkLst>
        </pc:spChg>
        <pc:spChg chg="mod">
          <ac:chgData name="Paul Kuntz (Student at CentraleSupelec)" userId="13e0a3e2-9892-41c3-807e-2ca7b67a9271" providerId="ADAL" clId="{679907DC-319F-3E4D-9784-A4DB45D2E747}" dt="2022-11-24T23:21:19.127" v="6429" actId="1076"/>
          <ac:spMkLst>
            <pc:docMk/>
            <pc:sldMk cId="112860933" sldId="302"/>
            <ac:spMk id="53" creationId="{40EB201C-6A09-CEF2-1B77-0D7A8CDF7C54}"/>
          </ac:spMkLst>
        </pc:spChg>
        <pc:graphicFrameChg chg="mod">
          <ac:chgData name="Paul Kuntz (Student at CentraleSupelec)" userId="13e0a3e2-9892-41c3-807e-2ca7b67a9271" providerId="ADAL" clId="{679907DC-319F-3E4D-9784-A4DB45D2E747}" dt="2022-11-24T23:13:57.538" v="5970"/>
          <ac:graphicFrameMkLst>
            <pc:docMk/>
            <pc:sldMk cId="112860933" sldId="302"/>
            <ac:graphicFrameMk id="18" creationId="{A3B9BF40-E842-026D-D3F2-F646246CA0D4}"/>
          </ac:graphicFrameMkLst>
        </pc:graphicFrameChg>
      </pc:sldChg>
      <pc:sldChg chg="addSp delSp modSp add mod">
        <pc:chgData name="Paul Kuntz (Student at CentraleSupelec)" userId="13e0a3e2-9892-41c3-807e-2ca7b67a9271" providerId="ADAL" clId="{679907DC-319F-3E4D-9784-A4DB45D2E747}" dt="2022-11-25T09:13:00.310" v="7500" actId="313"/>
        <pc:sldMkLst>
          <pc:docMk/>
          <pc:sldMk cId="4032139296" sldId="303"/>
        </pc:sldMkLst>
        <pc:spChg chg="add mod">
          <ac:chgData name="Paul Kuntz (Student at CentraleSupelec)" userId="13e0a3e2-9892-41c3-807e-2ca7b67a9271" providerId="ADAL" clId="{679907DC-319F-3E4D-9784-A4DB45D2E747}" dt="2022-11-24T23:22:55.797" v="6452" actId="1035"/>
          <ac:spMkLst>
            <pc:docMk/>
            <pc:sldMk cId="4032139296" sldId="303"/>
            <ac:spMk id="9" creationId="{90DE7488-4A37-589A-518B-E3C87EC5CA35}"/>
          </ac:spMkLst>
        </pc:spChg>
        <pc:spChg chg="add mod">
          <ac:chgData name="Paul Kuntz (Student at CentraleSupelec)" userId="13e0a3e2-9892-41c3-807e-2ca7b67a9271" providerId="ADAL" clId="{679907DC-319F-3E4D-9784-A4DB45D2E747}" dt="2022-11-25T09:13:00.310" v="7500" actId="313"/>
          <ac:spMkLst>
            <pc:docMk/>
            <pc:sldMk cId="4032139296" sldId="303"/>
            <ac:spMk id="10" creationId="{3C24362B-8BB2-869E-970A-D70E21781422}"/>
          </ac:spMkLst>
        </pc:spChg>
        <pc:spChg chg="mod">
          <ac:chgData name="Paul Kuntz (Student at CentraleSupelec)" userId="13e0a3e2-9892-41c3-807e-2ca7b67a9271" providerId="ADAL" clId="{679907DC-319F-3E4D-9784-A4DB45D2E747}" dt="2022-11-25T08:53:55.108" v="7434" actId="20577"/>
          <ac:spMkLst>
            <pc:docMk/>
            <pc:sldMk cId="4032139296" sldId="303"/>
            <ac:spMk id="15" creationId="{855D29FA-982C-D0B8-360C-25AB00A4957B}"/>
          </ac:spMkLst>
        </pc:spChg>
        <pc:spChg chg="add mod">
          <ac:chgData name="Paul Kuntz (Student at CentraleSupelec)" userId="13e0a3e2-9892-41c3-807e-2ca7b67a9271" providerId="ADAL" clId="{679907DC-319F-3E4D-9784-A4DB45D2E747}" dt="2022-11-24T23:23:21.415" v="6455" actId="1076"/>
          <ac:spMkLst>
            <pc:docMk/>
            <pc:sldMk cId="4032139296" sldId="303"/>
            <ac:spMk id="16" creationId="{47FEE8D1-DC67-1CCB-33E5-299564E9CE33}"/>
          </ac:spMkLst>
        </pc:spChg>
        <pc:spChg chg="mod">
          <ac:chgData name="Paul Kuntz (Student at CentraleSupelec)" userId="13e0a3e2-9892-41c3-807e-2ca7b67a9271" providerId="ADAL" clId="{679907DC-319F-3E4D-9784-A4DB45D2E747}" dt="2022-11-24T23:33:30.013" v="7108" actId="20577"/>
          <ac:spMkLst>
            <pc:docMk/>
            <pc:sldMk cId="4032139296" sldId="303"/>
            <ac:spMk id="17" creationId="{CDCBE93F-C0AE-E463-56F2-135B0AF94CF3}"/>
          </ac:spMkLst>
        </pc:spChg>
        <pc:spChg chg="del">
          <ac:chgData name="Paul Kuntz (Student at CentraleSupelec)" userId="13e0a3e2-9892-41c3-807e-2ca7b67a9271" providerId="ADAL" clId="{679907DC-319F-3E4D-9784-A4DB45D2E747}" dt="2022-11-24T23:22:26.672" v="6448" actId="478"/>
          <ac:spMkLst>
            <pc:docMk/>
            <pc:sldMk cId="4032139296" sldId="303"/>
            <ac:spMk id="24" creationId="{20FEB8CD-2DDC-ABD8-5524-90F7752516D6}"/>
          </ac:spMkLst>
        </pc:spChg>
        <pc:spChg chg="mod">
          <ac:chgData name="Paul Kuntz (Student at CentraleSupelec)" userId="13e0a3e2-9892-41c3-807e-2ca7b67a9271" providerId="ADAL" clId="{679907DC-319F-3E4D-9784-A4DB45D2E747}" dt="2022-11-24T23:46:36.062" v="7402" actId="20577"/>
          <ac:spMkLst>
            <pc:docMk/>
            <pc:sldMk cId="4032139296" sldId="303"/>
            <ac:spMk id="50" creationId="{120AD733-638B-8137-79AD-65197CA930DE}"/>
          </ac:spMkLst>
        </pc:spChg>
        <pc:spChg chg="del">
          <ac:chgData name="Paul Kuntz (Student at CentraleSupelec)" userId="13e0a3e2-9892-41c3-807e-2ca7b67a9271" providerId="ADAL" clId="{679907DC-319F-3E4D-9784-A4DB45D2E747}" dt="2022-11-24T23:22:26.672" v="6448" actId="478"/>
          <ac:spMkLst>
            <pc:docMk/>
            <pc:sldMk cId="4032139296" sldId="303"/>
            <ac:spMk id="53" creationId="{40EB201C-6A09-CEF2-1B77-0D7A8CDF7C54}"/>
          </ac:spMkLst>
        </pc:spChg>
        <pc:spChg chg="del">
          <ac:chgData name="Paul Kuntz (Student at CentraleSupelec)" userId="13e0a3e2-9892-41c3-807e-2ca7b67a9271" providerId="ADAL" clId="{679907DC-319F-3E4D-9784-A4DB45D2E747}" dt="2022-11-24T23:22:26.672" v="6448" actId="478"/>
          <ac:spMkLst>
            <pc:docMk/>
            <pc:sldMk cId="4032139296" sldId="303"/>
            <ac:spMk id="54" creationId="{2B95FBD2-C9DA-2804-361C-AC7B56B88A6D}"/>
          </ac:spMkLst>
        </pc:spChg>
        <pc:spChg chg="mod">
          <ac:chgData name="Paul Kuntz (Student at CentraleSupelec)" userId="13e0a3e2-9892-41c3-807e-2ca7b67a9271" providerId="ADAL" clId="{679907DC-319F-3E4D-9784-A4DB45D2E747}" dt="2022-11-24T23:33:15.930" v="7100" actId="20577"/>
          <ac:spMkLst>
            <pc:docMk/>
            <pc:sldMk cId="4032139296" sldId="303"/>
            <ac:spMk id="55" creationId="{B2EE1A2A-1D6F-C50D-E585-65CF27466285}"/>
          </ac:spMkLst>
        </pc:spChg>
        <pc:picChg chg="add mod">
          <ac:chgData name="Paul Kuntz (Student at CentraleSupelec)" userId="13e0a3e2-9892-41c3-807e-2ca7b67a9271" providerId="ADAL" clId="{679907DC-319F-3E4D-9784-A4DB45D2E747}" dt="2022-11-24T23:22:33.875" v="6449"/>
          <ac:picMkLst>
            <pc:docMk/>
            <pc:sldMk cId="4032139296" sldId="303"/>
            <ac:picMk id="2" creationId="{56FB36AD-F3B8-1DCC-862D-3840D939F372}"/>
          </ac:picMkLst>
        </pc:picChg>
        <pc:picChg chg="add mod">
          <ac:chgData name="Paul Kuntz (Student at CentraleSupelec)" userId="13e0a3e2-9892-41c3-807e-2ca7b67a9271" providerId="ADAL" clId="{679907DC-319F-3E4D-9784-A4DB45D2E747}" dt="2022-11-24T23:22:33.875" v="6449"/>
          <ac:picMkLst>
            <pc:docMk/>
            <pc:sldMk cId="4032139296" sldId="303"/>
            <ac:picMk id="6" creationId="{BAA5113D-799F-3F92-7677-156C065FFDD8}"/>
          </ac:picMkLst>
        </pc:picChg>
        <pc:picChg chg="add mod">
          <ac:chgData name="Paul Kuntz (Student at CentraleSupelec)" userId="13e0a3e2-9892-41c3-807e-2ca7b67a9271" providerId="ADAL" clId="{679907DC-319F-3E4D-9784-A4DB45D2E747}" dt="2022-11-24T23:22:55.797" v="6452" actId="1035"/>
          <ac:picMkLst>
            <pc:docMk/>
            <pc:sldMk cId="4032139296" sldId="303"/>
            <ac:picMk id="8" creationId="{D88610E1-AE6F-6414-39AD-54126FA83A82}"/>
          </ac:picMkLst>
        </pc:picChg>
        <pc:picChg chg="del">
          <ac:chgData name="Paul Kuntz (Student at CentraleSupelec)" userId="13e0a3e2-9892-41c3-807e-2ca7b67a9271" providerId="ADAL" clId="{679907DC-319F-3E4D-9784-A4DB45D2E747}" dt="2022-11-24T23:22:26.672" v="6448" actId="478"/>
          <ac:picMkLst>
            <pc:docMk/>
            <pc:sldMk cId="4032139296" sldId="303"/>
            <ac:picMk id="21" creationId="{BA7F5D4A-7F50-1051-C645-F55311AD4320}"/>
          </ac:picMkLst>
        </pc:picChg>
        <pc:picChg chg="del">
          <ac:chgData name="Paul Kuntz (Student at CentraleSupelec)" userId="13e0a3e2-9892-41c3-807e-2ca7b67a9271" providerId="ADAL" clId="{679907DC-319F-3E4D-9784-A4DB45D2E747}" dt="2022-11-24T23:22:26.672" v="6448" actId="478"/>
          <ac:picMkLst>
            <pc:docMk/>
            <pc:sldMk cId="4032139296" sldId="303"/>
            <ac:picMk id="22" creationId="{FA93E450-E223-4942-4E13-2E3EB108CBC8}"/>
          </ac:picMkLst>
        </pc:picChg>
        <pc:picChg chg="del">
          <ac:chgData name="Paul Kuntz (Student at CentraleSupelec)" userId="13e0a3e2-9892-41c3-807e-2ca7b67a9271" providerId="ADAL" clId="{679907DC-319F-3E4D-9784-A4DB45D2E747}" dt="2022-11-24T23:22:26.672" v="6448" actId="478"/>
          <ac:picMkLst>
            <pc:docMk/>
            <pc:sldMk cId="4032139296" sldId="303"/>
            <ac:picMk id="23" creationId="{F32F55C5-70C5-A2BC-7D1D-16335B5C585C}"/>
          </ac:picMkLst>
        </pc:picChg>
      </pc:sldChg>
      <pc:sldChg chg="addSp delSp modSp add mod">
        <pc:chgData name="Paul Kuntz (Student at CentraleSupelec)" userId="13e0a3e2-9892-41c3-807e-2ca7b67a9271" providerId="ADAL" clId="{679907DC-319F-3E4D-9784-A4DB45D2E747}" dt="2022-11-25T09:21:29.840" v="7536" actId="20577"/>
        <pc:sldMkLst>
          <pc:docMk/>
          <pc:sldMk cId="2887040492" sldId="304"/>
        </pc:sldMkLst>
        <pc:spChg chg="mod">
          <ac:chgData name="Paul Kuntz (Student at CentraleSupelec)" userId="13e0a3e2-9892-41c3-807e-2ca7b67a9271" providerId="ADAL" clId="{679907DC-319F-3E4D-9784-A4DB45D2E747}" dt="2022-11-24T23:39:46.823" v="7378" actId="20577"/>
          <ac:spMkLst>
            <pc:docMk/>
            <pc:sldMk cId="2887040492" sldId="304"/>
            <ac:spMk id="3" creationId="{00000000-0000-0000-0000-000000000000}"/>
          </ac:spMkLst>
        </pc:spChg>
        <pc:spChg chg="mod">
          <ac:chgData name="Paul Kuntz (Student at CentraleSupelec)" userId="13e0a3e2-9892-41c3-807e-2ca7b67a9271" providerId="ADAL" clId="{679907DC-319F-3E4D-9784-A4DB45D2E747}" dt="2022-11-24T23:28:41.655" v="6808" actId="20577"/>
          <ac:spMkLst>
            <pc:docMk/>
            <pc:sldMk cId="2887040492" sldId="304"/>
            <ac:spMk id="7" creationId="{00000000-0000-0000-0000-000000000000}"/>
          </ac:spMkLst>
        </pc:spChg>
        <pc:spChg chg="add mod">
          <ac:chgData name="Paul Kuntz (Student at CentraleSupelec)" userId="13e0a3e2-9892-41c3-807e-2ca7b67a9271" providerId="ADAL" clId="{679907DC-319F-3E4D-9784-A4DB45D2E747}" dt="2022-11-24T23:24:22.678" v="6462"/>
          <ac:spMkLst>
            <pc:docMk/>
            <pc:sldMk cId="2887040492" sldId="304"/>
            <ac:spMk id="9" creationId="{47598F80-40EA-7DFB-E6E0-5D7A03A9BEF9}"/>
          </ac:spMkLst>
        </pc:spChg>
        <pc:spChg chg="add mod">
          <ac:chgData name="Paul Kuntz (Student at CentraleSupelec)" userId="13e0a3e2-9892-41c3-807e-2ca7b67a9271" providerId="ADAL" clId="{679907DC-319F-3E4D-9784-A4DB45D2E747}" dt="2022-11-25T09:13:37.166" v="7535" actId="20577"/>
          <ac:spMkLst>
            <pc:docMk/>
            <pc:sldMk cId="2887040492" sldId="304"/>
            <ac:spMk id="10" creationId="{2EFB7781-295B-21D8-1B66-7725FCCBAA21}"/>
          </ac:spMkLst>
        </pc:spChg>
        <pc:spChg chg="add mod">
          <ac:chgData name="Paul Kuntz (Student at CentraleSupelec)" userId="13e0a3e2-9892-41c3-807e-2ca7b67a9271" providerId="ADAL" clId="{679907DC-319F-3E4D-9784-A4DB45D2E747}" dt="2022-11-25T09:21:29.840" v="7536" actId="20577"/>
          <ac:spMkLst>
            <pc:docMk/>
            <pc:sldMk cId="2887040492" sldId="304"/>
            <ac:spMk id="16" creationId="{DE23F2F4-547E-2045-43C0-0CF9266CDB93}"/>
          </ac:spMkLst>
        </pc:spChg>
        <pc:spChg chg="mod">
          <ac:chgData name="Paul Kuntz (Student at CentraleSupelec)" userId="13e0a3e2-9892-41c3-807e-2ca7b67a9271" providerId="ADAL" clId="{679907DC-319F-3E4D-9784-A4DB45D2E747}" dt="2022-11-24T23:33:09.681" v="7099" actId="20577"/>
          <ac:spMkLst>
            <pc:docMk/>
            <pc:sldMk cId="2887040492" sldId="304"/>
            <ac:spMk id="17" creationId="{CDCBE93F-C0AE-E463-56F2-135B0AF94CF3}"/>
          </ac:spMkLst>
        </pc:spChg>
        <pc:spChg chg="del">
          <ac:chgData name="Paul Kuntz (Student at CentraleSupelec)" userId="13e0a3e2-9892-41c3-807e-2ca7b67a9271" providerId="ADAL" clId="{679907DC-319F-3E4D-9784-A4DB45D2E747}" dt="2022-11-24T23:23:47.076" v="6460" actId="478"/>
          <ac:spMkLst>
            <pc:docMk/>
            <pc:sldMk cId="2887040492" sldId="304"/>
            <ac:spMk id="24" creationId="{20FEB8CD-2DDC-ABD8-5524-90F7752516D6}"/>
          </ac:spMkLst>
        </pc:spChg>
        <pc:spChg chg="mod">
          <ac:chgData name="Paul Kuntz (Student at CentraleSupelec)" userId="13e0a3e2-9892-41c3-807e-2ca7b67a9271" providerId="ADAL" clId="{679907DC-319F-3E4D-9784-A4DB45D2E747}" dt="2022-11-24T23:36:16.569" v="7318" actId="20577"/>
          <ac:spMkLst>
            <pc:docMk/>
            <pc:sldMk cId="2887040492" sldId="304"/>
            <ac:spMk id="26" creationId="{C3FEAF3C-C598-E5BE-C8A4-38D18B828D4A}"/>
          </ac:spMkLst>
        </pc:spChg>
        <pc:spChg chg="add del mod">
          <ac:chgData name="Paul Kuntz (Student at CentraleSupelec)" userId="13e0a3e2-9892-41c3-807e-2ca7b67a9271" providerId="ADAL" clId="{679907DC-319F-3E4D-9784-A4DB45D2E747}" dt="2022-11-24T23:38:23.433" v="7373" actId="1076"/>
          <ac:spMkLst>
            <pc:docMk/>
            <pc:sldMk cId="2887040492" sldId="304"/>
            <ac:spMk id="50" creationId="{120AD733-638B-8137-79AD-65197CA930DE}"/>
          </ac:spMkLst>
        </pc:spChg>
        <pc:spChg chg="del">
          <ac:chgData name="Paul Kuntz (Student at CentraleSupelec)" userId="13e0a3e2-9892-41c3-807e-2ca7b67a9271" providerId="ADAL" clId="{679907DC-319F-3E4D-9784-A4DB45D2E747}" dt="2022-11-24T23:37:18.468" v="7371" actId="478"/>
          <ac:spMkLst>
            <pc:docMk/>
            <pc:sldMk cId="2887040492" sldId="304"/>
            <ac:spMk id="51" creationId="{009A8190-D539-D102-6EE9-CBA4EFE04F5D}"/>
          </ac:spMkLst>
        </pc:spChg>
        <pc:spChg chg="del">
          <ac:chgData name="Paul Kuntz (Student at CentraleSupelec)" userId="13e0a3e2-9892-41c3-807e-2ca7b67a9271" providerId="ADAL" clId="{679907DC-319F-3E4D-9784-A4DB45D2E747}" dt="2022-11-24T23:23:47.076" v="6460" actId="478"/>
          <ac:spMkLst>
            <pc:docMk/>
            <pc:sldMk cId="2887040492" sldId="304"/>
            <ac:spMk id="53" creationId="{40EB201C-6A09-CEF2-1B77-0D7A8CDF7C54}"/>
          </ac:spMkLst>
        </pc:spChg>
        <pc:spChg chg="del">
          <ac:chgData name="Paul Kuntz (Student at CentraleSupelec)" userId="13e0a3e2-9892-41c3-807e-2ca7b67a9271" providerId="ADAL" clId="{679907DC-319F-3E4D-9784-A4DB45D2E747}" dt="2022-11-24T23:23:47.076" v="6460" actId="478"/>
          <ac:spMkLst>
            <pc:docMk/>
            <pc:sldMk cId="2887040492" sldId="304"/>
            <ac:spMk id="54" creationId="{2B95FBD2-C9DA-2804-361C-AC7B56B88A6D}"/>
          </ac:spMkLst>
        </pc:spChg>
        <pc:spChg chg="mod">
          <ac:chgData name="Paul Kuntz (Student at CentraleSupelec)" userId="13e0a3e2-9892-41c3-807e-2ca7b67a9271" providerId="ADAL" clId="{679907DC-319F-3E4D-9784-A4DB45D2E747}" dt="2022-11-24T23:34:39.696" v="7120" actId="20577"/>
          <ac:spMkLst>
            <pc:docMk/>
            <pc:sldMk cId="2887040492" sldId="304"/>
            <ac:spMk id="55" creationId="{B2EE1A2A-1D6F-C50D-E585-65CF27466285}"/>
          </ac:spMkLst>
        </pc:spChg>
        <pc:picChg chg="add mod">
          <ac:chgData name="Paul Kuntz (Student at CentraleSupelec)" userId="13e0a3e2-9892-41c3-807e-2ca7b67a9271" providerId="ADAL" clId="{679907DC-319F-3E4D-9784-A4DB45D2E747}" dt="2022-11-24T23:23:53.389" v="6461"/>
          <ac:picMkLst>
            <pc:docMk/>
            <pc:sldMk cId="2887040492" sldId="304"/>
            <ac:picMk id="2" creationId="{105BB125-9736-437C-34C1-B8815A86AC1C}"/>
          </ac:picMkLst>
        </pc:picChg>
        <pc:picChg chg="add mod">
          <ac:chgData name="Paul Kuntz (Student at CentraleSupelec)" userId="13e0a3e2-9892-41c3-807e-2ca7b67a9271" providerId="ADAL" clId="{679907DC-319F-3E4D-9784-A4DB45D2E747}" dt="2022-11-24T23:23:53.389" v="6461"/>
          <ac:picMkLst>
            <pc:docMk/>
            <pc:sldMk cId="2887040492" sldId="304"/>
            <ac:picMk id="6" creationId="{0442E2A1-651D-20AF-0487-BCEECBCDC3F7}"/>
          </ac:picMkLst>
        </pc:picChg>
        <pc:picChg chg="add mod">
          <ac:chgData name="Paul Kuntz (Student at CentraleSupelec)" userId="13e0a3e2-9892-41c3-807e-2ca7b67a9271" providerId="ADAL" clId="{679907DC-319F-3E4D-9784-A4DB45D2E747}" dt="2022-11-24T23:23:53.389" v="6461"/>
          <ac:picMkLst>
            <pc:docMk/>
            <pc:sldMk cId="2887040492" sldId="304"/>
            <ac:picMk id="8" creationId="{C22D37C5-F35E-2C00-651C-00A62805CFF5}"/>
          </ac:picMkLst>
        </pc:picChg>
        <pc:picChg chg="del">
          <ac:chgData name="Paul Kuntz (Student at CentraleSupelec)" userId="13e0a3e2-9892-41c3-807e-2ca7b67a9271" providerId="ADAL" clId="{679907DC-319F-3E4D-9784-A4DB45D2E747}" dt="2022-11-24T23:23:47.076" v="6460" actId="478"/>
          <ac:picMkLst>
            <pc:docMk/>
            <pc:sldMk cId="2887040492" sldId="304"/>
            <ac:picMk id="21" creationId="{BA7F5D4A-7F50-1051-C645-F55311AD4320}"/>
          </ac:picMkLst>
        </pc:picChg>
        <pc:picChg chg="del">
          <ac:chgData name="Paul Kuntz (Student at CentraleSupelec)" userId="13e0a3e2-9892-41c3-807e-2ca7b67a9271" providerId="ADAL" clId="{679907DC-319F-3E4D-9784-A4DB45D2E747}" dt="2022-11-24T23:23:47.076" v="6460" actId="478"/>
          <ac:picMkLst>
            <pc:docMk/>
            <pc:sldMk cId="2887040492" sldId="304"/>
            <ac:picMk id="22" creationId="{FA93E450-E223-4942-4E13-2E3EB108CBC8}"/>
          </ac:picMkLst>
        </pc:picChg>
        <pc:picChg chg="del">
          <ac:chgData name="Paul Kuntz (Student at CentraleSupelec)" userId="13e0a3e2-9892-41c3-807e-2ca7b67a9271" providerId="ADAL" clId="{679907DC-319F-3E4D-9784-A4DB45D2E747}" dt="2022-11-24T23:23:47.076" v="6460" actId="478"/>
          <ac:picMkLst>
            <pc:docMk/>
            <pc:sldMk cId="2887040492" sldId="304"/>
            <ac:picMk id="23" creationId="{F32F55C5-70C5-A2BC-7D1D-16335B5C585C}"/>
          </ac:picMkLst>
        </pc:picChg>
      </pc:sldChg>
      <pc:sldChg chg="add del">
        <pc:chgData name="Paul Kuntz (Student at CentraleSupelec)" userId="13e0a3e2-9892-41c3-807e-2ca7b67a9271" providerId="ADAL" clId="{679907DC-319F-3E4D-9784-A4DB45D2E747}" dt="2022-11-24T23:23:36.610" v="6458" actId="2696"/>
        <pc:sldMkLst>
          <pc:docMk/>
          <pc:sldMk cId="3668064372" sldId="304"/>
        </pc:sldMkLst>
      </pc:sldChg>
      <pc:sldChg chg="add modTransition">
        <pc:chgData name="Paul Kuntz (Student at CentraleSupelec)" userId="13e0a3e2-9892-41c3-807e-2ca7b67a9271" providerId="ADAL" clId="{679907DC-319F-3E4D-9784-A4DB45D2E747}" dt="2022-11-25T09:32:47.664" v="7537"/>
        <pc:sldMkLst>
          <pc:docMk/>
          <pc:sldMk cId="4085207894" sldId="2147474092"/>
        </pc:sldMkLst>
      </pc:sldChg>
      <pc:sldChg chg="addSp delSp modSp add mod">
        <pc:chgData name="Paul Kuntz (Student at CentraleSupelec)" userId="13e0a3e2-9892-41c3-807e-2ca7b67a9271" providerId="ADAL" clId="{679907DC-319F-3E4D-9784-A4DB45D2E747}" dt="2022-11-25T10:42:21.988" v="8849" actId="1076"/>
        <pc:sldMkLst>
          <pc:docMk/>
          <pc:sldMk cId="637570254" sldId="2147474093"/>
        </pc:sldMkLst>
        <pc:spChg chg="add mod">
          <ac:chgData name="Paul Kuntz (Student at CentraleSupelec)" userId="13e0a3e2-9892-41c3-807e-2ca7b67a9271" providerId="ADAL" clId="{679907DC-319F-3E4D-9784-A4DB45D2E747}" dt="2022-11-25T09:42:34.077" v="7773" actId="14100"/>
          <ac:spMkLst>
            <pc:docMk/>
            <pc:sldMk cId="637570254" sldId="2147474093"/>
            <ac:spMk id="2" creationId="{90DEF2C2-506B-9CF9-7D1D-775FB462248A}"/>
          </ac:spMkLst>
        </pc:spChg>
        <pc:spChg chg="mod">
          <ac:chgData name="Paul Kuntz (Student at CentraleSupelec)" userId="13e0a3e2-9892-41c3-807e-2ca7b67a9271" providerId="ADAL" clId="{679907DC-319F-3E4D-9784-A4DB45D2E747}" dt="2022-11-25T09:33:40.035" v="7587" actId="20577"/>
          <ac:spMkLst>
            <pc:docMk/>
            <pc:sldMk cId="637570254" sldId="2147474093"/>
            <ac:spMk id="3" creationId="{00000000-0000-0000-0000-000000000000}"/>
          </ac:spMkLst>
        </pc:spChg>
        <pc:spChg chg="mod">
          <ac:chgData name="Paul Kuntz (Student at CentraleSupelec)" userId="13e0a3e2-9892-41c3-807e-2ca7b67a9271" providerId="ADAL" clId="{679907DC-319F-3E4D-9784-A4DB45D2E747}" dt="2022-11-25T10:41:13.454" v="8817" actId="207"/>
          <ac:spMkLst>
            <pc:docMk/>
            <pc:sldMk cId="637570254" sldId="2147474093"/>
            <ac:spMk id="6" creationId="{CB27D6FF-C335-C8BC-08F3-02B49CCC8B89}"/>
          </ac:spMkLst>
        </pc:spChg>
        <pc:spChg chg="del mod">
          <ac:chgData name="Paul Kuntz (Student at CentraleSupelec)" userId="13e0a3e2-9892-41c3-807e-2ca7b67a9271" providerId="ADAL" clId="{679907DC-319F-3E4D-9784-A4DB45D2E747}" dt="2022-11-25T09:33:49.751" v="7590" actId="478"/>
          <ac:spMkLst>
            <pc:docMk/>
            <pc:sldMk cId="637570254" sldId="2147474093"/>
            <ac:spMk id="7" creationId="{00000000-0000-0000-0000-000000000000}"/>
          </ac:spMkLst>
        </pc:spChg>
        <pc:spChg chg="del">
          <ac:chgData name="Paul Kuntz (Student at CentraleSupelec)" userId="13e0a3e2-9892-41c3-807e-2ca7b67a9271" providerId="ADAL" clId="{679907DC-319F-3E4D-9784-A4DB45D2E747}" dt="2022-11-25T09:33:47.276" v="7588" actId="478"/>
          <ac:spMkLst>
            <pc:docMk/>
            <pc:sldMk cId="637570254" sldId="2147474093"/>
            <ac:spMk id="8" creationId="{A9EE7830-DE24-1614-599A-992CF1D806DC}"/>
          </ac:spMkLst>
        </pc:spChg>
        <pc:spChg chg="add del mod">
          <ac:chgData name="Paul Kuntz (Student at CentraleSupelec)" userId="13e0a3e2-9892-41c3-807e-2ca7b67a9271" providerId="ADAL" clId="{679907DC-319F-3E4D-9784-A4DB45D2E747}" dt="2022-11-25T09:42:55.362" v="7778" actId="1076"/>
          <ac:spMkLst>
            <pc:docMk/>
            <pc:sldMk cId="637570254" sldId="2147474093"/>
            <ac:spMk id="10" creationId="{6A106C1A-9164-3626-4AAD-215D48E49F2C}"/>
          </ac:spMkLst>
        </pc:spChg>
        <pc:spChg chg="del">
          <ac:chgData name="Paul Kuntz (Student at CentraleSupelec)" userId="13e0a3e2-9892-41c3-807e-2ca7b67a9271" providerId="ADAL" clId="{679907DC-319F-3E4D-9784-A4DB45D2E747}" dt="2022-11-25T09:33:47.276" v="7588" actId="478"/>
          <ac:spMkLst>
            <pc:docMk/>
            <pc:sldMk cId="637570254" sldId="2147474093"/>
            <ac:spMk id="13" creationId="{22A03A3F-7399-3DFA-457F-CF0FA5B917CC}"/>
          </ac:spMkLst>
        </pc:spChg>
        <pc:spChg chg="del">
          <ac:chgData name="Paul Kuntz (Student at CentraleSupelec)" userId="13e0a3e2-9892-41c3-807e-2ca7b67a9271" providerId="ADAL" clId="{679907DC-319F-3E4D-9784-A4DB45D2E747}" dt="2022-11-25T09:33:47.276" v="7588" actId="478"/>
          <ac:spMkLst>
            <pc:docMk/>
            <pc:sldMk cId="637570254" sldId="2147474093"/>
            <ac:spMk id="14" creationId="{D8217A32-42C7-978A-CF9C-5ACE9B2C183A}"/>
          </ac:spMkLst>
        </pc:spChg>
        <pc:spChg chg="del">
          <ac:chgData name="Paul Kuntz (Student at CentraleSupelec)" userId="13e0a3e2-9892-41c3-807e-2ca7b67a9271" providerId="ADAL" clId="{679907DC-319F-3E4D-9784-A4DB45D2E747}" dt="2022-11-25T09:33:47.276" v="7588" actId="478"/>
          <ac:spMkLst>
            <pc:docMk/>
            <pc:sldMk cId="637570254" sldId="2147474093"/>
            <ac:spMk id="15" creationId="{B9A4DCAF-AE66-5979-AD13-69CB672FB29C}"/>
          </ac:spMkLst>
        </pc:spChg>
        <pc:spChg chg="del">
          <ac:chgData name="Paul Kuntz (Student at CentraleSupelec)" userId="13e0a3e2-9892-41c3-807e-2ca7b67a9271" providerId="ADAL" clId="{679907DC-319F-3E4D-9784-A4DB45D2E747}" dt="2022-11-25T09:33:47.276" v="7588" actId="478"/>
          <ac:spMkLst>
            <pc:docMk/>
            <pc:sldMk cId="637570254" sldId="2147474093"/>
            <ac:spMk id="16" creationId="{56CC0E55-D849-3B30-288B-773F76D68AC8}"/>
          </ac:spMkLst>
        </pc:spChg>
        <pc:spChg chg="del">
          <ac:chgData name="Paul Kuntz (Student at CentraleSupelec)" userId="13e0a3e2-9892-41c3-807e-2ca7b67a9271" providerId="ADAL" clId="{679907DC-319F-3E4D-9784-A4DB45D2E747}" dt="2022-11-25T09:33:47.276" v="7588" actId="478"/>
          <ac:spMkLst>
            <pc:docMk/>
            <pc:sldMk cId="637570254" sldId="2147474093"/>
            <ac:spMk id="17" creationId="{BDDA354F-9B8D-AC3F-02D1-1CAF01726198}"/>
          </ac:spMkLst>
        </pc:spChg>
        <pc:spChg chg="del">
          <ac:chgData name="Paul Kuntz (Student at CentraleSupelec)" userId="13e0a3e2-9892-41c3-807e-2ca7b67a9271" providerId="ADAL" clId="{679907DC-319F-3E4D-9784-A4DB45D2E747}" dt="2022-11-25T09:33:47.276" v="7588" actId="478"/>
          <ac:spMkLst>
            <pc:docMk/>
            <pc:sldMk cId="637570254" sldId="2147474093"/>
            <ac:spMk id="22" creationId="{7FCE14DD-050C-7FA2-74BA-9C7BABD2CE58}"/>
          </ac:spMkLst>
        </pc:spChg>
        <pc:spChg chg="add del mod">
          <ac:chgData name="Paul Kuntz (Student at CentraleSupelec)" userId="13e0a3e2-9892-41c3-807e-2ca7b67a9271" providerId="ADAL" clId="{679907DC-319F-3E4D-9784-A4DB45D2E747}" dt="2022-11-25T09:42:51.469" v="7777" actId="1076"/>
          <ac:spMkLst>
            <pc:docMk/>
            <pc:sldMk cId="637570254" sldId="2147474093"/>
            <ac:spMk id="27" creationId="{F108D217-EA76-2262-C703-E0210CCA56FF}"/>
          </ac:spMkLst>
        </pc:spChg>
        <pc:spChg chg="add del mod">
          <ac:chgData name="Paul Kuntz (Student at CentraleSupelec)" userId="13e0a3e2-9892-41c3-807e-2ca7b67a9271" providerId="ADAL" clId="{679907DC-319F-3E4D-9784-A4DB45D2E747}" dt="2022-11-25T09:42:48.495" v="7776" actId="1076"/>
          <ac:spMkLst>
            <pc:docMk/>
            <pc:sldMk cId="637570254" sldId="2147474093"/>
            <ac:spMk id="28" creationId="{122BBF48-BCE2-1791-826F-A9CFA3E95178}"/>
          </ac:spMkLst>
        </pc:spChg>
        <pc:spChg chg="add del mod">
          <ac:chgData name="Paul Kuntz (Student at CentraleSupelec)" userId="13e0a3e2-9892-41c3-807e-2ca7b67a9271" providerId="ADAL" clId="{679907DC-319F-3E4D-9784-A4DB45D2E747}" dt="2022-11-25T09:42:45.741" v="7775" actId="1076"/>
          <ac:spMkLst>
            <pc:docMk/>
            <pc:sldMk cId="637570254" sldId="2147474093"/>
            <ac:spMk id="29" creationId="{B430FEEE-0D20-2CEB-BF68-3E2D9A209468}"/>
          </ac:spMkLst>
        </pc:spChg>
        <pc:spChg chg="add del mod">
          <ac:chgData name="Paul Kuntz (Student at CentraleSupelec)" userId="13e0a3e2-9892-41c3-807e-2ca7b67a9271" providerId="ADAL" clId="{679907DC-319F-3E4D-9784-A4DB45D2E747}" dt="2022-11-25T09:42:41.634" v="7774" actId="1076"/>
          <ac:spMkLst>
            <pc:docMk/>
            <pc:sldMk cId="637570254" sldId="2147474093"/>
            <ac:spMk id="30" creationId="{644C3D78-5DD5-337B-E6E6-276BFF0A94BD}"/>
          </ac:spMkLst>
        </pc:spChg>
        <pc:spChg chg="add mod">
          <ac:chgData name="Paul Kuntz (Student at CentraleSupelec)" userId="13e0a3e2-9892-41c3-807e-2ca7b67a9271" providerId="ADAL" clId="{679907DC-319F-3E4D-9784-A4DB45D2E747}" dt="2022-11-25T09:36:25.269" v="7673" actId="408"/>
          <ac:spMkLst>
            <pc:docMk/>
            <pc:sldMk cId="637570254" sldId="2147474093"/>
            <ac:spMk id="31" creationId="{8F421582-F59D-624D-8D98-828F8E21480E}"/>
          </ac:spMkLst>
        </pc:spChg>
        <pc:spChg chg="add mod">
          <ac:chgData name="Paul Kuntz (Student at CentraleSupelec)" userId="13e0a3e2-9892-41c3-807e-2ca7b67a9271" providerId="ADAL" clId="{679907DC-319F-3E4D-9784-A4DB45D2E747}" dt="2022-11-25T09:39:11.709" v="7717" actId="1076"/>
          <ac:spMkLst>
            <pc:docMk/>
            <pc:sldMk cId="637570254" sldId="2147474093"/>
            <ac:spMk id="32" creationId="{CDDE42D9-39FC-E92B-3CC4-2D7AEF707C41}"/>
          </ac:spMkLst>
        </pc:spChg>
        <pc:spChg chg="add mod">
          <ac:chgData name="Paul Kuntz (Student at CentraleSupelec)" userId="13e0a3e2-9892-41c3-807e-2ca7b67a9271" providerId="ADAL" clId="{679907DC-319F-3E4D-9784-A4DB45D2E747}" dt="2022-11-25T09:38:52.371" v="7716" actId="207"/>
          <ac:spMkLst>
            <pc:docMk/>
            <pc:sldMk cId="637570254" sldId="2147474093"/>
            <ac:spMk id="33" creationId="{FE2FA2B3-DE45-BA04-2943-8B1D220C1BB3}"/>
          </ac:spMkLst>
        </pc:spChg>
        <pc:spChg chg="add mod">
          <ac:chgData name="Paul Kuntz (Student at CentraleSupelec)" userId="13e0a3e2-9892-41c3-807e-2ca7b67a9271" providerId="ADAL" clId="{679907DC-319F-3E4D-9784-A4DB45D2E747}" dt="2022-11-25T09:38:52.371" v="7716" actId="207"/>
          <ac:spMkLst>
            <pc:docMk/>
            <pc:sldMk cId="637570254" sldId="2147474093"/>
            <ac:spMk id="34" creationId="{5CAF548E-E53E-FD25-4FB7-58FF0CDCB5A9}"/>
          </ac:spMkLst>
        </pc:spChg>
        <pc:spChg chg="add mod">
          <ac:chgData name="Paul Kuntz (Student at CentraleSupelec)" userId="13e0a3e2-9892-41c3-807e-2ca7b67a9271" providerId="ADAL" clId="{679907DC-319F-3E4D-9784-A4DB45D2E747}" dt="2022-11-25T09:38:52.371" v="7716" actId="207"/>
          <ac:spMkLst>
            <pc:docMk/>
            <pc:sldMk cId="637570254" sldId="2147474093"/>
            <ac:spMk id="35" creationId="{FA489989-F77B-4F97-1321-EC6BEAF37C43}"/>
          </ac:spMkLst>
        </pc:spChg>
        <pc:spChg chg="add del mod">
          <ac:chgData name="Paul Kuntz (Student at CentraleSupelec)" userId="13e0a3e2-9892-41c3-807e-2ca7b67a9271" providerId="ADAL" clId="{679907DC-319F-3E4D-9784-A4DB45D2E747}" dt="2022-11-25T09:41:16.225" v="7757"/>
          <ac:spMkLst>
            <pc:docMk/>
            <pc:sldMk cId="637570254" sldId="2147474093"/>
            <ac:spMk id="36" creationId="{6E7D417E-85D0-2792-B382-FF45AD0E4F44}"/>
          </ac:spMkLst>
        </pc:spChg>
        <pc:spChg chg="add del mod">
          <ac:chgData name="Paul Kuntz (Student at CentraleSupelec)" userId="13e0a3e2-9892-41c3-807e-2ca7b67a9271" providerId="ADAL" clId="{679907DC-319F-3E4D-9784-A4DB45D2E747}" dt="2022-11-25T09:41:15.899" v="7755"/>
          <ac:spMkLst>
            <pc:docMk/>
            <pc:sldMk cId="637570254" sldId="2147474093"/>
            <ac:spMk id="37" creationId="{E7E0B1E0-742B-D09E-4045-E04B6131CAAF}"/>
          </ac:spMkLst>
        </pc:spChg>
        <pc:spChg chg="add del mod">
          <ac:chgData name="Paul Kuntz (Student at CentraleSupelec)" userId="13e0a3e2-9892-41c3-807e-2ca7b67a9271" providerId="ADAL" clId="{679907DC-319F-3E4D-9784-A4DB45D2E747}" dt="2022-11-25T09:41:15.675" v="7754"/>
          <ac:spMkLst>
            <pc:docMk/>
            <pc:sldMk cId="637570254" sldId="2147474093"/>
            <ac:spMk id="38" creationId="{5FE1C923-1244-7934-C162-DC2A0959C9EE}"/>
          </ac:spMkLst>
        </pc:spChg>
        <pc:spChg chg="add del mod">
          <ac:chgData name="Paul Kuntz (Student at CentraleSupelec)" userId="13e0a3e2-9892-41c3-807e-2ca7b67a9271" providerId="ADAL" clId="{679907DC-319F-3E4D-9784-A4DB45D2E747}" dt="2022-11-25T09:41:15.485" v="7753"/>
          <ac:spMkLst>
            <pc:docMk/>
            <pc:sldMk cId="637570254" sldId="2147474093"/>
            <ac:spMk id="39" creationId="{C7FADFE8-7F96-172F-3381-5F56CF279B94}"/>
          </ac:spMkLst>
        </pc:spChg>
        <pc:spChg chg="add mod">
          <ac:chgData name="Paul Kuntz (Student at CentraleSupelec)" userId="13e0a3e2-9892-41c3-807e-2ca7b67a9271" providerId="ADAL" clId="{679907DC-319F-3E4D-9784-A4DB45D2E747}" dt="2022-11-25T09:43:44.383" v="7789" actId="14100"/>
          <ac:spMkLst>
            <pc:docMk/>
            <pc:sldMk cId="637570254" sldId="2147474093"/>
            <ac:spMk id="42" creationId="{6CC908C3-C3C6-8A05-8891-122D66532322}"/>
          </ac:spMkLst>
        </pc:spChg>
        <pc:spChg chg="add mod">
          <ac:chgData name="Paul Kuntz (Student at CentraleSupelec)" userId="13e0a3e2-9892-41c3-807e-2ca7b67a9271" providerId="ADAL" clId="{679907DC-319F-3E4D-9784-A4DB45D2E747}" dt="2022-11-25T09:47:14.343" v="7814" actId="14100"/>
          <ac:spMkLst>
            <pc:docMk/>
            <pc:sldMk cId="637570254" sldId="2147474093"/>
            <ac:spMk id="43" creationId="{81CB6141-A3F6-54DC-92FD-59A5694C8F9D}"/>
          </ac:spMkLst>
        </pc:spChg>
        <pc:spChg chg="add mod">
          <ac:chgData name="Paul Kuntz (Student at CentraleSupelec)" userId="13e0a3e2-9892-41c3-807e-2ca7b67a9271" providerId="ADAL" clId="{679907DC-319F-3E4D-9784-A4DB45D2E747}" dt="2022-11-25T10:32:09.594" v="8433" actId="20577"/>
          <ac:spMkLst>
            <pc:docMk/>
            <pc:sldMk cId="637570254" sldId="2147474093"/>
            <ac:spMk id="44" creationId="{130CC202-160C-D64E-5DEC-A28C25F80244}"/>
          </ac:spMkLst>
        </pc:spChg>
        <pc:spChg chg="add mod">
          <ac:chgData name="Paul Kuntz (Student at CentraleSupelec)" userId="13e0a3e2-9892-41c3-807e-2ca7b67a9271" providerId="ADAL" clId="{679907DC-319F-3E4D-9784-A4DB45D2E747}" dt="2022-11-25T09:47:20.181" v="7816" actId="14100"/>
          <ac:spMkLst>
            <pc:docMk/>
            <pc:sldMk cId="637570254" sldId="2147474093"/>
            <ac:spMk id="45" creationId="{290C1246-F13A-4FCE-78DD-569CEE59A522}"/>
          </ac:spMkLst>
        </pc:spChg>
        <pc:spChg chg="add mod">
          <ac:chgData name="Paul Kuntz (Student at CentraleSupelec)" userId="13e0a3e2-9892-41c3-807e-2ca7b67a9271" providerId="ADAL" clId="{679907DC-319F-3E4D-9784-A4DB45D2E747}" dt="2022-11-25T09:44:12.194" v="7806" actId="1076"/>
          <ac:spMkLst>
            <pc:docMk/>
            <pc:sldMk cId="637570254" sldId="2147474093"/>
            <ac:spMk id="46" creationId="{0B610090-5000-B931-9897-61D54EE4771E}"/>
          </ac:spMkLst>
        </pc:spChg>
        <pc:spChg chg="add mod">
          <ac:chgData name="Paul Kuntz (Student at CentraleSupelec)" userId="13e0a3e2-9892-41c3-807e-2ca7b67a9271" providerId="ADAL" clId="{679907DC-319F-3E4D-9784-A4DB45D2E747}" dt="2022-11-25T09:47:24.425" v="7817" actId="14100"/>
          <ac:spMkLst>
            <pc:docMk/>
            <pc:sldMk cId="637570254" sldId="2147474093"/>
            <ac:spMk id="47" creationId="{549F2403-B670-8A99-5C69-16609F66F49F}"/>
          </ac:spMkLst>
        </pc:spChg>
        <pc:spChg chg="add mod">
          <ac:chgData name="Paul Kuntz (Student at CentraleSupelec)" userId="13e0a3e2-9892-41c3-807e-2ca7b67a9271" providerId="ADAL" clId="{679907DC-319F-3E4D-9784-A4DB45D2E747}" dt="2022-11-25T09:44:25.618" v="7811" actId="14100"/>
          <ac:spMkLst>
            <pc:docMk/>
            <pc:sldMk cId="637570254" sldId="2147474093"/>
            <ac:spMk id="48" creationId="{D19E177D-E4B0-5121-79C2-E173BEDDB39A}"/>
          </ac:spMkLst>
        </pc:spChg>
        <pc:spChg chg="mod">
          <ac:chgData name="Paul Kuntz (Student at CentraleSupelec)" userId="13e0a3e2-9892-41c3-807e-2ca7b67a9271" providerId="ADAL" clId="{679907DC-319F-3E4D-9784-A4DB45D2E747}" dt="2022-11-25T10:41:13.454" v="8817" actId="207"/>
          <ac:spMkLst>
            <pc:docMk/>
            <pc:sldMk cId="637570254" sldId="2147474093"/>
            <ac:spMk id="52" creationId="{26ACB4D6-C624-7FE9-77D8-5C20E9EE903E}"/>
          </ac:spMkLst>
        </pc:spChg>
        <pc:spChg chg="mod">
          <ac:chgData name="Paul Kuntz (Student at CentraleSupelec)" userId="13e0a3e2-9892-41c3-807e-2ca7b67a9271" providerId="ADAL" clId="{679907DC-319F-3E4D-9784-A4DB45D2E747}" dt="2022-11-25T10:41:13.454" v="8817" actId="207"/>
          <ac:spMkLst>
            <pc:docMk/>
            <pc:sldMk cId="637570254" sldId="2147474093"/>
            <ac:spMk id="56" creationId="{E252175A-FC1E-03A9-42AA-56E68F63AFAA}"/>
          </ac:spMkLst>
        </pc:spChg>
        <pc:spChg chg="mod">
          <ac:chgData name="Paul Kuntz (Student at CentraleSupelec)" userId="13e0a3e2-9892-41c3-807e-2ca7b67a9271" providerId="ADAL" clId="{679907DC-319F-3E4D-9784-A4DB45D2E747}" dt="2022-11-25T10:41:13.454" v="8817" actId="207"/>
          <ac:spMkLst>
            <pc:docMk/>
            <pc:sldMk cId="637570254" sldId="2147474093"/>
            <ac:spMk id="57" creationId="{51915291-2D33-AC1E-67CE-54B32D4AA2A0}"/>
          </ac:spMkLst>
        </pc:spChg>
        <pc:spChg chg="mod">
          <ac:chgData name="Paul Kuntz (Student at CentraleSupelec)" userId="13e0a3e2-9892-41c3-807e-2ca7b67a9271" providerId="ADAL" clId="{679907DC-319F-3E4D-9784-A4DB45D2E747}" dt="2022-11-25T10:41:13.454" v="8817" actId="207"/>
          <ac:spMkLst>
            <pc:docMk/>
            <pc:sldMk cId="637570254" sldId="2147474093"/>
            <ac:spMk id="67" creationId="{F0A9D3D0-EA18-5B4B-0096-CB4471302A9C}"/>
          </ac:spMkLst>
        </pc:spChg>
        <pc:spChg chg="mod">
          <ac:chgData name="Paul Kuntz (Student at CentraleSupelec)" userId="13e0a3e2-9892-41c3-807e-2ca7b67a9271" providerId="ADAL" clId="{679907DC-319F-3E4D-9784-A4DB45D2E747}" dt="2022-11-25T10:41:13.454" v="8817" actId="207"/>
          <ac:spMkLst>
            <pc:docMk/>
            <pc:sldMk cId="637570254" sldId="2147474093"/>
            <ac:spMk id="68" creationId="{2039ED7B-E0B3-B248-AC4C-3FEDF44E658A}"/>
          </ac:spMkLst>
        </pc:spChg>
        <pc:spChg chg="mod">
          <ac:chgData name="Paul Kuntz (Student at CentraleSupelec)" userId="13e0a3e2-9892-41c3-807e-2ca7b67a9271" providerId="ADAL" clId="{679907DC-319F-3E4D-9784-A4DB45D2E747}" dt="2022-11-25T10:41:13.454" v="8817" actId="207"/>
          <ac:spMkLst>
            <pc:docMk/>
            <pc:sldMk cId="637570254" sldId="2147474093"/>
            <ac:spMk id="69" creationId="{F6FF1E2B-1BC9-A582-2CAF-A9D9853DB080}"/>
          </ac:spMkLst>
        </pc:spChg>
        <pc:spChg chg="mod">
          <ac:chgData name="Paul Kuntz (Student at CentraleSupelec)" userId="13e0a3e2-9892-41c3-807e-2ca7b67a9271" providerId="ADAL" clId="{679907DC-319F-3E4D-9784-A4DB45D2E747}" dt="2022-11-25T10:41:13.454" v="8817" actId="207"/>
          <ac:spMkLst>
            <pc:docMk/>
            <pc:sldMk cId="637570254" sldId="2147474093"/>
            <ac:spMk id="70" creationId="{21C5A4F8-E38A-9829-A799-90F0DB99E52E}"/>
          </ac:spMkLst>
        </pc:spChg>
        <pc:spChg chg="mod">
          <ac:chgData name="Paul Kuntz (Student at CentraleSupelec)" userId="13e0a3e2-9892-41c3-807e-2ca7b67a9271" providerId="ADAL" clId="{679907DC-319F-3E4D-9784-A4DB45D2E747}" dt="2022-11-25T10:41:13.454" v="8817" actId="207"/>
          <ac:spMkLst>
            <pc:docMk/>
            <pc:sldMk cId="637570254" sldId="2147474093"/>
            <ac:spMk id="71" creationId="{1BAA6B72-5F19-2700-1669-C1472D3D6107}"/>
          </ac:spMkLst>
        </pc:spChg>
        <pc:spChg chg="mod">
          <ac:chgData name="Paul Kuntz (Student at CentraleSupelec)" userId="13e0a3e2-9892-41c3-807e-2ca7b67a9271" providerId="ADAL" clId="{679907DC-319F-3E4D-9784-A4DB45D2E747}" dt="2022-11-25T10:41:52.531" v="8829" actId="20577"/>
          <ac:spMkLst>
            <pc:docMk/>
            <pc:sldMk cId="637570254" sldId="2147474093"/>
            <ac:spMk id="72" creationId="{FFEA6292-D626-B77E-9DA8-7C1DB74C2DC0}"/>
          </ac:spMkLst>
        </pc:spChg>
        <pc:spChg chg="mod">
          <ac:chgData name="Paul Kuntz (Student at CentraleSupelec)" userId="13e0a3e2-9892-41c3-807e-2ca7b67a9271" providerId="ADAL" clId="{679907DC-319F-3E4D-9784-A4DB45D2E747}" dt="2022-11-25T10:41:28.745" v="8825" actId="20577"/>
          <ac:spMkLst>
            <pc:docMk/>
            <pc:sldMk cId="637570254" sldId="2147474093"/>
            <ac:spMk id="73" creationId="{B9412279-CF03-5AE5-FA5A-4F70420B6C21}"/>
          </ac:spMkLst>
        </pc:spChg>
        <pc:spChg chg="add mod">
          <ac:chgData name="Paul Kuntz (Student at CentraleSupelec)" userId="13e0a3e2-9892-41c3-807e-2ca7b67a9271" providerId="ADAL" clId="{679907DC-319F-3E4D-9784-A4DB45D2E747}" dt="2022-11-25T10:28:46.812" v="8358" actId="1076"/>
          <ac:spMkLst>
            <pc:docMk/>
            <pc:sldMk cId="637570254" sldId="2147474093"/>
            <ac:spMk id="74" creationId="{B6E8BF3D-A9BD-EE8E-511A-552829E5EA8C}"/>
          </ac:spMkLst>
        </pc:spChg>
        <pc:spChg chg="add mod">
          <ac:chgData name="Paul Kuntz (Student at CentraleSupelec)" userId="13e0a3e2-9892-41c3-807e-2ca7b67a9271" providerId="ADAL" clId="{679907DC-319F-3E4D-9784-A4DB45D2E747}" dt="2022-11-25T10:31:50.241" v="8430" actId="14100"/>
          <ac:spMkLst>
            <pc:docMk/>
            <pc:sldMk cId="637570254" sldId="2147474093"/>
            <ac:spMk id="75" creationId="{A0827A10-49E2-6A7D-0058-71FBD625487D}"/>
          </ac:spMkLst>
        </pc:spChg>
        <pc:spChg chg="mod">
          <ac:chgData name="Paul Kuntz (Student at CentraleSupelec)" userId="13e0a3e2-9892-41c3-807e-2ca7b67a9271" providerId="ADAL" clId="{679907DC-319F-3E4D-9784-A4DB45D2E747}" dt="2022-11-25T10:41:13.454" v="8817" actId="207"/>
          <ac:spMkLst>
            <pc:docMk/>
            <pc:sldMk cId="637570254" sldId="2147474093"/>
            <ac:spMk id="78" creationId="{6C749AD2-9173-07CD-867B-9A070F5C3073}"/>
          </ac:spMkLst>
        </pc:spChg>
        <pc:spChg chg="mod">
          <ac:chgData name="Paul Kuntz (Student at CentraleSupelec)" userId="13e0a3e2-9892-41c3-807e-2ca7b67a9271" providerId="ADAL" clId="{679907DC-319F-3E4D-9784-A4DB45D2E747}" dt="2022-11-25T10:41:13.454" v="8817" actId="207"/>
          <ac:spMkLst>
            <pc:docMk/>
            <pc:sldMk cId="637570254" sldId="2147474093"/>
            <ac:spMk id="81" creationId="{A23F4FD2-7BF1-6E1A-C3E0-F13268E1664E}"/>
          </ac:spMkLst>
        </pc:spChg>
        <pc:spChg chg="mod">
          <ac:chgData name="Paul Kuntz (Student at CentraleSupelec)" userId="13e0a3e2-9892-41c3-807e-2ca7b67a9271" providerId="ADAL" clId="{679907DC-319F-3E4D-9784-A4DB45D2E747}" dt="2022-11-25T10:41:13.454" v="8817" actId="207"/>
          <ac:spMkLst>
            <pc:docMk/>
            <pc:sldMk cId="637570254" sldId="2147474093"/>
            <ac:spMk id="82" creationId="{2806569E-7610-15B3-0A7F-0C8541A91C39}"/>
          </ac:spMkLst>
        </pc:spChg>
        <pc:spChg chg="del mod">
          <ac:chgData name="Paul Kuntz (Student at CentraleSupelec)" userId="13e0a3e2-9892-41c3-807e-2ca7b67a9271" providerId="ADAL" clId="{679907DC-319F-3E4D-9784-A4DB45D2E747}" dt="2022-11-25T10:41:57.631" v="8830" actId="478"/>
          <ac:spMkLst>
            <pc:docMk/>
            <pc:sldMk cId="637570254" sldId="2147474093"/>
            <ac:spMk id="85" creationId="{9E427A03-2E3A-3D1A-A530-5651C8FA22D0}"/>
          </ac:spMkLst>
        </pc:spChg>
        <pc:spChg chg="add del mod">
          <ac:chgData name="Paul Kuntz (Student at CentraleSupelec)" userId="13e0a3e2-9892-41c3-807e-2ca7b67a9271" providerId="ADAL" clId="{679907DC-319F-3E4D-9784-A4DB45D2E747}" dt="2022-11-25T10:32:10.951" v="8435"/>
          <ac:spMkLst>
            <pc:docMk/>
            <pc:sldMk cId="637570254" sldId="2147474093"/>
            <ac:spMk id="86" creationId="{4B8EFA84-FBDF-9068-7C53-60D0BA649864}"/>
          </ac:spMkLst>
        </pc:spChg>
        <pc:spChg chg="add mod">
          <ac:chgData name="Paul Kuntz (Student at CentraleSupelec)" userId="13e0a3e2-9892-41c3-807e-2ca7b67a9271" providerId="ADAL" clId="{679907DC-319F-3E4D-9784-A4DB45D2E747}" dt="2022-11-25T10:32:35.532" v="8466" actId="1076"/>
          <ac:spMkLst>
            <pc:docMk/>
            <pc:sldMk cId="637570254" sldId="2147474093"/>
            <ac:spMk id="87" creationId="{D36EE1E4-BFE6-C601-D2D2-31C2FBEC29FD}"/>
          </ac:spMkLst>
        </pc:spChg>
        <pc:spChg chg="add mod">
          <ac:chgData name="Paul Kuntz (Student at CentraleSupelec)" userId="13e0a3e2-9892-41c3-807e-2ca7b67a9271" providerId="ADAL" clId="{679907DC-319F-3E4D-9784-A4DB45D2E747}" dt="2022-11-25T10:32:52.468" v="8491" actId="1076"/>
          <ac:spMkLst>
            <pc:docMk/>
            <pc:sldMk cId="637570254" sldId="2147474093"/>
            <ac:spMk id="88" creationId="{AA612397-D4BF-E35B-0737-C483DF960DED}"/>
          </ac:spMkLst>
        </pc:spChg>
        <pc:spChg chg="add mod">
          <ac:chgData name="Paul Kuntz (Student at CentraleSupelec)" userId="13e0a3e2-9892-41c3-807e-2ca7b67a9271" providerId="ADAL" clId="{679907DC-319F-3E4D-9784-A4DB45D2E747}" dt="2022-11-25T10:33:15.627" v="8521" actId="1076"/>
          <ac:spMkLst>
            <pc:docMk/>
            <pc:sldMk cId="637570254" sldId="2147474093"/>
            <ac:spMk id="89" creationId="{0066D537-78C4-B9D6-0AFC-10362BEEA838}"/>
          </ac:spMkLst>
        </pc:spChg>
        <pc:spChg chg="add mod">
          <ac:chgData name="Paul Kuntz (Student at CentraleSupelec)" userId="13e0a3e2-9892-41c3-807e-2ca7b67a9271" providerId="ADAL" clId="{679907DC-319F-3E4D-9784-A4DB45D2E747}" dt="2022-11-25T10:33:27.600" v="8523" actId="1076"/>
          <ac:spMkLst>
            <pc:docMk/>
            <pc:sldMk cId="637570254" sldId="2147474093"/>
            <ac:spMk id="90" creationId="{F460FFDB-E9BD-3EE7-BE79-7EB94A747A22}"/>
          </ac:spMkLst>
        </pc:spChg>
        <pc:spChg chg="add mod">
          <ac:chgData name="Paul Kuntz (Student at CentraleSupelec)" userId="13e0a3e2-9892-41c3-807e-2ca7b67a9271" providerId="ADAL" clId="{679907DC-319F-3E4D-9784-A4DB45D2E747}" dt="2022-11-25T10:33:32.988" v="8545" actId="20577"/>
          <ac:spMkLst>
            <pc:docMk/>
            <pc:sldMk cId="637570254" sldId="2147474093"/>
            <ac:spMk id="91" creationId="{EF3225A2-458C-6D79-37FE-30B6FF39C130}"/>
          </ac:spMkLst>
        </pc:spChg>
        <pc:spChg chg="add mod">
          <ac:chgData name="Paul Kuntz (Student at CentraleSupelec)" userId="13e0a3e2-9892-41c3-807e-2ca7b67a9271" providerId="ADAL" clId="{679907DC-319F-3E4D-9784-A4DB45D2E747}" dt="2022-11-25T10:33:41.622" v="8547" actId="1076"/>
          <ac:spMkLst>
            <pc:docMk/>
            <pc:sldMk cId="637570254" sldId="2147474093"/>
            <ac:spMk id="92" creationId="{B5B23DE4-016B-5F63-3C3F-974BB4F29F50}"/>
          </ac:spMkLst>
        </pc:spChg>
        <pc:spChg chg="add mod">
          <ac:chgData name="Paul Kuntz (Student at CentraleSupelec)" userId="13e0a3e2-9892-41c3-807e-2ca7b67a9271" providerId="ADAL" clId="{679907DC-319F-3E4D-9784-A4DB45D2E747}" dt="2022-11-25T10:33:55.237" v="8570" actId="1076"/>
          <ac:spMkLst>
            <pc:docMk/>
            <pc:sldMk cId="637570254" sldId="2147474093"/>
            <ac:spMk id="93" creationId="{B1A76FF3-9DB2-22F6-4B5E-5CA5AD57506E}"/>
          </ac:spMkLst>
        </pc:spChg>
        <pc:spChg chg="add mod">
          <ac:chgData name="Paul Kuntz (Student at CentraleSupelec)" userId="13e0a3e2-9892-41c3-807e-2ca7b67a9271" providerId="ADAL" clId="{679907DC-319F-3E4D-9784-A4DB45D2E747}" dt="2022-11-25T10:34:41.069" v="8609" actId="207"/>
          <ac:spMkLst>
            <pc:docMk/>
            <pc:sldMk cId="637570254" sldId="2147474093"/>
            <ac:spMk id="94" creationId="{739003B6-B831-B22A-780A-4B848085E11D}"/>
          </ac:spMkLst>
        </pc:spChg>
        <pc:spChg chg="add mod">
          <ac:chgData name="Paul Kuntz (Student at CentraleSupelec)" userId="13e0a3e2-9892-41c3-807e-2ca7b67a9271" providerId="ADAL" clId="{679907DC-319F-3E4D-9784-A4DB45D2E747}" dt="2022-11-25T10:34:54.576" v="8640" actId="207"/>
          <ac:spMkLst>
            <pc:docMk/>
            <pc:sldMk cId="637570254" sldId="2147474093"/>
            <ac:spMk id="95" creationId="{A39D1610-260A-7705-4905-428FA5FBB988}"/>
          </ac:spMkLst>
        </pc:spChg>
        <pc:spChg chg="add del mod">
          <ac:chgData name="Paul Kuntz (Student at CentraleSupelec)" userId="13e0a3e2-9892-41c3-807e-2ca7b67a9271" providerId="ADAL" clId="{679907DC-319F-3E4D-9784-A4DB45D2E747}" dt="2022-11-25T10:34:22.747" v="8579" actId="478"/>
          <ac:spMkLst>
            <pc:docMk/>
            <pc:sldMk cId="637570254" sldId="2147474093"/>
            <ac:spMk id="96" creationId="{93974605-B5E1-AD39-73D0-9857832A0460}"/>
          </ac:spMkLst>
        </pc:spChg>
        <pc:spChg chg="add mod">
          <ac:chgData name="Paul Kuntz (Student at CentraleSupelec)" userId="13e0a3e2-9892-41c3-807e-2ca7b67a9271" providerId="ADAL" clId="{679907DC-319F-3E4D-9784-A4DB45D2E747}" dt="2022-11-25T10:35:16.230" v="8667" actId="20577"/>
          <ac:spMkLst>
            <pc:docMk/>
            <pc:sldMk cId="637570254" sldId="2147474093"/>
            <ac:spMk id="97" creationId="{DF09C53B-1A2C-6948-EB37-E416C594095C}"/>
          </ac:spMkLst>
        </pc:spChg>
        <pc:spChg chg="add mod">
          <ac:chgData name="Paul Kuntz (Student at CentraleSupelec)" userId="13e0a3e2-9892-41c3-807e-2ca7b67a9271" providerId="ADAL" clId="{679907DC-319F-3E4D-9784-A4DB45D2E747}" dt="2022-11-25T10:35:46.580" v="8697" actId="14100"/>
          <ac:spMkLst>
            <pc:docMk/>
            <pc:sldMk cId="637570254" sldId="2147474093"/>
            <ac:spMk id="98" creationId="{751D4708-BCEC-A26E-6C55-F5BE8D002BAF}"/>
          </ac:spMkLst>
        </pc:spChg>
        <pc:spChg chg="mod">
          <ac:chgData name="Paul Kuntz (Student at CentraleSupelec)" userId="13e0a3e2-9892-41c3-807e-2ca7b67a9271" providerId="ADAL" clId="{679907DC-319F-3E4D-9784-A4DB45D2E747}" dt="2022-11-25T10:41:13.454" v="8817" actId="207"/>
          <ac:spMkLst>
            <pc:docMk/>
            <pc:sldMk cId="637570254" sldId="2147474093"/>
            <ac:spMk id="102" creationId="{DB3151F7-907C-600B-30E9-86B48B538B74}"/>
          </ac:spMkLst>
        </pc:spChg>
        <pc:spChg chg="mod">
          <ac:chgData name="Paul Kuntz (Student at CentraleSupelec)" userId="13e0a3e2-9892-41c3-807e-2ca7b67a9271" providerId="ADAL" clId="{679907DC-319F-3E4D-9784-A4DB45D2E747}" dt="2022-11-25T10:41:13.454" v="8817" actId="207"/>
          <ac:spMkLst>
            <pc:docMk/>
            <pc:sldMk cId="637570254" sldId="2147474093"/>
            <ac:spMk id="103" creationId="{3419B77A-303C-DDF4-20EA-264A56359B9F}"/>
          </ac:spMkLst>
        </pc:spChg>
        <pc:spChg chg="mod">
          <ac:chgData name="Paul Kuntz (Student at CentraleSupelec)" userId="13e0a3e2-9892-41c3-807e-2ca7b67a9271" providerId="ADAL" clId="{679907DC-319F-3E4D-9784-A4DB45D2E747}" dt="2022-11-25T10:41:13.454" v="8817" actId="207"/>
          <ac:spMkLst>
            <pc:docMk/>
            <pc:sldMk cId="637570254" sldId="2147474093"/>
            <ac:spMk id="104" creationId="{46F9BB08-FBA1-5032-CE43-DF4FB87E6470}"/>
          </ac:spMkLst>
        </pc:spChg>
        <pc:spChg chg="mod">
          <ac:chgData name="Paul Kuntz (Student at CentraleSupelec)" userId="13e0a3e2-9892-41c3-807e-2ca7b67a9271" providerId="ADAL" clId="{679907DC-319F-3E4D-9784-A4DB45D2E747}" dt="2022-11-25T10:41:13.454" v="8817" actId="207"/>
          <ac:spMkLst>
            <pc:docMk/>
            <pc:sldMk cId="637570254" sldId="2147474093"/>
            <ac:spMk id="105" creationId="{8341381B-EAAF-C099-4EF8-BBE42A5793B8}"/>
          </ac:spMkLst>
        </pc:spChg>
        <pc:spChg chg="mod">
          <ac:chgData name="Paul Kuntz (Student at CentraleSupelec)" userId="13e0a3e2-9892-41c3-807e-2ca7b67a9271" providerId="ADAL" clId="{679907DC-319F-3E4D-9784-A4DB45D2E747}" dt="2022-11-25T10:41:13.454" v="8817" actId="207"/>
          <ac:spMkLst>
            <pc:docMk/>
            <pc:sldMk cId="637570254" sldId="2147474093"/>
            <ac:spMk id="106" creationId="{884D087F-9020-7F7D-77D2-210E95457385}"/>
          </ac:spMkLst>
        </pc:spChg>
        <pc:spChg chg="mod">
          <ac:chgData name="Paul Kuntz (Student at CentraleSupelec)" userId="13e0a3e2-9892-41c3-807e-2ca7b67a9271" providerId="ADAL" clId="{679907DC-319F-3E4D-9784-A4DB45D2E747}" dt="2022-11-25T10:41:13.454" v="8817" actId="207"/>
          <ac:spMkLst>
            <pc:docMk/>
            <pc:sldMk cId="637570254" sldId="2147474093"/>
            <ac:spMk id="107" creationId="{CB1ED617-5951-886E-85E0-BE8894CAC067}"/>
          </ac:spMkLst>
        </pc:spChg>
        <pc:spChg chg="mod">
          <ac:chgData name="Paul Kuntz (Student at CentraleSupelec)" userId="13e0a3e2-9892-41c3-807e-2ca7b67a9271" providerId="ADAL" clId="{679907DC-319F-3E4D-9784-A4DB45D2E747}" dt="2022-11-25T10:42:21.988" v="8849" actId="1076"/>
          <ac:spMkLst>
            <pc:docMk/>
            <pc:sldMk cId="637570254" sldId="2147474093"/>
            <ac:spMk id="110" creationId="{28A31D7D-BE30-45C3-C6B4-2A24EE127A6B}"/>
          </ac:spMkLst>
        </pc:spChg>
        <pc:spChg chg="add mod">
          <ac:chgData name="Paul Kuntz (Student at CentraleSupelec)" userId="13e0a3e2-9892-41c3-807e-2ca7b67a9271" providerId="ADAL" clId="{679907DC-319F-3E4D-9784-A4DB45D2E747}" dt="2022-11-25T10:42:08.985" v="8832" actId="1076"/>
          <ac:spMkLst>
            <pc:docMk/>
            <pc:sldMk cId="637570254" sldId="2147474093"/>
            <ac:spMk id="111" creationId="{177A799C-60CF-22F5-BC24-BD15F596A038}"/>
          </ac:spMkLst>
        </pc:spChg>
        <pc:grpChg chg="del">
          <ac:chgData name="Paul Kuntz (Student at CentraleSupelec)" userId="13e0a3e2-9892-41c3-807e-2ca7b67a9271" providerId="ADAL" clId="{679907DC-319F-3E4D-9784-A4DB45D2E747}" dt="2022-11-25T09:33:47.276" v="7588" actId="478"/>
          <ac:grpSpMkLst>
            <pc:docMk/>
            <pc:sldMk cId="637570254" sldId="2147474093"/>
            <ac:grpSpMk id="23" creationId="{DCFBBB35-BB09-E33B-BDB4-319079ED4173}"/>
          </ac:grpSpMkLst>
        </pc:grpChg>
        <pc:grpChg chg="del">
          <ac:chgData name="Paul Kuntz (Student at CentraleSupelec)" userId="13e0a3e2-9892-41c3-807e-2ca7b67a9271" providerId="ADAL" clId="{679907DC-319F-3E4D-9784-A4DB45D2E747}" dt="2022-11-25T09:33:47.276" v="7588" actId="478"/>
          <ac:grpSpMkLst>
            <pc:docMk/>
            <pc:sldMk cId="637570254" sldId="2147474093"/>
            <ac:grpSpMk id="24" creationId="{2E9AD743-2578-9251-C942-EFC41D878A6D}"/>
          </ac:grpSpMkLst>
        </pc:grpChg>
        <pc:grpChg chg="del">
          <ac:chgData name="Paul Kuntz (Student at CentraleSupelec)" userId="13e0a3e2-9892-41c3-807e-2ca7b67a9271" providerId="ADAL" clId="{679907DC-319F-3E4D-9784-A4DB45D2E747}" dt="2022-11-25T09:33:47.276" v="7588" actId="478"/>
          <ac:grpSpMkLst>
            <pc:docMk/>
            <pc:sldMk cId="637570254" sldId="2147474093"/>
            <ac:grpSpMk id="25" creationId="{937508AC-64F8-08EC-83CE-68DA0C41AB1A}"/>
          </ac:grpSpMkLst>
        </pc:grpChg>
        <pc:grpChg chg="del">
          <ac:chgData name="Paul Kuntz (Student at CentraleSupelec)" userId="13e0a3e2-9892-41c3-807e-2ca7b67a9271" providerId="ADAL" clId="{679907DC-319F-3E4D-9784-A4DB45D2E747}" dt="2022-11-25T09:33:47.276" v="7588" actId="478"/>
          <ac:grpSpMkLst>
            <pc:docMk/>
            <pc:sldMk cId="637570254" sldId="2147474093"/>
            <ac:grpSpMk id="26" creationId="{26803C59-C450-CA8D-7855-88EC710CD955}"/>
          </ac:grpSpMkLst>
        </pc:grpChg>
        <pc:graphicFrameChg chg="add mod modGraphic">
          <ac:chgData name="Paul Kuntz (Student at CentraleSupelec)" userId="13e0a3e2-9892-41c3-807e-2ca7b67a9271" providerId="ADAL" clId="{679907DC-319F-3E4D-9784-A4DB45D2E747}" dt="2022-11-25T10:31:54.010" v="8431" actId="1076"/>
          <ac:graphicFrameMkLst>
            <pc:docMk/>
            <pc:sldMk cId="637570254" sldId="2147474093"/>
            <ac:graphicFrameMk id="76" creationId="{3F59F270-6E63-73F5-E770-D156CC608069}"/>
          </ac:graphicFrameMkLst>
        </pc:graphicFrameChg>
        <pc:cxnChg chg="add del">
          <ac:chgData name="Paul Kuntz (Student at CentraleSupelec)" userId="13e0a3e2-9892-41c3-807e-2ca7b67a9271" providerId="ADAL" clId="{679907DC-319F-3E4D-9784-A4DB45D2E747}" dt="2022-11-25T09:43:17.799" v="7780" actId="11529"/>
          <ac:cxnSpMkLst>
            <pc:docMk/>
            <pc:sldMk cId="637570254" sldId="2147474093"/>
            <ac:cxnSpMk id="41" creationId="{D0900FF7-1A8B-A207-17F2-6C57EEA8D106}"/>
          </ac:cxnSpMkLst>
        </pc:cxnChg>
      </pc:sldChg>
      <pc:sldChg chg="add del">
        <pc:chgData name="Paul Kuntz (Student at CentraleSupelec)" userId="13e0a3e2-9892-41c3-807e-2ca7b67a9271" providerId="ADAL" clId="{679907DC-319F-3E4D-9784-A4DB45D2E747}" dt="2022-11-25T10:01:26.772" v="7837" actId="2696"/>
        <pc:sldMkLst>
          <pc:docMk/>
          <pc:sldMk cId="1884453740" sldId="2147474094"/>
        </pc:sldMkLst>
      </pc:sldChg>
      <pc:sldChg chg="add del">
        <pc:chgData name="Paul Kuntz (Student at CentraleSupelec)" userId="13e0a3e2-9892-41c3-807e-2ca7b67a9271" providerId="ADAL" clId="{679907DC-319F-3E4D-9784-A4DB45D2E747}" dt="2022-11-25T10:01:30.076" v="7839" actId="2696"/>
        <pc:sldMkLst>
          <pc:docMk/>
          <pc:sldMk cId="3475208071" sldId="2147474094"/>
        </pc:sldMkLst>
      </pc:sldChg>
      <pc:sldMasterChg chg="addSp modTransition modSldLayout">
        <pc:chgData name="Paul Kuntz (Student at CentraleSupelec)" userId="13e0a3e2-9892-41c3-807e-2ca7b67a9271" providerId="ADAL" clId="{679907DC-319F-3E4D-9784-A4DB45D2E747}" dt="2022-11-24T18:20:32.018" v="2280"/>
        <pc:sldMasterMkLst>
          <pc:docMk/>
          <pc:sldMasterMk cId="559094910" sldId="2147485258"/>
        </pc:sldMasterMkLst>
        <pc:spChg chg="add">
          <ac:chgData name="Paul Kuntz (Student at CentraleSupelec)" userId="13e0a3e2-9892-41c3-807e-2ca7b67a9271" providerId="ADAL" clId="{679907DC-319F-3E4D-9784-A4DB45D2E747}" dt="2022-11-24T18:20:32.018" v="2280"/>
          <ac:spMkLst>
            <pc:docMk/>
            <pc:sldMasterMk cId="559094910" sldId="2147485258"/>
            <ac:spMk id="6" creationId="{A3F35224-F123-B307-52B5-9BA006F94E87}"/>
          </ac:spMkLst>
        </pc:spChg>
        <pc:graphicFrameChg chg="add">
          <ac:chgData name="Paul Kuntz (Student at CentraleSupelec)" userId="13e0a3e2-9892-41c3-807e-2ca7b67a9271" providerId="ADAL" clId="{679907DC-319F-3E4D-9784-A4DB45D2E747}" dt="2022-11-24T18:20:32.018" v="2280"/>
          <ac:graphicFrameMkLst>
            <pc:docMk/>
            <pc:sldMasterMk cId="559094910" sldId="2147485258"/>
            <ac:graphicFrameMk id="4" creationId="{599EE64A-D153-DD9D-77C7-3E81CB3BE683}"/>
          </ac:graphicFrameMkLst>
        </pc:graphicFrameChg>
        <pc:sldLayoutChg chg="delSp">
          <pc:chgData name="Paul Kuntz (Student at CentraleSupelec)" userId="13e0a3e2-9892-41c3-807e-2ca7b67a9271" providerId="ADAL" clId="{679907DC-319F-3E4D-9784-A4DB45D2E747}" dt="2022-11-24T18:20:32.018" v="2280"/>
          <pc:sldLayoutMkLst>
            <pc:docMk/>
            <pc:sldMasterMk cId="559094910" sldId="2147485258"/>
            <pc:sldLayoutMk cId="3420569361" sldId="2147485271"/>
          </pc:sldLayoutMkLst>
          <pc:spChg chg="del">
            <ac:chgData name="Paul Kuntz (Student at CentraleSupelec)" userId="13e0a3e2-9892-41c3-807e-2ca7b67a9271" providerId="ADAL" clId="{679907DC-319F-3E4D-9784-A4DB45D2E747}" dt="2022-11-24T18:20:32.018" v="2280"/>
            <ac:spMkLst>
              <pc:docMk/>
              <pc:sldMasterMk cId="559094910" sldId="2147485258"/>
              <pc:sldLayoutMk cId="3420569361" sldId="2147485271"/>
              <ac:spMk id="6" creationId="{00000000-0000-0000-0000-000000000000}"/>
            </ac:spMkLst>
          </pc:spChg>
          <pc:spChg chg="del">
            <ac:chgData name="Paul Kuntz (Student at CentraleSupelec)" userId="13e0a3e2-9892-41c3-807e-2ca7b67a9271" providerId="ADAL" clId="{679907DC-319F-3E4D-9784-A4DB45D2E747}" dt="2022-11-24T18:20:32.018" v="2280"/>
            <ac:spMkLst>
              <pc:docMk/>
              <pc:sldMasterMk cId="559094910" sldId="2147485258"/>
              <pc:sldLayoutMk cId="3420569361" sldId="2147485271"/>
              <ac:spMk id="7" creationId="{00000000-0000-0000-0000-000000000000}"/>
            </ac:spMkLst>
          </pc:spChg>
          <pc:cxnChg chg="del">
            <ac:chgData name="Paul Kuntz (Student at CentraleSupelec)" userId="13e0a3e2-9892-41c3-807e-2ca7b67a9271" providerId="ADAL" clId="{679907DC-319F-3E4D-9784-A4DB45D2E747}" dt="2022-11-24T18:20:32.018" v="2280"/>
            <ac:cxnSpMkLst>
              <pc:docMk/>
              <pc:sldMasterMk cId="559094910" sldId="2147485258"/>
              <pc:sldLayoutMk cId="3420569361" sldId="2147485271"/>
              <ac:cxnSpMk id="9" creationId="{00000000-0000-0000-0000-000000000000}"/>
            </ac:cxnSpMkLst>
          </pc:cxnChg>
        </pc:sldLayout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https://centralesupelec.sharepoint.com/sites/EDC3-BCG/Documents%20partages/General/Petitscalculs.xlsx" TargetMode="Externa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_rels/chart2.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760990057012956E-2"/>
          <c:y val="2.37008394202812E-2"/>
          <c:w val="0.90873319916927819"/>
          <c:h val="0.82200622940173107"/>
        </c:manualLayout>
      </c:layout>
      <c:bubbleChart>
        <c:varyColors val="0"/>
        <c:ser>
          <c:idx val="2"/>
          <c:order val="0"/>
          <c:tx>
            <c:strRef>
              <c:f>'Use Case Priorisation'!$C$1</c:f>
              <c:strCache>
                <c:ptCount val="1"/>
                <c:pt idx="0">
                  <c:v>Use Case</c:v>
                </c:pt>
              </c:strCache>
            </c:strRef>
          </c:tx>
          <c:spPr>
            <a:solidFill>
              <a:schemeClr val="accent3">
                <a:alpha val="75000"/>
              </a:schemeClr>
            </a:solidFill>
            <a:ln w="25400">
              <a:noFill/>
            </a:ln>
            <a:effectLst/>
          </c:spPr>
          <c:invertIfNegative val="0"/>
          <c:dPt>
            <c:idx val="0"/>
            <c:invertIfNegative val="0"/>
            <c:bubble3D val="0"/>
            <c:spPr>
              <a:solidFill>
                <a:srgbClr val="30C1D7"/>
              </a:solidFill>
              <a:ln w="38100">
                <a:solidFill>
                  <a:srgbClr val="E71C57"/>
                </a:solidFill>
              </a:ln>
              <a:effectLst/>
            </c:spPr>
            <c:extLst>
              <c:ext xmlns:c16="http://schemas.microsoft.com/office/drawing/2014/chart" uri="{C3380CC4-5D6E-409C-BE32-E72D297353CC}">
                <c16:uniqueId val="{00000000-A9A3-9948-8D77-A4CACB349CF6}"/>
              </c:ext>
            </c:extLst>
          </c:dPt>
          <c:dPt>
            <c:idx val="1"/>
            <c:invertIfNegative val="0"/>
            <c:bubble3D val="0"/>
            <c:spPr>
              <a:solidFill>
                <a:srgbClr val="30C1D7"/>
              </a:solidFill>
              <a:ln w="25400">
                <a:noFill/>
              </a:ln>
              <a:effectLst/>
            </c:spPr>
            <c:extLst>
              <c:ext xmlns:c16="http://schemas.microsoft.com/office/drawing/2014/chart" uri="{C3380CC4-5D6E-409C-BE32-E72D297353CC}">
                <c16:uniqueId val="{00000001-A9A3-9948-8D77-A4CACB349CF6}"/>
              </c:ext>
            </c:extLst>
          </c:dPt>
          <c:dPt>
            <c:idx val="2"/>
            <c:invertIfNegative val="0"/>
            <c:bubble3D val="0"/>
            <c:spPr>
              <a:solidFill>
                <a:srgbClr val="00F26D"/>
              </a:solidFill>
              <a:ln w="38100">
                <a:solidFill>
                  <a:srgbClr val="E71C57"/>
                </a:solidFill>
              </a:ln>
              <a:effectLst/>
            </c:spPr>
            <c:extLst>
              <c:ext xmlns:c16="http://schemas.microsoft.com/office/drawing/2014/chart" uri="{C3380CC4-5D6E-409C-BE32-E72D297353CC}">
                <c16:uniqueId val="{00000002-A9A3-9948-8D77-A4CACB349CF6}"/>
              </c:ext>
            </c:extLst>
          </c:dPt>
          <c:dPt>
            <c:idx val="3"/>
            <c:invertIfNegative val="0"/>
            <c:bubble3D val="0"/>
            <c:spPr>
              <a:solidFill>
                <a:srgbClr val="670F31"/>
              </a:solidFill>
              <a:ln w="25400">
                <a:noFill/>
              </a:ln>
              <a:effectLst/>
            </c:spPr>
            <c:extLst>
              <c:ext xmlns:c16="http://schemas.microsoft.com/office/drawing/2014/chart" uri="{C3380CC4-5D6E-409C-BE32-E72D297353CC}">
                <c16:uniqueId val="{00000003-A9A3-9948-8D77-A4CACB349CF6}"/>
              </c:ext>
            </c:extLst>
          </c:dPt>
          <c:dPt>
            <c:idx val="4"/>
            <c:invertIfNegative val="0"/>
            <c:bubble3D val="0"/>
            <c:spPr>
              <a:solidFill>
                <a:srgbClr val="670F31"/>
              </a:solidFill>
              <a:ln w="38100">
                <a:solidFill>
                  <a:srgbClr val="E71C57"/>
                </a:solidFill>
              </a:ln>
              <a:effectLst/>
            </c:spPr>
            <c:extLst>
              <c:ext xmlns:c16="http://schemas.microsoft.com/office/drawing/2014/chart" uri="{C3380CC4-5D6E-409C-BE32-E72D297353CC}">
                <c16:uniqueId val="{00000004-A9A3-9948-8D77-A4CACB349CF6}"/>
              </c:ext>
            </c:extLst>
          </c:dPt>
          <c:dPt>
            <c:idx val="5"/>
            <c:invertIfNegative val="0"/>
            <c:bubble3D val="0"/>
            <c:spPr>
              <a:solidFill>
                <a:srgbClr val="00F26D"/>
              </a:solidFill>
              <a:ln w="25400">
                <a:noFill/>
              </a:ln>
              <a:effectLst/>
            </c:spPr>
            <c:extLst>
              <c:ext xmlns:c16="http://schemas.microsoft.com/office/drawing/2014/chart" uri="{C3380CC4-5D6E-409C-BE32-E72D297353CC}">
                <c16:uniqueId val="{00000005-A9A3-9948-8D77-A4CACB349CF6}"/>
              </c:ext>
            </c:extLst>
          </c:dPt>
          <c:dPt>
            <c:idx val="6"/>
            <c:invertIfNegative val="0"/>
            <c:bubble3D val="0"/>
            <c:spPr>
              <a:solidFill>
                <a:srgbClr val="00F26D"/>
              </a:solidFill>
              <a:ln w="25400">
                <a:noFill/>
              </a:ln>
              <a:effectLst/>
            </c:spPr>
            <c:extLst>
              <c:ext xmlns:c16="http://schemas.microsoft.com/office/drawing/2014/chart" uri="{C3380CC4-5D6E-409C-BE32-E72D297353CC}">
                <c16:uniqueId val="{00000006-A9A3-9948-8D77-A4CACB349CF6}"/>
              </c:ext>
            </c:extLst>
          </c:dPt>
          <c:dPt>
            <c:idx val="7"/>
            <c:invertIfNegative val="0"/>
            <c:bubble3D val="0"/>
            <c:spPr>
              <a:solidFill>
                <a:srgbClr val="002060"/>
              </a:solidFill>
              <a:ln w="25400">
                <a:noFill/>
              </a:ln>
              <a:effectLst/>
            </c:spPr>
            <c:extLst>
              <c:ext xmlns:c16="http://schemas.microsoft.com/office/drawing/2014/chart" uri="{C3380CC4-5D6E-409C-BE32-E72D297353CC}">
                <c16:uniqueId val="{00000007-A9A3-9948-8D77-A4CACB349CF6}"/>
              </c:ext>
            </c:extLst>
          </c:dPt>
          <c:dLbls>
            <c:dLbl>
              <c:idx val="0"/>
              <c:layout>
                <c:manualLayout>
                  <c:x val="-7.9336497006296629E-3"/>
                  <c:y val="-6.1959939240229661E-3"/>
                </c:manualLayout>
              </c:layout>
              <c:tx>
                <c:rich>
                  <a:bodyPr/>
                  <a:lstStyle/>
                  <a:p>
                    <a:fld id="{874C18ED-762D-4D07-A2B0-BDD6F580C8C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A9A3-9948-8D77-A4CACB349CF6}"/>
                </c:ext>
              </c:extLst>
            </c:dLbl>
            <c:dLbl>
              <c:idx val="1"/>
              <c:layout>
                <c:manualLayout>
                  <c:x val="-0.27371091467172337"/>
                  <c:y val="-0.1301158724044823"/>
                </c:manualLayout>
              </c:layout>
              <c:tx>
                <c:rich>
                  <a:bodyPr/>
                  <a:lstStyle/>
                  <a:p>
                    <a:fld id="{953F6B49-4FED-48AA-A8A1-71CB3A4C812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A9A3-9948-8D77-A4CACB349CF6}"/>
                </c:ext>
              </c:extLst>
            </c:dLbl>
            <c:dLbl>
              <c:idx val="2"/>
              <c:layout>
                <c:manualLayout>
                  <c:x val="1.7980492592188708E-2"/>
                  <c:y val="-1.7236572073679651E-2"/>
                </c:manualLayout>
              </c:layout>
              <c:tx>
                <c:rich>
                  <a:bodyPr/>
                  <a:lstStyle/>
                  <a:p>
                    <a:fld id="{DCBF3003-CC88-4FDD-A271-B87FD84B6EF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A9A3-9948-8D77-A4CACB349CF6}"/>
                </c:ext>
              </c:extLst>
            </c:dLbl>
            <c:dLbl>
              <c:idx val="3"/>
              <c:layout>
                <c:manualLayout>
                  <c:x val="-1.0001240023201239E-2"/>
                  <c:y val="-4.4825820609388769E-3"/>
                </c:manualLayout>
              </c:layout>
              <c:tx>
                <c:rich>
                  <a:bodyPr/>
                  <a:lstStyle/>
                  <a:p>
                    <a:fld id="{2F89B3FD-F8A7-49B9-9690-96B04C2409B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A9A3-9948-8D77-A4CACB349CF6}"/>
                </c:ext>
              </c:extLst>
            </c:dLbl>
            <c:dLbl>
              <c:idx val="4"/>
              <c:layout>
                <c:manualLayout>
                  <c:x val="-2.0060180541624875E-3"/>
                  <c:y val="-8.8987764182424916E-3"/>
                </c:manualLayout>
              </c:layout>
              <c:tx>
                <c:rich>
                  <a:bodyPr/>
                  <a:lstStyle/>
                  <a:p>
                    <a:fld id="{AA840BE8-F62E-47E5-818F-62ABC699CE2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A9A3-9948-8D77-A4CACB349CF6}"/>
                </c:ext>
              </c:extLst>
            </c:dLbl>
            <c:dLbl>
              <c:idx val="5"/>
              <c:tx>
                <c:rich>
                  <a:bodyPr/>
                  <a:lstStyle/>
                  <a:p>
                    <a:fld id="{0FCA023E-2C6A-4C00-907A-0DF0DE8D372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A9A3-9948-8D77-A4CACB349CF6}"/>
                </c:ext>
              </c:extLst>
            </c:dLbl>
            <c:dLbl>
              <c:idx val="6"/>
              <c:layout>
                <c:manualLayout>
                  <c:x val="-4.1651660928305731E-2"/>
                  <c:y val="-0.12082188151844785"/>
                </c:manualLayout>
              </c:layout>
              <c:tx>
                <c:rich>
                  <a:bodyPr/>
                  <a:lstStyle/>
                  <a:p>
                    <a:fld id="{A853F27F-8CBB-4969-8C3B-2673419DCE3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A9A3-9948-8D77-A4CACB349CF6}"/>
                </c:ext>
              </c:extLst>
            </c:dLbl>
            <c:dLbl>
              <c:idx val="7"/>
              <c:tx>
                <c:rich>
                  <a:bodyPr/>
                  <a:lstStyle/>
                  <a:p>
                    <a:fld id="{7F3A4BD4-2A1D-4075-AAB2-0CF7F7CE2D3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A9A3-9948-8D77-A4CACB349CF6}"/>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Use Case Priorisation'!$H$2:$H$9</c:f>
              <c:numCache>
                <c:formatCode>General</c:formatCode>
                <c:ptCount val="8"/>
                <c:pt idx="0">
                  <c:v>5</c:v>
                </c:pt>
                <c:pt idx="1">
                  <c:v>7</c:v>
                </c:pt>
                <c:pt idx="2">
                  <c:v>2</c:v>
                </c:pt>
                <c:pt idx="3">
                  <c:v>5</c:v>
                </c:pt>
                <c:pt idx="4">
                  <c:v>3</c:v>
                </c:pt>
                <c:pt idx="5">
                  <c:v>6</c:v>
                </c:pt>
                <c:pt idx="6">
                  <c:v>3</c:v>
                </c:pt>
                <c:pt idx="7">
                  <c:v>2</c:v>
                </c:pt>
              </c:numCache>
            </c:numRef>
          </c:xVal>
          <c:yVal>
            <c:numRef>
              <c:f>'Use Case Priorisation'!$D$2:$D$9</c:f>
              <c:numCache>
                <c:formatCode>General</c:formatCode>
                <c:ptCount val="8"/>
                <c:pt idx="0">
                  <c:v>4</c:v>
                </c:pt>
                <c:pt idx="1">
                  <c:v>4</c:v>
                </c:pt>
                <c:pt idx="2">
                  <c:v>7</c:v>
                </c:pt>
                <c:pt idx="3">
                  <c:v>3</c:v>
                </c:pt>
                <c:pt idx="4">
                  <c:v>5</c:v>
                </c:pt>
                <c:pt idx="5">
                  <c:v>1</c:v>
                </c:pt>
                <c:pt idx="6">
                  <c:v>1</c:v>
                </c:pt>
                <c:pt idx="7">
                  <c:v>1</c:v>
                </c:pt>
              </c:numCache>
            </c:numRef>
          </c:yVal>
          <c:bubbleSize>
            <c:numRef>
              <c:f>'Use Case Priorisation'!$G$2:$G$9</c:f>
              <c:numCache>
                <c:formatCode>General</c:formatCode>
                <c:ptCount val="8"/>
                <c:pt idx="0">
                  <c:v>20</c:v>
                </c:pt>
                <c:pt idx="1">
                  <c:v>105</c:v>
                </c:pt>
                <c:pt idx="2">
                  <c:v>31</c:v>
                </c:pt>
                <c:pt idx="3">
                  <c:v>56</c:v>
                </c:pt>
                <c:pt idx="4">
                  <c:v>30</c:v>
                </c:pt>
                <c:pt idx="5">
                  <c:v>93</c:v>
                </c:pt>
                <c:pt idx="6">
                  <c:v>81</c:v>
                </c:pt>
                <c:pt idx="7">
                  <c:v>18</c:v>
                </c:pt>
              </c:numCache>
            </c:numRef>
          </c:bubbleSize>
          <c:bubble3D val="0"/>
          <c:extLst>
            <c:ext xmlns:c15="http://schemas.microsoft.com/office/drawing/2012/chart" uri="{02D57815-91ED-43cb-92C2-25804820EDAC}">
              <c15:datalabelsRange>
                <c15:f>'Use Case Priorisation'!$C$2:$C$9</c15:f>
                <c15:dlblRangeCache>
                  <c:ptCount val="8"/>
                  <c:pt idx="0">
                    <c:v>Data-based inventories</c:v>
                  </c:pt>
                  <c:pt idx="1">
                    <c:v>Forecasted supply chain</c:v>
                  </c:pt>
                  <c:pt idx="2">
                    <c:v>Churn Prediction</c:v>
                  </c:pt>
                  <c:pt idx="3">
                    <c:v>Promotion optimization</c:v>
                  </c:pt>
                  <c:pt idx="4">
                    <c:v>Recommendation tool </c:v>
                  </c:pt>
                  <c:pt idx="5">
                    <c:v>Real time pricing</c:v>
                  </c:pt>
                  <c:pt idx="6">
                    <c:v>Digitalization of customer relationship</c:v>
                  </c:pt>
                  <c:pt idx="7">
                    <c:v>Digital management</c:v>
                  </c:pt>
                </c15:dlblRangeCache>
              </c15:datalabelsRange>
            </c:ext>
            <c:ext xmlns:c16="http://schemas.microsoft.com/office/drawing/2014/chart" uri="{C3380CC4-5D6E-409C-BE32-E72D297353CC}">
              <c16:uniqueId val="{00000008-A9A3-9948-8D77-A4CACB349CF6}"/>
            </c:ext>
          </c:extLst>
        </c:ser>
        <c:dLbls>
          <c:showLegendKey val="0"/>
          <c:showVal val="0"/>
          <c:showCatName val="0"/>
          <c:showSerName val="0"/>
          <c:showPercent val="0"/>
          <c:showBubbleSize val="0"/>
        </c:dLbls>
        <c:bubbleScale val="100"/>
        <c:showNegBubbles val="0"/>
        <c:axId val="190493439"/>
        <c:axId val="142286367"/>
      </c:bubbleChart>
      <c:valAx>
        <c:axId val="190493439"/>
        <c:scaling>
          <c:orientation val="maxMin"/>
        </c:scaling>
        <c:delete val="0"/>
        <c:axPos val="b"/>
        <c:title>
          <c:tx>
            <c:rich>
              <a:bodyPr rot="0" spcFirstLastPara="1" vertOverflow="ellipsis" vert="horz" wrap="square" anchor="ctr" anchorCtr="1"/>
              <a:lstStyle/>
              <a:p>
                <a:pPr>
                  <a:defRPr lang="en-US" sz="1000" b="0" i="0" u="none" strike="noStrike" kern="1200" baseline="0" noProof="0">
                    <a:solidFill>
                      <a:schemeClr val="tx1">
                        <a:lumMod val="65000"/>
                        <a:lumOff val="35000"/>
                      </a:schemeClr>
                    </a:solidFill>
                    <a:latin typeface="+mn-lt"/>
                    <a:ea typeface="+mn-ea"/>
                    <a:cs typeface="+mn-cs"/>
                  </a:defRPr>
                </a:pPr>
                <a:r>
                  <a:rPr lang="en-US" noProof="0"/>
                  <a:t>Difficulty of implementation</a:t>
                </a:r>
                <a:r>
                  <a:rPr lang="en-US" baseline="0" noProof="0"/>
                  <a:t> </a:t>
                </a:r>
              </a:p>
              <a:p>
                <a:pPr>
                  <a:defRPr lang="en-US" noProof="0"/>
                </a:pPr>
                <a:r>
                  <a:rPr lang="en-US" sz="900" baseline="0" noProof="0"/>
                  <a:t>based on available data and workforce requirements</a:t>
                </a:r>
                <a:endParaRPr lang="en-US" sz="900" noProof="0"/>
              </a:p>
            </c:rich>
          </c:tx>
          <c:overlay val="0"/>
          <c:spPr>
            <a:noFill/>
            <a:ln>
              <a:noFill/>
            </a:ln>
            <a:effectLst/>
          </c:spPr>
          <c:txPr>
            <a:bodyPr rot="0" spcFirstLastPara="1" vertOverflow="ellipsis" vert="horz" wrap="square" anchor="ctr" anchorCtr="1"/>
            <a:lstStyle/>
            <a:p>
              <a:pPr>
                <a:defRPr lang="en-US" sz="1000" b="0" i="0" u="none" strike="noStrike" kern="1200" baseline="0" noProof="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one"/>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2286367"/>
        <c:crossesAt val="0"/>
        <c:crossBetween val="midCat"/>
      </c:valAx>
      <c:valAx>
        <c:axId val="142286367"/>
        <c:scaling>
          <c:orientation val="minMax"/>
          <c:min val="-0.5"/>
        </c:scaling>
        <c:delete val="0"/>
        <c:axPos val="r"/>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fr-FR" err="1"/>
                  <a:t>Internal</a:t>
                </a:r>
                <a:r>
                  <a:rPr lang="fr-FR"/>
                  <a:t> support of the </a:t>
                </a:r>
                <a:r>
                  <a:rPr lang="fr-FR" err="1"/>
                  <a:t>project</a:t>
                </a:r>
                <a:endParaRPr lang="fr-FR"/>
              </a:p>
            </c:rich>
          </c:tx>
          <c:layout>
            <c:manualLayout>
              <c:xMode val="edge"/>
              <c:yMode val="edge"/>
              <c:x val="7.9336497006296629E-3"/>
              <c:y val="0.18636061709172244"/>
            </c:manualLayout>
          </c:layout>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one"/>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90493439"/>
        <c:crossesAt val="9"/>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fr-FR"/>
              <a:t>Importance of the features in prediction</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bar"/>
        <c:grouping val="clustered"/>
        <c:varyColors val="0"/>
        <c:ser>
          <c:idx val="0"/>
          <c:order val="0"/>
          <c:tx>
            <c:strRef>
              <c:f>Sheet1!$H$1</c:f>
              <c:strCache>
                <c:ptCount val="1"/>
                <c:pt idx="0">
                  <c:v>Importance of the feature</c:v>
                </c:pt>
              </c:strCache>
            </c:strRef>
          </c:tx>
          <c:spPr>
            <a:solidFill>
              <a:srgbClr val="00B050"/>
            </a:solidFill>
            <a:ln>
              <a:solidFill>
                <a:srgbClr val="00B050"/>
              </a:solidFill>
            </a:ln>
            <a:effectLst/>
          </c:spPr>
          <c:invertIfNegative val="0"/>
          <c:cat>
            <c:strRef>
              <c:f>Sheet1!$G$2:$G$16</c:f>
              <c:strCache>
                <c:ptCount val="14"/>
                <c:pt idx="0">
                  <c:v>Proportion of command online</c:v>
                </c:pt>
                <c:pt idx="1">
                  <c:v>Proportion of command other</c:v>
                </c:pt>
                <c:pt idx="2">
                  <c:v>Proportion of command during a visit</c:v>
                </c:pt>
                <c:pt idx="3">
                  <c:v>Evolution of net sales</c:v>
                </c:pt>
                <c:pt idx="4">
                  <c:v>Proportion of commands at the store</c:v>
                </c:pt>
                <c:pt idx="5">
                  <c:v>Proportion of commands by phone</c:v>
                </c:pt>
                <c:pt idx="6">
                  <c:v>Seniority</c:v>
                </c:pt>
                <c:pt idx="7">
                  <c:v>Mean net sales</c:v>
                </c:pt>
                <c:pt idx="8">
                  <c:v>Evolution of payment terms</c:v>
                </c:pt>
                <c:pt idx="9">
                  <c:v>Number of returns in last 3 commands</c:v>
                </c:pt>
                <c:pt idx="10">
                  <c:v>Mean frequency</c:v>
                </c:pt>
                <c:pt idx="11">
                  <c:v>Evolution frequency</c:v>
                </c:pt>
                <c:pt idx="12">
                  <c:v>Date last command</c:v>
                </c:pt>
                <c:pt idx="13">
                  <c:v>Number of commands</c:v>
                </c:pt>
              </c:strCache>
            </c:strRef>
          </c:cat>
          <c:val>
            <c:numRef>
              <c:f>Sheet1!$H$2:$H$16</c:f>
              <c:numCache>
                <c:formatCode>General</c:formatCode>
                <c:ptCount val="15"/>
                <c:pt idx="0">
                  <c:v>0</c:v>
                </c:pt>
                <c:pt idx="1">
                  <c:v>0</c:v>
                </c:pt>
                <c:pt idx="2">
                  <c:v>0.01</c:v>
                </c:pt>
                <c:pt idx="3">
                  <c:v>0.01</c:v>
                </c:pt>
                <c:pt idx="4">
                  <c:v>0.02</c:v>
                </c:pt>
                <c:pt idx="5">
                  <c:v>0.02</c:v>
                </c:pt>
                <c:pt idx="6">
                  <c:v>0.03</c:v>
                </c:pt>
                <c:pt idx="7">
                  <c:v>0.03</c:v>
                </c:pt>
                <c:pt idx="8">
                  <c:v>0.03</c:v>
                </c:pt>
                <c:pt idx="9">
                  <c:v>0.1</c:v>
                </c:pt>
                <c:pt idx="10">
                  <c:v>0.15</c:v>
                </c:pt>
                <c:pt idx="11">
                  <c:v>0.23</c:v>
                </c:pt>
                <c:pt idx="12">
                  <c:v>1.04</c:v>
                </c:pt>
                <c:pt idx="13">
                  <c:v>1.53</c:v>
                </c:pt>
              </c:numCache>
            </c:numRef>
          </c:val>
          <c:extLst>
            <c:ext xmlns:c16="http://schemas.microsoft.com/office/drawing/2014/chart" uri="{C3380CC4-5D6E-409C-BE32-E72D297353CC}">
              <c16:uniqueId val="{00000000-3D8A-4AF0-B8D9-0BECD2B720FE}"/>
            </c:ext>
          </c:extLst>
        </c:ser>
        <c:dLbls>
          <c:showLegendKey val="0"/>
          <c:showVal val="0"/>
          <c:showCatName val="0"/>
          <c:showSerName val="0"/>
          <c:showPercent val="0"/>
          <c:showBubbleSize val="0"/>
        </c:dLbls>
        <c:gapWidth val="182"/>
        <c:axId val="94440575"/>
        <c:axId val="94429759"/>
      </c:barChart>
      <c:catAx>
        <c:axId val="94440575"/>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94429759"/>
        <c:crosses val="autoZero"/>
        <c:auto val="1"/>
        <c:lblAlgn val="ctr"/>
        <c:lblOffset val="100"/>
        <c:noMultiLvlLbl val="0"/>
      </c:catAx>
      <c:valAx>
        <c:axId val="94429759"/>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94440575"/>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E31D763-C02E-7947-B83C-E552F0A47D80}" type="doc">
      <dgm:prSet loTypeId="urn:microsoft.com/office/officeart/2005/8/layout/default" loCatId="" qsTypeId="urn:microsoft.com/office/officeart/2005/8/quickstyle/simple1" qsCatId="simple" csTypeId="urn:microsoft.com/office/officeart/2005/8/colors/accent1_2" csCatId="accent1" phldr="1"/>
      <dgm:spPr/>
      <dgm:t>
        <a:bodyPr/>
        <a:lstStyle/>
        <a:p>
          <a:endParaRPr lang="fr-FR"/>
        </a:p>
      </dgm:t>
    </dgm:pt>
    <dgm:pt modelId="{2772714E-973D-9A4B-A096-BBDBA9F1B306}">
      <dgm:prSet phldrT="[Texte]" custT="1">
        <dgm:style>
          <a:lnRef idx="2">
            <a:schemeClr val="accent1">
              <a:shade val="50000"/>
            </a:schemeClr>
          </a:lnRef>
          <a:fillRef idx="1">
            <a:schemeClr val="accent1"/>
          </a:fillRef>
          <a:effectRef idx="0">
            <a:schemeClr val="accent1"/>
          </a:effectRef>
          <a:fontRef idx="minor">
            <a:schemeClr val="lt1"/>
          </a:fontRef>
        </dgm:style>
      </dgm:prSet>
      <dgm:spPr>
        <a:solidFill>
          <a:srgbClr val="104B26">
            <a:alpha val="90000"/>
          </a:srgbClr>
        </a:solidFill>
        <a:ln/>
      </dgm:spPr>
      <dgm:t>
        <a:bodyPr rot="0" spcFirstLastPara="0" vertOverflow="overflow" horzOverflow="overflow" vert="horz" wrap="square" lIns="68580" tIns="68580" rIns="68580" bIns="68580" numCol="1" spcCol="1270" rtlCol="0" fromWordArt="0" anchor="ctr" anchorCtr="0" forceAA="0" compatLnSpc="1">
          <a:prstTxWarp prst="textNoShape">
            <a:avLst/>
          </a:prstTxWarp>
        </a:bodyPr>
        <a:lstStyle/>
        <a:p>
          <a:pPr marL="0" lvl="0" indent="0" algn="ctr" defTabSz="800100" rtl="0" eaLnBrk="1" latinLnBrk="0" hangingPunct="1">
            <a:lnSpc>
              <a:spcPct val="90000"/>
            </a:lnSpc>
            <a:spcBef>
              <a:spcPct val="0"/>
            </a:spcBef>
            <a:spcAft>
              <a:spcPct val="35000"/>
            </a:spcAft>
            <a:buNone/>
          </a:pPr>
          <a:r>
            <a:rPr lang="fr-FR" sz="1800" kern="1200">
              <a:solidFill>
                <a:prstClr val="white"/>
              </a:solidFill>
              <a:latin typeface="Henderson BCG Sans"/>
              <a:ea typeface="+mn-ea"/>
              <a:cs typeface="+mn-cs"/>
            </a:rPr>
            <a:t>CEO</a:t>
          </a:r>
        </a:p>
      </dgm:t>
    </dgm:pt>
    <dgm:pt modelId="{9FF255BF-57AD-ED4C-A8E2-396B9483FA8D}" type="parTrans" cxnId="{FAE71E13-DFEC-3E4F-858E-AF091CE04121}">
      <dgm:prSet/>
      <dgm:spPr/>
      <dgm:t>
        <a:bodyPr/>
        <a:lstStyle/>
        <a:p>
          <a:endParaRPr lang="fr-FR"/>
        </a:p>
      </dgm:t>
    </dgm:pt>
    <dgm:pt modelId="{E3BCC67D-96B6-E04D-8B71-D000C3E98B39}" type="sibTrans" cxnId="{FAE71E13-DFEC-3E4F-858E-AF091CE04121}">
      <dgm:prSet/>
      <dgm:spPr/>
      <dgm:t>
        <a:bodyPr/>
        <a:lstStyle/>
        <a:p>
          <a:endParaRPr lang="fr-FR"/>
        </a:p>
      </dgm:t>
    </dgm:pt>
    <dgm:pt modelId="{8D3E0E25-85A3-814F-9093-A3ED78E0B395}">
      <dgm:prSet phldrT="[Texte]"/>
      <dgm:spPr>
        <a:solidFill>
          <a:srgbClr val="00F26D">
            <a:alpha val="90000"/>
          </a:srgbClr>
        </a:solidFill>
      </dgm:spPr>
      <dgm:t>
        <a:bodyPr/>
        <a:lstStyle/>
        <a:p>
          <a:r>
            <a:rPr lang="fr-FR" err="1"/>
            <a:t>Strategy</a:t>
          </a:r>
          <a:endParaRPr lang="fr-FR" i="1"/>
        </a:p>
      </dgm:t>
    </dgm:pt>
    <dgm:pt modelId="{D0E1ED33-D0F6-D246-96E5-54208DB01216}" type="parTrans" cxnId="{5FD08A35-9DAE-1E4A-B660-9FEE8E32D023}">
      <dgm:prSet/>
      <dgm:spPr/>
      <dgm:t>
        <a:bodyPr/>
        <a:lstStyle/>
        <a:p>
          <a:endParaRPr lang="fr-FR"/>
        </a:p>
      </dgm:t>
    </dgm:pt>
    <dgm:pt modelId="{57C98708-2E26-0443-AD4B-247781B28006}" type="sibTrans" cxnId="{5FD08A35-9DAE-1E4A-B660-9FEE8E32D023}">
      <dgm:prSet/>
      <dgm:spPr/>
      <dgm:t>
        <a:bodyPr/>
        <a:lstStyle/>
        <a:p>
          <a:endParaRPr lang="fr-FR"/>
        </a:p>
      </dgm:t>
    </dgm:pt>
    <dgm:pt modelId="{9D62DF0A-067A-CC46-B18D-DC63C4937B06}">
      <dgm:prSet phldrT="[Texte]"/>
      <dgm:spPr>
        <a:solidFill>
          <a:srgbClr val="20BE60">
            <a:alpha val="90000"/>
          </a:srgbClr>
        </a:solidFill>
      </dgm:spPr>
      <dgm:t>
        <a:bodyPr/>
        <a:lstStyle/>
        <a:p>
          <a:r>
            <a:rPr lang="fr-FR"/>
            <a:t>Sales</a:t>
          </a:r>
          <a:endParaRPr lang="fr-FR" i="1"/>
        </a:p>
      </dgm:t>
    </dgm:pt>
    <dgm:pt modelId="{DE956947-D4F9-5D4A-9C35-F54393245626}" type="parTrans" cxnId="{E77E01AC-8DBC-954A-9499-35DEA9DD6E53}">
      <dgm:prSet/>
      <dgm:spPr/>
      <dgm:t>
        <a:bodyPr/>
        <a:lstStyle/>
        <a:p>
          <a:endParaRPr lang="fr-FR"/>
        </a:p>
      </dgm:t>
    </dgm:pt>
    <dgm:pt modelId="{7BA38F8B-18A9-8448-AF44-06F64B505E21}" type="sibTrans" cxnId="{E77E01AC-8DBC-954A-9499-35DEA9DD6E53}">
      <dgm:prSet/>
      <dgm:spPr/>
      <dgm:t>
        <a:bodyPr/>
        <a:lstStyle/>
        <a:p>
          <a:endParaRPr lang="fr-FR"/>
        </a:p>
      </dgm:t>
    </dgm:pt>
    <dgm:pt modelId="{368F6BF0-DFAC-5E40-884D-FCF0BA47A442}">
      <dgm:prSet phldrT="[Texte]"/>
      <dgm:spPr>
        <a:solidFill>
          <a:srgbClr val="00F26D">
            <a:alpha val="90000"/>
          </a:srgbClr>
        </a:solidFill>
      </dgm:spPr>
      <dgm:t>
        <a:bodyPr/>
        <a:lstStyle/>
        <a:p>
          <a:r>
            <a:rPr lang="fr-FR" i="0"/>
            <a:t>Marketing</a:t>
          </a:r>
        </a:p>
      </dgm:t>
    </dgm:pt>
    <dgm:pt modelId="{7A723EF3-F605-1947-9610-2A1D71C7B346}" type="parTrans" cxnId="{585BC230-734C-254F-8194-5B35E0962E8E}">
      <dgm:prSet/>
      <dgm:spPr/>
      <dgm:t>
        <a:bodyPr/>
        <a:lstStyle/>
        <a:p>
          <a:endParaRPr lang="fr-FR"/>
        </a:p>
      </dgm:t>
    </dgm:pt>
    <dgm:pt modelId="{187E3784-FAB1-A442-BC23-91CC709C7DC3}" type="sibTrans" cxnId="{585BC230-734C-254F-8194-5B35E0962E8E}">
      <dgm:prSet/>
      <dgm:spPr/>
      <dgm:t>
        <a:bodyPr/>
        <a:lstStyle/>
        <a:p>
          <a:endParaRPr lang="fr-FR"/>
        </a:p>
      </dgm:t>
    </dgm:pt>
    <dgm:pt modelId="{DCD92BC1-B375-A445-8B41-487464F6F0CF}">
      <dgm:prSet phldrT="[Texte]" custT="1">
        <dgm:style>
          <a:lnRef idx="2">
            <a:schemeClr val="accent1">
              <a:shade val="50000"/>
            </a:schemeClr>
          </a:lnRef>
          <a:fillRef idx="1">
            <a:schemeClr val="accent1"/>
          </a:fillRef>
          <a:effectRef idx="0">
            <a:schemeClr val="accent1"/>
          </a:effectRef>
          <a:fontRef idx="minor">
            <a:schemeClr val="lt1"/>
          </a:fontRef>
        </dgm:style>
      </dgm:prSet>
      <dgm:spPr>
        <a:solidFill>
          <a:srgbClr val="104B26"/>
        </a:solidFill>
        <a:ln/>
      </dgm:spPr>
      <dgm:t>
        <a:bodyPr rot="0" spcFirstLastPara="0" vertOverflow="overflow" horzOverflow="overflow" vert="horz" wrap="square" lIns="68580" tIns="68580" rIns="68580" bIns="68580" numCol="1" spcCol="1270" rtlCol="0" fromWordArt="0" anchor="ctr" anchorCtr="0" forceAA="0" compatLnSpc="1">
          <a:prstTxWarp prst="textNoShape">
            <a:avLst/>
          </a:prstTxWarp>
        </a:bodyPr>
        <a:lstStyle/>
        <a:p>
          <a:r>
            <a:rPr lang="fr-FR" sz="1800" kern="1200" err="1">
              <a:solidFill>
                <a:prstClr val="white"/>
              </a:solidFill>
              <a:latin typeface="Henderson BCG Sans"/>
              <a:ea typeface="+mn-ea"/>
              <a:cs typeface="+mn-cs"/>
            </a:rPr>
            <a:t>Supply</a:t>
          </a:r>
          <a:r>
            <a:rPr lang="fr-FR" sz="1700" kern="1200"/>
            <a:t> Chain</a:t>
          </a:r>
          <a:endParaRPr lang="fr-FR" sz="1700" i="1" kern="1200"/>
        </a:p>
      </dgm:t>
    </dgm:pt>
    <dgm:pt modelId="{D1DC02D9-FC8B-CA4B-AB88-7F7548505B96}" type="parTrans" cxnId="{FA7D8AC9-958C-2249-9278-9F687C4EFCB1}">
      <dgm:prSet/>
      <dgm:spPr/>
      <dgm:t>
        <a:bodyPr/>
        <a:lstStyle/>
        <a:p>
          <a:endParaRPr lang="fr-FR"/>
        </a:p>
      </dgm:t>
    </dgm:pt>
    <dgm:pt modelId="{1109CB82-D968-5849-8F7B-17D203A9126D}" type="sibTrans" cxnId="{FA7D8AC9-958C-2249-9278-9F687C4EFCB1}">
      <dgm:prSet/>
      <dgm:spPr/>
      <dgm:t>
        <a:bodyPr/>
        <a:lstStyle/>
        <a:p>
          <a:endParaRPr lang="fr-FR"/>
        </a:p>
      </dgm:t>
    </dgm:pt>
    <dgm:pt modelId="{9DBF6000-A91B-124F-954C-A8DA8F4613F4}" type="asst">
      <dgm:prSet phldrT="[Texte]" custT="1">
        <dgm:style>
          <a:lnRef idx="2">
            <a:schemeClr val="accent1">
              <a:shade val="50000"/>
            </a:schemeClr>
          </a:lnRef>
          <a:fillRef idx="1">
            <a:schemeClr val="accent1"/>
          </a:fillRef>
          <a:effectRef idx="0">
            <a:schemeClr val="accent1"/>
          </a:effectRef>
          <a:fontRef idx="minor">
            <a:schemeClr val="lt1"/>
          </a:fontRef>
        </dgm:style>
      </dgm:prSet>
      <dgm:spPr>
        <a:solidFill>
          <a:srgbClr val="20BE60">
            <a:alpha val="90000"/>
          </a:srgbClr>
        </a:solidFill>
        <a:ln w="10795" cap="flat" cmpd="sng" algn="ctr">
          <a:solidFill>
            <a:prstClr val="white">
              <a:hueOff val="0"/>
              <a:satOff val="0"/>
              <a:lumOff val="0"/>
              <a:alphaOff val="0"/>
            </a:prstClr>
          </a:solidFill>
          <a:prstDash val="solid"/>
        </a:ln>
        <a:effectLst/>
      </dgm:spPr>
      <dgm:t>
        <a:bodyPr rot="0" spcFirstLastPara="0" vertOverflow="overflow" horzOverflow="overflow" vert="horz" wrap="square" lIns="68580" tIns="68580" rIns="68580" bIns="68580" numCol="1" spcCol="1270" rtlCol="0" fromWordArt="0" anchor="ctr" anchorCtr="0" forceAA="0" compatLnSpc="1">
          <a:prstTxWarp prst="textNoShape">
            <a:avLst/>
          </a:prstTxWarp>
        </a:bodyPr>
        <a:lstStyle/>
        <a:p>
          <a:pPr marL="0" lvl="0" indent="0" algn="ctr" defTabSz="800100">
            <a:lnSpc>
              <a:spcPct val="90000"/>
            </a:lnSpc>
            <a:spcBef>
              <a:spcPct val="0"/>
            </a:spcBef>
            <a:spcAft>
              <a:spcPct val="35000"/>
            </a:spcAft>
            <a:buNone/>
          </a:pPr>
          <a:r>
            <a:rPr lang="fr-FR" sz="1800" kern="1200">
              <a:solidFill>
                <a:prstClr val="white"/>
              </a:solidFill>
              <a:latin typeface="Henderson BCG Sans"/>
              <a:ea typeface="+mn-ea"/>
              <a:cs typeface="+mn-cs"/>
            </a:rPr>
            <a:t>Data Team</a:t>
          </a:r>
        </a:p>
      </dgm:t>
    </dgm:pt>
    <dgm:pt modelId="{0974E83F-165E-1F41-91A3-FDF2054E1CB8}" type="sibTrans" cxnId="{44F6C1D7-4279-1C4F-B68F-7D83712DCA5D}">
      <dgm:prSet/>
      <dgm:spPr/>
      <dgm:t>
        <a:bodyPr/>
        <a:lstStyle/>
        <a:p>
          <a:endParaRPr lang="fr-FR"/>
        </a:p>
      </dgm:t>
    </dgm:pt>
    <dgm:pt modelId="{C740A2E3-2CCD-ED45-861E-9CB537D83FBE}" type="parTrans" cxnId="{44F6C1D7-4279-1C4F-B68F-7D83712DCA5D}">
      <dgm:prSet/>
      <dgm:spPr/>
      <dgm:t>
        <a:bodyPr/>
        <a:lstStyle/>
        <a:p>
          <a:endParaRPr lang="fr-FR"/>
        </a:p>
      </dgm:t>
    </dgm:pt>
    <dgm:pt modelId="{70E8D375-E6C4-354A-934A-327618D2AF80}" type="pres">
      <dgm:prSet presAssocID="{4E31D763-C02E-7947-B83C-E552F0A47D80}" presName="diagram" presStyleCnt="0">
        <dgm:presLayoutVars>
          <dgm:dir/>
          <dgm:resizeHandles val="exact"/>
        </dgm:presLayoutVars>
      </dgm:prSet>
      <dgm:spPr/>
    </dgm:pt>
    <dgm:pt modelId="{ED699D5E-8B64-6342-8AD8-31BC7386E6E5}" type="pres">
      <dgm:prSet presAssocID="{2772714E-973D-9A4B-A096-BBDBA9F1B306}" presName="node" presStyleLbl="node1" presStyleIdx="0" presStyleCnt="5">
        <dgm:presLayoutVars>
          <dgm:bulletEnabled val="1"/>
        </dgm:presLayoutVars>
      </dgm:prSet>
      <dgm:spPr>
        <a:xfrm>
          <a:off x="285" y="43186"/>
          <a:ext cx="1112489" cy="667493"/>
        </a:xfrm>
        <a:prstGeom prst="rect">
          <a:avLst/>
        </a:prstGeom>
      </dgm:spPr>
    </dgm:pt>
    <dgm:pt modelId="{FEEF3073-8659-B841-9205-308060A8A342}" type="pres">
      <dgm:prSet presAssocID="{E3BCC67D-96B6-E04D-8B71-D000C3E98B39}" presName="sibTrans" presStyleCnt="0"/>
      <dgm:spPr/>
    </dgm:pt>
    <dgm:pt modelId="{B4A9A31F-45F5-764B-94F7-E2C9F989AEF2}" type="pres">
      <dgm:prSet presAssocID="{9DBF6000-A91B-124F-954C-A8DA8F4613F4}" presName="node" presStyleLbl="asst0" presStyleIdx="0" presStyleCnt="1">
        <dgm:presLayoutVars>
          <dgm:bulletEnabled val="1"/>
        </dgm:presLayoutVars>
      </dgm:prSet>
      <dgm:spPr>
        <a:xfrm>
          <a:off x="1224023" y="43186"/>
          <a:ext cx="1112489" cy="667493"/>
        </a:xfrm>
        <a:prstGeom prst="rect">
          <a:avLst/>
        </a:prstGeom>
      </dgm:spPr>
    </dgm:pt>
    <dgm:pt modelId="{8A5BD796-BD59-F342-B21B-51CC4B782782}" type="pres">
      <dgm:prSet presAssocID="{0974E83F-165E-1F41-91A3-FDF2054E1CB8}" presName="sibTrans" presStyleCnt="0"/>
      <dgm:spPr/>
    </dgm:pt>
    <dgm:pt modelId="{D8763E68-EC8F-164B-8435-C8461261AC07}" type="pres">
      <dgm:prSet presAssocID="{8D3E0E25-85A3-814F-9093-A3ED78E0B395}" presName="node" presStyleLbl="node1" presStyleIdx="1" presStyleCnt="5">
        <dgm:presLayoutVars>
          <dgm:bulletEnabled val="1"/>
        </dgm:presLayoutVars>
      </dgm:prSet>
      <dgm:spPr/>
    </dgm:pt>
    <dgm:pt modelId="{92B24918-C805-7044-A683-E291F80DC0F3}" type="pres">
      <dgm:prSet presAssocID="{57C98708-2E26-0443-AD4B-247781B28006}" presName="sibTrans" presStyleCnt="0"/>
      <dgm:spPr/>
    </dgm:pt>
    <dgm:pt modelId="{39C753AA-5DE6-8745-A878-44815AD5AAC1}" type="pres">
      <dgm:prSet presAssocID="{DCD92BC1-B375-A445-8B41-487464F6F0CF}" presName="node" presStyleLbl="node1" presStyleIdx="2" presStyleCnt="5">
        <dgm:presLayoutVars>
          <dgm:bulletEnabled val="1"/>
        </dgm:presLayoutVars>
      </dgm:prSet>
      <dgm:spPr>
        <a:xfrm>
          <a:off x="412699" y="722615"/>
          <a:ext cx="1031749" cy="619049"/>
        </a:xfrm>
        <a:prstGeom prst="rect">
          <a:avLst/>
        </a:prstGeom>
      </dgm:spPr>
    </dgm:pt>
    <dgm:pt modelId="{DB095DDA-1C32-1443-900F-F479642257A6}" type="pres">
      <dgm:prSet presAssocID="{1109CB82-D968-5849-8F7B-17D203A9126D}" presName="sibTrans" presStyleCnt="0"/>
      <dgm:spPr/>
    </dgm:pt>
    <dgm:pt modelId="{62AF65E2-402A-1E45-B315-9AD04A423A40}" type="pres">
      <dgm:prSet presAssocID="{9D62DF0A-067A-CC46-B18D-DC63C4937B06}" presName="node" presStyleLbl="node1" presStyleIdx="3" presStyleCnt="5">
        <dgm:presLayoutVars>
          <dgm:bulletEnabled val="1"/>
        </dgm:presLayoutVars>
      </dgm:prSet>
      <dgm:spPr/>
    </dgm:pt>
    <dgm:pt modelId="{3BCD5483-BBE3-0B44-8F85-C674354EA814}" type="pres">
      <dgm:prSet presAssocID="{7BA38F8B-18A9-8448-AF44-06F64B505E21}" presName="sibTrans" presStyleCnt="0"/>
      <dgm:spPr/>
    </dgm:pt>
    <dgm:pt modelId="{92F48367-E6EA-7145-AE55-6FCF737268C9}" type="pres">
      <dgm:prSet presAssocID="{368F6BF0-DFAC-5E40-884D-FCF0BA47A442}" presName="node" presStyleLbl="node1" presStyleIdx="4" presStyleCnt="5">
        <dgm:presLayoutVars>
          <dgm:bulletEnabled val="1"/>
        </dgm:presLayoutVars>
      </dgm:prSet>
      <dgm:spPr/>
    </dgm:pt>
  </dgm:ptLst>
  <dgm:cxnLst>
    <dgm:cxn modelId="{FAE71E13-DFEC-3E4F-858E-AF091CE04121}" srcId="{4E31D763-C02E-7947-B83C-E552F0A47D80}" destId="{2772714E-973D-9A4B-A096-BBDBA9F1B306}" srcOrd="0" destOrd="0" parTransId="{9FF255BF-57AD-ED4C-A8E2-396B9483FA8D}" sibTransId="{E3BCC67D-96B6-E04D-8B71-D000C3E98B39}"/>
    <dgm:cxn modelId="{585BC230-734C-254F-8194-5B35E0962E8E}" srcId="{4E31D763-C02E-7947-B83C-E552F0A47D80}" destId="{368F6BF0-DFAC-5E40-884D-FCF0BA47A442}" srcOrd="5" destOrd="0" parTransId="{7A723EF3-F605-1947-9610-2A1D71C7B346}" sibTransId="{187E3784-FAB1-A442-BC23-91CC709C7DC3}"/>
    <dgm:cxn modelId="{5FD08A35-9DAE-1E4A-B660-9FEE8E32D023}" srcId="{4E31D763-C02E-7947-B83C-E552F0A47D80}" destId="{8D3E0E25-85A3-814F-9093-A3ED78E0B395}" srcOrd="2" destOrd="0" parTransId="{D0E1ED33-D0F6-D246-96E5-54208DB01216}" sibTransId="{57C98708-2E26-0443-AD4B-247781B28006}"/>
    <dgm:cxn modelId="{D70E8C5B-0A9F-4EB5-A376-B77B099D3342}" type="presOf" srcId="{4E31D763-C02E-7947-B83C-E552F0A47D80}" destId="{70E8D375-E6C4-354A-934A-327618D2AF80}" srcOrd="0" destOrd="0" presId="urn:microsoft.com/office/officeart/2005/8/layout/default"/>
    <dgm:cxn modelId="{4F629D6B-429D-4C89-B739-25F9E45C44C2}" type="presOf" srcId="{9D62DF0A-067A-CC46-B18D-DC63C4937B06}" destId="{62AF65E2-402A-1E45-B315-9AD04A423A40}" srcOrd="0" destOrd="0" presId="urn:microsoft.com/office/officeart/2005/8/layout/default"/>
    <dgm:cxn modelId="{E2198E50-1133-4FC1-98FB-62A427068F68}" type="presOf" srcId="{DCD92BC1-B375-A445-8B41-487464F6F0CF}" destId="{39C753AA-5DE6-8745-A878-44815AD5AAC1}" srcOrd="0" destOrd="0" presId="urn:microsoft.com/office/officeart/2005/8/layout/default"/>
    <dgm:cxn modelId="{9F812155-3D32-43D1-AE53-9224CE7A631F}" type="presOf" srcId="{8D3E0E25-85A3-814F-9093-A3ED78E0B395}" destId="{D8763E68-EC8F-164B-8435-C8461261AC07}" srcOrd="0" destOrd="0" presId="urn:microsoft.com/office/officeart/2005/8/layout/default"/>
    <dgm:cxn modelId="{1B32A088-0ECF-4D99-82BA-475D2C572ECD}" type="presOf" srcId="{368F6BF0-DFAC-5E40-884D-FCF0BA47A442}" destId="{92F48367-E6EA-7145-AE55-6FCF737268C9}" srcOrd="0" destOrd="0" presId="urn:microsoft.com/office/officeart/2005/8/layout/default"/>
    <dgm:cxn modelId="{38A26BA1-96BB-4B55-8C37-612E272DE9A3}" type="presOf" srcId="{2772714E-973D-9A4B-A096-BBDBA9F1B306}" destId="{ED699D5E-8B64-6342-8AD8-31BC7386E6E5}" srcOrd="0" destOrd="0" presId="urn:microsoft.com/office/officeart/2005/8/layout/default"/>
    <dgm:cxn modelId="{FDC774A2-ACFF-4B99-93C6-4DFE1A1EB285}" type="presOf" srcId="{9DBF6000-A91B-124F-954C-A8DA8F4613F4}" destId="{B4A9A31F-45F5-764B-94F7-E2C9F989AEF2}" srcOrd="0" destOrd="0" presId="urn:microsoft.com/office/officeart/2005/8/layout/default"/>
    <dgm:cxn modelId="{E77E01AC-8DBC-954A-9499-35DEA9DD6E53}" srcId="{4E31D763-C02E-7947-B83C-E552F0A47D80}" destId="{9D62DF0A-067A-CC46-B18D-DC63C4937B06}" srcOrd="4" destOrd="0" parTransId="{DE956947-D4F9-5D4A-9C35-F54393245626}" sibTransId="{7BA38F8B-18A9-8448-AF44-06F64B505E21}"/>
    <dgm:cxn modelId="{FA7D8AC9-958C-2249-9278-9F687C4EFCB1}" srcId="{4E31D763-C02E-7947-B83C-E552F0A47D80}" destId="{DCD92BC1-B375-A445-8B41-487464F6F0CF}" srcOrd="3" destOrd="0" parTransId="{D1DC02D9-FC8B-CA4B-AB88-7F7548505B96}" sibTransId="{1109CB82-D968-5849-8F7B-17D203A9126D}"/>
    <dgm:cxn modelId="{44F6C1D7-4279-1C4F-B68F-7D83712DCA5D}" srcId="{4E31D763-C02E-7947-B83C-E552F0A47D80}" destId="{9DBF6000-A91B-124F-954C-A8DA8F4613F4}" srcOrd="1" destOrd="0" parTransId="{C740A2E3-2CCD-ED45-861E-9CB537D83FBE}" sibTransId="{0974E83F-165E-1F41-91A3-FDF2054E1CB8}"/>
    <dgm:cxn modelId="{C70E3B20-590C-4FD9-AA55-7127059B4D3D}" type="presParOf" srcId="{70E8D375-E6C4-354A-934A-327618D2AF80}" destId="{ED699D5E-8B64-6342-8AD8-31BC7386E6E5}" srcOrd="0" destOrd="0" presId="urn:microsoft.com/office/officeart/2005/8/layout/default"/>
    <dgm:cxn modelId="{77960E73-84CD-4990-A42A-7AEB8D955BF7}" type="presParOf" srcId="{70E8D375-E6C4-354A-934A-327618D2AF80}" destId="{FEEF3073-8659-B841-9205-308060A8A342}" srcOrd="1" destOrd="0" presId="urn:microsoft.com/office/officeart/2005/8/layout/default"/>
    <dgm:cxn modelId="{F675D15C-51EF-4906-80F7-C763CD94E9F6}" type="presParOf" srcId="{70E8D375-E6C4-354A-934A-327618D2AF80}" destId="{B4A9A31F-45F5-764B-94F7-E2C9F989AEF2}" srcOrd="2" destOrd="0" presId="urn:microsoft.com/office/officeart/2005/8/layout/default"/>
    <dgm:cxn modelId="{E4F74518-650F-4AE6-B65B-691CD80C37BB}" type="presParOf" srcId="{70E8D375-E6C4-354A-934A-327618D2AF80}" destId="{8A5BD796-BD59-F342-B21B-51CC4B782782}" srcOrd="3" destOrd="0" presId="urn:microsoft.com/office/officeart/2005/8/layout/default"/>
    <dgm:cxn modelId="{151408EB-B28E-452B-913E-562F0A7CDDE4}" type="presParOf" srcId="{70E8D375-E6C4-354A-934A-327618D2AF80}" destId="{D8763E68-EC8F-164B-8435-C8461261AC07}" srcOrd="4" destOrd="0" presId="urn:microsoft.com/office/officeart/2005/8/layout/default"/>
    <dgm:cxn modelId="{84933E52-95AC-4D5E-8468-AD79287D5CCF}" type="presParOf" srcId="{70E8D375-E6C4-354A-934A-327618D2AF80}" destId="{92B24918-C805-7044-A683-E291F80DC0F3}" srcOrd="5" destOrd="0" presId="urn:microsoft.com/office/officeart/2005/8/layout/default"/>
    <dgm:cxn modelId="{87E01512-9E8B-4B71-8FDC-47E64CDAFDF4}" type="presParOf" srcId="{70E8D375-E6C4-354A-934A-327618D2AF80}" destId="{39C753AA-5DE6-8745-A878-44815AD5AAC1}" srcOrd="6" destOrd="0" presId="urn:microsoft.com/office/officeart/2005/8/layout/default"/>
    <dgm:cxn modelId="{EEED4590-C09B-444B-8BB5-65370F52FD7C}" type="presParOf" srcId="{70E8D375-E6C4-354A-934A-327618D2AF80}" destId="{DB095DDA-1C32-1443-900F-F479642257A6}" srcOrd="7" destOrd="0" presId="urn:microsoft.com/office/officeart/2005/8/layout/default"/>
    <dgm:cxn modelId="{ED7EB48C-C098-48D7-AF87-BDFC12B0B9C7}" type="presParOf" srcId="{70E8D375-E6C4-354A-934A-327618D2AF80}" destId="{62AF65E2-402A-1E45-B315-9AD04A423A40}" srcOrd="8" destOrd="0" presId="urn:microsoft.com/office/officeart/2005/8/layout/default"/>
    <dgm:cxn modelId="{3B506B83-1B02-4709-9AE5-C7E018956662}" type="presParOf" srcId="{70E8D375-E6C4-354A-934A-327618D2AF80}" destId="{3BCD5483-BBE3-0B44-8F85-C674354EA814}" srcOrd="9" destOrd="0" presId="urn:microsoft.com/office/officeart/2005/8/layout/default"/>
    <dgm:cxn modelId="{13D1B2F5-EAB1-4830-8D86-06567558C005}" type="presParOf" srcId="{70E8D375-E6C4-354A-934A-327618D2AF80}" destId="{92F48367-E6EA-7145-AE55-6FCF737268C9}" srcOrd="10" destOrd="0" presId="urn:microsoft.com/office/officeart/2005/8/layout/default"/>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E31D763-C02E-7947-B83C-E552F0A47D80}" type="doc">
      <dgm:prSet loTypeId="urn:microsoft.com/office/officeart/2008/layout/HalfCircleOrganizationChart" loCatId="" qsTypeId="urn:microsoft.com/office/officeart/2005/8/quickstyle/simple1" qsCatId="simple" csTypeId="urn:microsoft.com/office/officeart/2005/8/colors/accent1_2" csCatId="accent1" phldr="1"/>
      <dgm:spPr/>
      <dgm:t>
        <a:bodyPr/>
        <a:lstStyle/>
        <a:p>
          <a:endParaRPr lang="fr-FR"/>
        </a:p>
      </dgm:t>
    </dgm:pt>
    <dgm:pt modelId="{2772714E-973D-9A4B-A096-BBDBA9F1B306}">
      <dgm:prSet phldrT="[Texte]"/>
      <dgm:spPr/>
      <dgm:t>
        <a:bodyPr/>
        <a:lstStyle/>
        <a:p>
          <a:r>
            <a:rPr lang="fr-FR"/>
            <a:t>CEO</a:t>
          </a:r>
        </a:p>
      </dgm:t>
    </dgm:pt>
    <dgm:pt modelId="{9FF255BF-57AD-ED4C-A8E2-396B9483FA8D}" type="parTrans" cxnId="{FAE71E13-DFEC-3E4F-858E-AF091CE04121}">
      <dgm:prSet/>
      <dgm:spPr/>
      <dgm:t>
        <a:bodyPr/>
        <a:lstStyle/>
        <a:p>
          <a:endParaRPr lang="fr-FR"/>
        </a:p>
      </dgm:t>
    </dgm:pt>
    <dgm:pt modelId="{E3BCC67D-96B6-E04D-8B71-D000C3E98B39}" type="sibTrans" cxnId="{FAE71E13-DFEC-3E4F-858E-AF091CE04121}">
      <dgm:prSet/>
      <dgm:spPr/>
      <dgm:t>
        <a:bodyPr/>
        <a:lstStyle/>
        <a:p>
          <a:endParaRPr lang="fr-FR"/>
        </a:p>
      </dgm:t>
    </dgm:pt>
    <dgm:pt modelId="{9DBF6000-A91B-124F-954C-A8DA8F4613F4}" type="asst">
      <dgm:prSet phldrT="[Texte]"/>
      <dgm:spPr/>
      <dgm:t>
        <a:bodyPr/>
        <a:lstStyle/>
        <a:p>
          <a:r>
            <a:rPr lang="fr-FR"/>
            <a:t>CDO – </a:t>
          </a:r>
          <a:r>
            <a:rPr lang="fr-FR" i="1"/>
            <a:t>Charlotte </a:t>
          </a:r>
          <a:r>
            <a:rPr lang="fr-FR" i="1" err="1"/>
            <a:t>Davelle</a:t>
          </a:r>
          <a:endParaRPr lang="fr-FR" i="1"/>
        </a:p>
      </dgm:t>
    </dgm:pt>
    <dgm:pt modelId="{C740A2E3-2CCD-ED45-861E-9CB537D83FBE}" type="parTrans" cxnId="{44F6C1D7-4279-1C4F-B68F-7D83712DCA5D}">
      <dgm:prSet/>
      <dgm:spPr/>
      <dgm:t>
        <a:bodyPr/>
        <a:lstStyle/>
        <a:p>
          <a:endParaRPr lang="fr-FR"/>
        </a:p>
      </dgm:t>
    </dgm:pt>
    <dgm:pt modelId="{0974E83F-165E-1F41-91A3-FDF2054E1CB8}" type="sibTrans" cxnId="{44F6C1D7-4279-1C4F-B68F-7D83712DCA5D}">
      <dgm:prSet/>
      <dgm:spPr/>
      <dgm:t>
        <a:bodyPr/>
        <a:lstStyle/>
        <a:p>
          <a:endParaRPr lang="fr-FR"/>
        </a:p>
      </dgm:t>
    </dgm:pt>
    <dgm:pt modelId="{8D3E0E25-85A3-814F-9093-A3ED78E0B395}">
      <dgm:prSet phldrT="[Texte]"/>
      <dgm:spPr/>
      <dgm:t>
        <a:bodyPr/>
        <a:lstStyle/>
        <a:p>
          <a:r>
            <a:rPr lang="fr-FR"/>
            <a:t>Head of </a:t>
          </a:r>
          <a:r>
            <a:rPr lang="fr-FR" err="1"/>
            <a:t>Strategy</a:t>
          </a:r>
          <a:r>
            <a:rPr lang="fr-FR"/>
            <a:t> – </a:t>
          </a:r>
          <a:r>
            <a:rPr lang="fr-FR" i="1"/>
            <a:t>Laurent Stacks</a:t>
          </a:r>
        </a:p>
      </dgm:t>
    </dgm:pt>
    <dgm:pt modelId="{D0E1ED33-D0F6-D246-96E5-54208DB01216}" type="parTrans" cxnId="{5FD08A35-9DAE-1E4A-B660-9FEE8E32D023}">
      <dgm:prSet/>
      <dgm:spPr/>
      <dgm:t>
        <a:bodyPr/>
        <a:lstStyle/>
        <a:p>
          <a:endParaRPr lang="fr-FR"/>
        </a:p>
      </dgm:t>
    </dgm:pt>
    <dgm:pt modelId="{57C98708-2E26-0443-AD4B-247781B28006}" type="sibTrans" cxnId="{5FD08A35-9DAE-1E4A-B660-9FEE8E32D023}">
      <dgm:prSet/>
      <dgm:spPr/>
      <dgm:t>
        <a:bodyPr/>
        <a:lstStyle/>
        <a:p>
          <a:endParaRPr lang="fr-FR"/>
        </a:p>
      </dgm:t>
    </dgm:pt>
    <dgm:pt modelId="{1900BAC5-5BD9-BA49-B272-BFBD039A2A27}">
      <dgm:prSet phldrT="[Texte]"/>
      <dgm:spPr/>
      <dgm:t>
        <a:bodyPr/>
        <a:lstStyle/>
        <a:p>
          <a:r>
            <a:rPr lang="fr-FR"/>
            <a:t>Head of Sales – </a:t>
          </a:r>
          <a:r>
            <a:rPr lang="fr-FR" i="1"/>
            <a:t>Daniel Alfredo</a:t>
          </a:r>
        </a:p>
      </dgm:t>
    </dgm:pt>
    <dgm:pt modelId="{EF21A560-2835-B14D-8CA7-95E39F970A90}" type="parTrans" cxnId="{56EA8C7A-AE2A-8A4C-90B3-8378E23B0FAE}">
      <dgm:prSet/>
      <dgm:spPr/>
      <dgm:t>
        <a:bodyPr/>
        <a:lstStyle/>
        <a:p>
          <a:endParaRPr lang="fr-FR"/>
        </a:p>
      </dgm:t>
    </dgm:pt>
    <dgm:pt modelId="{B2182DD1-0F33-EB43-8DAF-15A8925FBA06}" type="sibTrans" cxnId="{56EA8C7A-AE2A-8A4C-90B3-8378E23B0FAE}">
      <dgm:prSet/>
      <dgm:spPr/>
      <dgm:t>
        <a:bodyPr/>
        <a:lstStyle/>
        <a:p>
          <a:endParaRPr lang="fr-FR"/>
        </a:p>
      </dgm:t>
    </dgm:pt>
    <dgm:pt modelId="{490F4CC9-CDE0-A449-B9B9-F80B2812A5A0}">
      <dgm:prSet phldrT="[Texte]"/>
      <dgm:spPr/>
      <dgm:t>
        <a:bodyPr/>
        <a:lstStyle/>
        <a:p>
          <a:r>
            <a:rPr lang="fr-FR"/>
            <a:t>Key </a:t>
          </a:r>
          <a:r>
            <a:rPr lang="fr-FR" err="1"/>
            <a:t>Account</a:t>
          </a:r>
          <a:r>
            <a:rPr lang="fr-FR"/>
            <a:t> Manager </a:t>
          </a:r>
          <a:r>
            <a:rPr lang="fr-FR" i="1"/>
            <a:t>- Laura Hervé</a:t>
          </a:r>
        </a:p>
      </dgm:t>
    </dgm:pt>
    <dgm:pt modelId="{7C56106A-AC66-D24B-BD08-D52523F708CE}" type="parTrans" cxnId="{999A434A-F4C3-BD4F-AE56-4B8F404EB6E1}">
      <dgm:prSet/>
      <dgm:spPr/>
      <dgm:t>
        <a:bodyPr/>
        <a:lstStyle/>
        <a:p>
          <a:endParaRPr lang="fr-FR"/>
        </a:p>
      </dgm:t>
    </dgm:pt>
    <dgm:pt modelId="{3E34B837-BB29-B848-A396-7D79A3C64B7E}" type="sibTrans" cxnId="{999A434A-F4C3-BD4F-AE56-4B8F404EB6E1}">
      <dgm:prSet/>
      <dgm:spPr/>
      <dgm:t>
        <a:bodyPr/>
        <a:lstStyle/>
        <a:p>
          <a:endParaRPr lang="fr-FR"/>
        </a:p>
      </dgm:t>
    </dgm:pt>
    <dgm:pt modelId="{2A034FC8-8316-764F-A1A2-D6B94092D62D}">
      <dgm:prSet phldrT="[Texte]"/>
      <dgm:spPr/>
      <dgm:t>
        <a:bodyPr/>
        <a:lstStyle/>
        <a:p>
          <a:r>
            <a:rPr lang="fr-FR"/>
            <a:t>Sales Manager - </a:t>
          </a:r>
          <a:r>
            <a:rPr lang="fr-FR" i="1"/>
            <a:t>Henri Dubois</a:t>
          </a:r>
        </a:p>
      </dgm:t>
    </dgm:pt>
    <dgm:pt modelId="{9230466E-B07A-264A-9256-DDD0614EB2E3}" type="parTrans" cxnId="{886BC012-FA7E-B340-B436-9BD6C61B8202}">
      <dgm:prSet/>
      <dgm:spPr/>
      <dgm:t>
        <a:bodyPr/>
        <a:lstStyle/>
        <a:p>
          <a:endParaRPr lang="fr-FR"/>
        </a:p>
      </dgm:t>
    </dgm:pt>
    <dgm:pt modelId="{875FA944-5604-6149-8B24-CE617911305E}" type="sibTrans" cxnId="{886BC012-FA7E-B340-B436-9BD6C61B8202}">
      <dgm:prSet/>
      <dgm:spPr/>
      <dgm:t>
        <a:bodyPr/>
        <a:lstStyle/>
        <a:p>
          <a:endParaRPr lang="fr-FR"/>
        </a:p>
      </dgm:t>
    </dgm:pt>
    <dgm:pt modelId="{3246205F-D496-1647-8075-4A09E457AA36}">
      <dgm:prSet phldrT="[Texte]"/>
      <dgm:spPr/>
      <dgm:t>
        <a:bodyPr/>
        <a:lstStyle/>
        <a:p>
          <a:r>
            <a:rPr lang="fr-FR" err="1"/>
            <a:t>Supply</a:t>
          </a:r>
          <a:r>
            <a:rPr lang="fr-FR"/>
            <a:t> </a:t>
          </a:r>
          <a:r>
            <a:rPr lang="fr-FR" err="1"/>
            <a:t>Director</a:t>
          </a:r>
          <a:r>
            <a:rPr lang="fr-FR"/>
            <a:t> - </a:t>
          </a:r>
          <a:r>
            <a:rPr lang="fr-FR" i="1"/>
            <a:t>Tom Hammer</a:t>
          </a:r>
        </a:p>
      </dgm:t>
    </dgm:pt>
    <dgm:pt modelId="{18337D6B-C13E-5C46-B257-BB68A7525402}" type="parTrans" cxnId="{D6E5F6E9-95DE-2D48-8315-8CA7C8826879}">
      <dgm:prSet/>
      <dgm:spPr/>
      <dgm:t>
        <a:bodyPr/>
        <a:lstStyle/>
        <a:p>
          <a:endParaRPr lang="fr-FR"/>
        </a:p>
      </dgm:t>
    </dgm:pt>
    <dgm:pt modelId="{BDED1E7C-C594-D143-B2F6-1FA5F8F14438}" type="sibTrans" cxnId="{D6E5F6E9-95DE-2D48-8315-8CA7C8826879}">
      <dgm:prSet/>
      <dgm:spPr/>
      <dgm:t>
        <a:bodyPr/>
        <a:lstStyle/>
        <a:p>
          <a:endParaRPr lang="fr-FR"/>
        </a:p>
      </dgm:t>
    </dgm:pt>
    <dgm:pt modelId="{74D18A44-98F4-654F-A5EF-8A2382480F38}">
      <dgm:prSet phldrT="[Texte]"/>
      <dgm:spPr/>
      <dgm:t>
        <a:bodyPr/>
        <a:lstStyle/>
        <a:p>
          <a:r>
            <a:rPr lang="fr-FR" i="1"/>
            <a:t>Fernando Suarez</a:t>
          </a:r>
        </a:p>
      </dgm:t>
    </dgm:pt>
    <dgm:pt modelId="{1C8EFBEB-6F60-A340-8EE3-E23743273B78}" type="parTrans" cxnId="{6E0F301B-CA6B-6C41-8E7E-B8BA56B09E97}">
      <dgm:prSet/>
      <dgm:spPr/>
      <dgm:t>
        <a:bodyPr/>
        <a:lstStyle/>
        <a:p>
          <a:endParaRPr lang="fr-FR"/>
        </a:p>
      </dgm:t>
    </dgm:pt>
    <dgm:pt modelId="{1EB05280-D5F9-FE4E-A415-5A747D2178B0}" type="sibTrans" cxnId="{6E0F301B-CA6B-6C41-8E7E-B8BA56B09E97}">
      <dgm:prSet/>
      <dgm:spPr/>
      <dgm:t>
        <a:bodyPr/>
        <a:lstStyle/>
        <a:p>
          <a:endParaRPr lang="fr-FR"/>
        </a:p>
      </dgm:t>
    </dgm:pt>
    <dgm:pt modelId="{242B7862-4A19-FA48-80D3-D4CE7BD25F89}" type="asst">
      <dgm:prSet phldrT="[Texte]"/>
      <dgm:spPr/>
      <dgm:t>
        <a:bodyPr/>
        <a:lstStyle/>
        <a:p>
          <a:r>
            <a:rPr lang="fr-FR"/>
            <a:t>Data Manager - </a:t>
          </a:r>
          <a:r>
            <a:rPr lang="fr-FR" i="1"/>
            <a:t>Richard Martin</a:t>
          </a:r>
        </a:p>
      </dgm:t>
    </dgm:pt>
    <dgm:pt modelId="{F76D0011-F44F-7F4C-8A98-ADB1727C8E4D}" type="parTrans" cxnId="{A3206165-03FA-C64D-81B2-22FC5AB25650}">
      <dgm:prSet/>
      <dgm:spPr/>
      <dgm:t>
        <a:bodyPr/>
        <a:lstStyle/>
        <a:p>
          <a:endParaRPr lang="fr-FR"/>
        </a:p>
      </dgm:t>
    </dgm:pt>
    <dgm:pt modelId="{C91CCCB5-03AE-3A48-A112-85E70DCA62CE}" type="sibTrans" cxnId="{A3206165-03FA-C64D-81B2-22FC5AB25650}">
      <dgm:prSet/>
      <dgm:spPr/>
      <dgm:t>
        <a:bodyPr/>
        <a:lstStyle/>
        <a:p>
          <a:endParaRPr lang="fr-FR"/>
        </a:p>
      </dgm:t>
    </dgm:pt>
    <dgm:pt modelId="{5331D0D9-0819-F545-AD99-5813F0314242}" type="asst">
      <dgm:prSet phldrT="[Texte]"/>
      <dgm:spPr/>
      <dgm:t>
        <a:bodyPr/>
        <a:lstStyle/>
        <a:p>
          <a:r>
            <a:rPr lang="fr-FR"/>
            <a:t>Data </a:t>
          </a:r>
          <a:r>
            <a:rPr lang="fr-FR" err="1"/>
            <a:t>Engineer</a:t>
          </a:r>
          <a:r>
            <a:rPr lang="fr-FR"/>
            <a:t> </a:t>
          </a:r>
          <a:r>
            <a:rPr lang="fr-FR" i="1"/>
            <a:t>- Julie Clément</a:t>
          </a:r>
        </a:p>
      </dgm:t>
    </dgm:pt>
    <dgm:pt modelId="{E7333A75-24DE-3646-952C-2A3222BEA4A2}" type="parTrans" cxnId="{1C678264-8B17-E54B-AE7C-91EAA27E4E66}">
      <dgm:prSet/>
      <dgm:spPr/>
      <dgm:t>
        <a:bodyPr/>
        <a:lstStyle/>
        <a:p>
          <a:endParaRPr lang="fr-FR"/>
        </a:p>
      </dgm:t>
    </dgm:pt>
    <dgm:pt modelId="{9A37DD6C-DDD3-464C-975C-1C445CED33A0}" type="sibTrans" cxnId="{1C678264-8B17-E54B-AE7C-91EAA27E4E66}">
      <dgm:prSet/>
      <dgm:spPr/>
      <dgm:t>
        <a:bodyPr/>
        <a:lstStyle/>
        <a:p>
          <a:endParaRPr lang="fr-FR"/>
        </a:p>
      </dgm:t>
    </dgm:pt>
    <dgm:pt modelId="{824A951D-6863-8F4D-8D89-E51D1F3F02C6}">
      <dgm:prSet phldrT="[Texte]"/>
      <dgm:spPr/>
      <dgm:t>
        <a:bodyPr/>
        <a:lstStyle/>
        <a:p>
          <a:r>
            <a:rPr lang="fr-FR" i="1"/>
            <a:t>Commercial </a:t>
          </a:r>
          <a:r>
            <a:rPr lang="fr-FR" i="1" err="1"/>
            <a:t>Director</a:t>
          </a:r>
          <a:r>
            <a:rPr lang="fr-FR" i="1"/>
            <a:t> - Laure McKenzie</a:t>
          </a:r>
        </a:p>
      </dgm:t>
    </dgm:pt>
    <dgm:pt modelId="{29F617BF-3610-8D4A-A1B4-C3946FA16A34}" type="parTrans" cxnId="{33CF26F6-D278-8648-9B10-33E8134A6E8E}">
      <dgm:prSet/>
      <dgm:spPr/>
      <dgm:t>
        <a:bodyPr/>
        <a:lstStyle/>
        <a:p>
          <a:endParaRPr lang="fr-FR"/>
        </a:p>
      </dgm:t>
    </dgm:pt>
    <dgm:pt modelId="{C6D8A587-49A1-8544-AD8E-16C80C40CD3E}" type="sibTrans" cxnId="{33CF26F6-D278-8648-9B10-33E8134A6E8E}">
      <dgm:prSet/>
      <dgm:spPr/>
      <dgm:t>
        <a:bodyPr/>
        <a:lstStyle/>
        <a:p>
          <a:endParaRPr lang="fr-FR"/>
        </a:p>
      </dgm:t>
    </dgm:pt>
    <dgm:pt modelId="{C6743DA2-10F9-AF4B-AC39-F0A509B4A82E}" type="pres">
      <dgm:prSet presAssocID="{4E31D763-C02E-7947-B83C-E552F0A47D80}" presName="Name0" presStyleCnt="0">
        <dgm:presLayoutVars>
          <dgm:orgChart val="1"/>
          <dgm:chPref val="1"/>
          <dgm:dir/>
          <dgm:animOne val="branch"/>
          <dgm:animLvl val="lvl"/>
          <dgm:resizeHandles/>
        </dgm:presLayoutVars>
      </dgm:prSet>
      <dgm:spPr/>
    </dgm:pt>
    <dgm:pt modelId="{066013A0-5041-4849-B2B0-EB88F6D0B396}" type="pres">
      <dgm:prSet presAssocID="{2772714E-973D-9A4B-A096-BBDBA9F1B306}" presName="hierRoot1" presStyleCnt="0">
        <dgm:presLayoutVars>
          <dgm:hierBranch val="init"/>
        </dgm:presLayoutVars>
      </dgm:prSet>
      <dgm:spPr/>
    </dgm:pt>
    <dgm:pt modelId="{EF276EC7-2B0E-094B-B166-7EFEB543F2D5}" type="pres">
      <dgm:prSet presAssocID="{2772714E-973D-9A4B-A096-BBDBA9F1B306}" presName="rootComposite1" presStyleCnt="0"/>
      <dgm:spPr/>
    </dgm:pt>
    <dgm:pt modelId="{CE0A816C-48B0-854D-A133-94168AF51294}" type="pres">
      <dgm:prSet presAssocID="{2772714E-973D-9A4B-A096-BBDBA9F1B306}" presName="rootText1" presStyleLbl="alignAcc1" presStyleIdx="0" presStyleCnt="0">
        <dgm:presLayoutVars>
          <dgm:chPref val="3"/>
        </dgm:presLayoutVars>
      </dgm:prSet>
      <dgm:spPr/>
    </dgm:pt>
    <dgm:pt modelId="{11F354D1-A656-2040-9962-57753BA0D32F}" type="pres">
      <dgm:prSet presAssocID="{2772714E-973D-9A4B-A096-BBDBA9F1B306}" presName="topArc1" presStyleLbl="parChTrans1D1" presStyleIdx="0" presStyleCnt="22"/>
      <dgm:spPr/>
    </dgm:pt>
    <dgm:pt modelId="{4E6039AD-BFFF-3542-9EE5-5A1197BC392F}" type="pres">
      <dgm:prSet presAssocID="{2772714E-973D-9A4B-A096-BBDBA9F1B306}" presName="bottomArc1" presStyleLbl="parChTrans1D1" presStyleIdx="1" presStyleCnt="22"/>
      <dgm:spPr/>
    </dgm:pt>
    <dgm:pt modelId="{9F1D5F93-F3BE-E241-909F-69CE1D22A002}" type="pres">
      <dgm:prSet presAssocID="{2772714E-973D-9A4B-A096-BBDBA9F1B306}" presName="topConnNode1" presStyleLbl="node1" presStyleIdx="0" presStyleCnt="0"/>
      <dgm:spPr/>
    </dgm:pt>
    <dgm:pt modelId="{D5C42F4F-AC0E-6349-9CA6-A1401CFBAD6F}" type="pres">
      <dgm:prSet presAssocID="{2772714E-973D-9A4B-A096-BBDBA9F1B306}" presName="hierChild2" presStyleCnt="0"/>
      <dgm:spPr/>
    </dgm:pt>
    <dgm:pt modelId="{FEC3A007-B972-2D48-B89F-37819799B5BD}" type="pres">
      <dgm:prSet presAssocID="{D0E1ED33-D0F6-D246-96E5-54208DB01216}" presName="Name28" presStyleLbl="parChTrans1D2" presStyleIdx="0" presStyleCnt="4"/>
      <dgm:spPr/>
    </dgm:pt>
    <dgm:pt modelId="{EBA8FC70-8494-D54F-A21F-F39D4D9936FD}" type="pres">
      <dgm:prSet presAssocID="{8D3E0E25-85A3-814F-9093-A3ED78E0B395}" presName="hierRoot2" presStyleCnt="0">
        <dgm:presLayoutVars>
          <dgm:hierBranch val="init"/>
        </dgm:presLayoutVars>
      </dgm:prSet>
      <dgm:spPr/>
    </dgm:pt>
    <dgm:pt modelId="{26A0307B-EBD7-FD41-B0A3-9B4F95C835C8}" type="pres">
      <dgm:prSet presAssocID="{8D3E0E25-85A3-814F-9093-A3ED78E0B395}" presName="rootComposite2" presStyleCnt="0"/>
      <dgm:spPr/>
    </dgm:pt>
    <dgm:pt modelId="{939603A9-4207-7240-8F09-55285DCBCD80}" type="pres">
      <dgm:prSet presAssocID="{8D3E0E25-85A3-814F-9093-A3ED78E0B395}" presName="rootText2" presStyleLbl="alignAcc1" presStyleIdx="0" presStyleCnt="0" custLinFactY="-100000" custLinFactNeighborX="1708" custLinFactNeighborY="-107890">
        <dgm:presLayoutVars>
          <dgm:chPref val="3"/>
        </dgm:presLayoutVars>
      </dgm:prSet>
      <dgm:spPr/>
    </dgm:pt>
    <dgm:pt modelId="{BE3EDBDB-4068-AD44-BCE3-E0CCFA782D65}" type="pres">
      <dgm:prSet presAssocID="{8D3E0E25-85A3-814F-9093-A3ED78E0B395}" presName="topArc2" presStyleLbl="parChTrans1D1" presStyleIdx="2" presStyleCnt="22"/>
      <dgm:spPr/>
    </dgm:pt>
    <dgm:pt modelId="{3D37E8DD-7288-CC40-95C4-F1303EEECC3D}" type="pres">
      <dgm:prSet presAssocID="{8D3E0E25-85A3-814F-9093-A3ED78E0B395}" presName="bottomArc2" presStyleLbl="parChTrans1D1" presStyleIdx="3" presStyleCnt="22"/>
      <dgm:spPr/>
    </dgm:pt>
    <dgm:pt modelId="{0B3E1FEE-295B-6D40-98D4-F414C20B4E01}" type="pres">
      <dgm:prSet presAssocID="{8D3E0E25-85A3-814F-9093-A3ED78E0B395}" presName="topConnNode2" presStyleLbl="node2" presStyleIdx="0" presStyleCnt="0"/>
      <dgm:spPr/>
    </dgm:pt>
    <dgm:pt modelId="{5680E866-15FA-FE46-B09A-6C2523BCFA1F}" type="pres">
      <dgm:prSet presAssocID="{8D3E0E25-85A3-814F-9093-A3ED78E0B395}" presName="hierChild4" presStyleCnt="0"/>
      <dgm:spPr/>
    </dgm:pt>
    <dgm:pt modelId="{2046F661-F511-9B40-BA1B-7376D2328FA2}" type="pres">
      <dgm:prSet presAssocID="{8D3E0E25-85A3-814F-9093-A3ED78E0B395}" presName="hierChild5" presStyleCnt="0"/>
      <dgm:spPr/>
    </dgm:pt>
    <dgm:pt modelId="{F8C4A437-C2BA-884D-8EB4-9B6CF8DB2D75}" type="pres">
      <dgm:prSet presAssocID="{18337D6B-C13E-5C46-B257-BB68A7525402}" presName="Name28" presStyleLbl="parChTrans1D2" presStyleIdx="1" presStyleCnt="4"/>
      <dgm:spPr/>
    </dgm:pt>
    <dgm:pt modelId="{681BAD8A-2D7A-EB41-B001-0606A890180B}" type="pres">
      <dgm:prSet presAssocID="{3246205F-D496-1647-8075-4A09E457AA36}" presName="hierRoot2" presStyleCnt="0">
        <dgm:presLayoutVars>
          <dgm:hierBranch val="init"/>
        </dgm:presLayoutVars>
      </dgm:prSet>
      <dgm:spPr/>
    </dgm:pt>
    <dgm:pt modelId="{8B40D740-8727-DA41-8BE0-DD2959EA620D}" type="pres">
      <dgm:prSet presAssocID="{3246205F-D496-1647-8075-4A09E457AA36}" presName="rootComposite2" presStyleCnt="0"/>
      <dgm:spPr/>
    </dgm:pt>
    <dgm:pt modelId="{CE4D7E3A-9DA7-8A4A-9618-2DB648078BAE}" type="pres">
      <dgm:prSet presAssocID="{3246205F-D496-1647-8075-4A09E457AA36}" presName="rootText2" presStyleLbl="alignAcc1" presStyleIdx="0" presStyleCnt="0" custLinFactY="-100000" custLinFactNeighborX="2250" custLinFactNeighborY="-107890">
        <dgm:presLayoutVars>
          <dgm:chPref val="3"/>
        </dgm:presLayoutVars>
      </dgm:prSet>
      <dgm:spPr/>
    </dgm:pt>
    <dgm:pt modelId="{60622461-AA2A-2846-999F-E080E763448D}" type="pres">
      <dgm:prSet presAssocID="{3246205F-D496-1647-8075-4A09E457AA36}" presName="topArc2" presStyleLbl="parChTrans1D1" presStyleIdx="4" presStyleCnt="22"/>
      <dgm:spPr/>
    </dgm:pt>
    <dgm:pt modelId="{A7058610-08AC-6447-87BD-045C772D12AF}" type="pres">
      <dgm:prSet presAssocID="{3246205F-D496-1647-8075-4A09E457AA36}" presName="bottomArc2" presStyleLbl="parChTrans1D1" presStyleIdx="5" presStyleCnt="22"/>
      <dgm:spPr/>
    </dgm:pt>
    <dgm:pt modelId="{7B3839A3-7145-C848-BDC1-3AF438D43DA0}" type="pres">
      <dgm:prSet presAssocID="{3246205F-D496-1647-8075-4A09E457AA36}" presName="topConnNode2" presStyleLbl="node2" presStyleIdx="0" presStyleCnt="0"/>
      <dgm:spPr/>
    </dgm:pt>
    <dgm:pt modelId="{9F7274DB-10A7-8247-91D1-ED62A180F28C}" type="pres">
      <dgm:prSet presAssocID="{3246205F-D496-1647-8075-4A09E457AA36}" presName="hierChild4" presStyleCnt="0"/>
      <dgm:spPr/>
    </dgm:pt>
    <dgm:pt modelId="{0A3C51DD-4BD3-194A-BCFF-7B2E0F2A7D4C}" type="pres">
      <dgm:prSet presAssocID="{3246205F-D496-1647-8075-4A09E457AA36}" presName="hierChild5" presStyleCnt="0"/>
      <dgm:spPr/>
    </dgm:pt>
    <dgm:pt modelId="{034B6C41-73A7-3141-B1E4-333876E8CE54}" type="pres">
      <dgm:prSet presAssocID="{EF21A560-2835-B14D-8CA7-95E39F970A90}" presName="Name28" presStyleLbl="parChTrans1D2" presStyleIdx="2" presStyleCnt="4"/>
      <dgm:spPr/>
    </dgm:pt>
    <dgm:pt modelId="{54C9A7C1-BCFF-3A42-9B22-7FDE92083545}" type="pres">
      <dgm:prSet presAssocID="{1900BAC5-5BD9-BA49-B272-BFBD039A2A27}" presName="hierRoot2" presStyleCnt="0">
        <dgm:presLayoutVars>
          <dgm:hierBranch val="init"/>
        </dgm:presLayoutVars>
      </dgm:prSet>
      <dgm:spPr/>
    </dgm:pt>
    <dgm:pt modelId="{F15DC8DD-1A5E-9845-9434-983D9AC1EE36}" type="pres">
      <dgm:prSet presAssocID="{1900BAC5-5BD9-BA49-B272-BFBD039A2A27}" presName="rootComposite2" presStyleCnt="0"/>
      <dgm:spPr/>
    </dgm:pt>
    <dgm:pt modelId="{94D195E9-A2A1-F043-97F7-B47E894012A3}" type="pres">
      <dgm:prSet presAssocID="{1900BAC5-5BD9-BA49-B272-BFBD039A2A27}" presName="rootText2" presStyleLbl="alignAcc1" presStyleIdx="0" presStyleCnt="0" custLinFactY="-100000" custLinFactNeighborX="1709" custLinFactNeighborY="-107890">
        <dgm:presLayoutVars>
          <dgm:chPref val="3"/>
        </dgm:presLayoutVars>
      </dgm:prSet>
      <dgm:spPr/>
    </dgm:pt>
    <dgm:pt modelId="{059D912F-191E-C74F-A5B6-74B41C558BB6}" type="pres">
      <dgm:prSet presAssocID="{1900BAC5-5BD9-BA49-B272-BFBD039A2A27}" presName="topArc2" presStyleLbl="parChTrans1D1" presStyleIdx="6" presStyleCnt="22"/>
      <dgm:spPr/>
    </dgm:pt>
    <dgm:pt modelId="{338F2141-43EB-1342-8F52-93F783BAD1CB}" type="pres">
      <dgm:prSet presAssocID="{1900BAC5-5BD9-BA49-B272-BFBD039A2A27}" presName="bottomArc2" presStyleLbl="parChTrans1D1" presStyleIdx="7" presStyleCnt="22"/>
      <dgm:spPr/>
    </dgm:pt>
    <dgm:pt modelId="{97F2726C-B427-5545-A726-A7123923001A}" type="pres">
      <dgm:prSet presAssocID="{1900BAC5-5BD9-BA49-B272-BFBD039A2A27}" presName="topConnNode2" presStyleLbl="node2" presStyleIdx="0" presStyleCnt="0"/>
      <dgm:spPr/>
    </dgm:pt>
    <dgm:pt modelId="{85E0301B-2CAD-8E4B-85B2-FE9A2A6E96B6}" type="pres">
      <dgm:prSet presAssocID="{1900BAC5-5BD9-BA49-B272-BFBD039A2A27}" presName="hierChild4" presStyleCnt="0"/>
      <dgm:spPr/>
    </dgm:pt>
    <dgm:pt modelId="{4BED0DC1-3193-7A4B-B93B-2EE7B7470BB8}" type="pres">
      <dgm:prSet presAssocID="{29F617BF-3610-8D4A-A1B4-C3946FA16A34}" presName="Name28" presStyleLbl="parChTrans1D3" presStyleIdx="0" presStyleCnt="5"/>
      <dgm:spPr/>
    </dgm:pt>
    <dgm:pt modelId="{9E9DF9C3-1F48-D04F-8B47-69A57D7E9E8A}" type="pres">
      <dgm:prSet presAssocID="{824A951D-6863-8F4D-8D89-E51D1F3F02C6}" presName="hierRoot2" presStyleCnt="0">
        <dgm:presLayoutVars>
          <dgm:hierBranch val="init"/>
        </dgm:presLayoutVars>
      </dgm:prSet>
      <dgm:spPr/>
    </dgm:pt>
    <dgm:pt modelId="{FA94E709-901A-9246-BAA0-972CE88F5C27}" type="pres">
      <dgm:prSet presAssocID="{824A951D-6863-8F4D-8D89-E51D1F3F02C6}" presName="rootComposite2" presStyleCnt="0"/>
      <dgm:spPr/>
    </dgm:pt>
    <dgm:pt modelId="{8F9AF30B-A2CC-8046-8557-F66CDB4616DB}" type="pres">
      <dgm:prSet presAssocID="{824A951D-6863-8F4D-8D89-E51D1F3F02C6}" presName="rootText2" presStyleLbl="alignAcc1" presStyleIdx="0" presStyleCnt="0">
        <dgm:presLayoutVars>
          <dgm:chPref val="3"/>
        </dgm:presLayoutVars>
      </dgm:prSet>
      <dgm:spPr/>
    </dgm:pt>
    <dgm:pt modelId="{239E4CE9-F1B3-064A-956E-00024CDFB85E}" type="pres">
      <dgm:prSet presAssocID="{824A951D-6863-8F4D-8D89-E51D1F3F02C6}" presName="topArc2" presStyleLbl="parChTrans1D1" presStyleIdx="8" presStyleCnt="22"/>
      <dgm:spPr/>
    </dgm:pt>
    <dgm:pt modelId="{39D7A3FD-0F03-6640-9CE6-614B221EDDA9}" type="pres">
      <dgm:prSet presAssocID="{824A951D-6863-8F4D-8D89-E51D1F3F02C6}" presName="bottomArc2" presStyleLbl="parChTrans1D1" presStyleIdx="9" presStyleCnt="22"/>
      <dgm:spPr/>
    </dgm:pt>
    <dgm:pt modelId="{5AD0E8CA-1D8A-0A4B-8B8C-895226453EC9}" type="pres">
      <dgm:prSet presAssocID="{824A951D-6863-8F4D-8D89-E51D1F3F02C6}" presName="topConnNode2" presStyleLbl="node3" presStyleIdx="0" presStyleCnt="0"/>
      <dgm:spPr/>
    </dgm:pt>
    <dgm:pt modelId="{4855BCC9-A85D-AB44-B464-E20C7BD009D2}" type="pres">
      <dgm:prSet presAssocID="{824A951D-6863-8F4D-8D89-E51D1F3F02C6}" presName="hierChild4" presStyleCnt="0"/>
      <dgm:spPr/>
    </dgm:pt>
    <dgm:pt modelId="{B5CC8B72-511D-1243-BFC0-859787C1180F}" type="pres">
      <dgm:prSet presAssocID="{824A951D-6863-8F4D-8D89-E51D1F3F02C6}" presName="hierChild5" presStyleCnt="0"/>
      <dgm:spPr/>
    </dgm:pt>
    <dgm:pt modelId="{CABD24BD-BB19-024B-BB4A-C05ED21703C2}" type="pres">
      <dgm:prSet presAssocID="{7C56106A-AC66-D24B-BD08-D52523F708CE}" presName="Name28" presStyleLbl="parChTrans1D3" presStyleIdx="1" presStyleCnt="5"/>
      <dgm:spPr/>
    </dgm:pt>
    <dgm:pt modelId="{5CE8D8B6-0247-B546-8C7F-88055A7EF4AB}" type="pres">
      <dgm:prSet presAssocID="{490F4CC9-CDE0-A449-B9B9-F80B2812A5A0}" presName="hierRoot2" presStyleCnt="0">
        <dgm:presLayoutVars>
          <dgm:hierBranch val="init"/>
        </dgm:presLayoutVars>
      </dgm:prSet>
      <dgm:spPr/>
    </dgm:pt>
    <dgm:pt modelId="{4E241EBC-2C98-C94F-8058-476E8B7531B5}" type="pres">
      <dgm:prSet presAssocID="{490F4CC9-CDE0-A449-B9B9-F80B2812A5A0}" presName="rootComposite2" presStyleCnt="0"/>
      <dgm:spPr/>
    </dgm:pt>
    <dgm:pt modelId="{1C9FF72F-0085-BC48-BAC9-449C8B5A5736}" type="pres">
      <dgm:prSet presAssocID="{490F4CC9-CDE0-A449-B9B9-F80B2812A5A0}" presName="rootText2" presStyleLbl="alignAcc1" presStyleIdx="0" presStyleCnt="0">
        <dgm:presLayoutVars>
          <dgm:chPref val="3"/>
        </dgm:presLayoutVars>
      </dgm:prSet>
      <dgm:spPr/>
    </dgm:pt>
    <dgm:pt modelId="{B5C3D547-8EE1-1F45-ABC8-15FDC52FA85B}" type="pres">
      <dgm:prSet presAssocID="{490F4CC9-CDE0-A449-B9B9-F80B2812A5A0}" presName="topArc2" presStyleLbl="parChTrans1D1" presStyleIdx="10" presStyleCnt="22"/>
      <dgm:spPr/>
    </dgm:pt>
    <dgm:pt modelId="{4A5182EE-894E-5F4A-A892-D00BB333DFD8}" type="pres">
      <dgm:prSet presAssocID="{490F4CC9-CDE0-A449-B9B9-F80B2812A5A0}" presName="bottomArc2" presStyleLbl="parChTrans1D1" presStyleIdx="11" presStyleCnt="22"/>
      <dgm:spPr/>
    </dgm:pt>
    <dgm:pt modelId="{1230DAD0-117A-EE4A-9680-90854AC7B0FC}" type="pres">
      <dgm:prSet presAssocID="{490F4CC9-CDE0-A449-B9B9-F80B2812A5A0}" presName="topConnNode2" presStyleLbl="node3" presStyleIdx="0" presStyleCnt="0"/>
      <dgm:spPr/>
    </dgm:pt>
    <dgm:pt modelId="{771E15EA-C419-724A-A93D-9159ADA80D71}" type="pres">
      <dgm:prSet presAssocID="{490F4CC9-CDE0-A449-B9B9-F80B2812A5A0}" presName="hierChild4" presStyleCnt="0"/>
      <dgm:spPr/>
    </dgm:pt>
    <dgm:pt modelId="{411DB15E-1CD9-9443-9719-FDBDBEE0F0F7}" type="pres">
      <dgm:prSet presAssocID="{490F4CC9-CDE0-A449-B9B9-F80B2812A5A0}" presName="hierChild5" presStyleCnt="0"/>
      <dgm:spPr/>
    </dgm:pt>
    <dgm:pt modelId="{F2D67BAF-D7E2-264D-BAFA-EC352EEB524C}" type="pres">
      <dgm:prSet presAssocID="{9230466E-B07A-264A-9256-DDD0614EB2E3}" presName="Name28" presStyleLbl="parChTrans1D3" presStyleIdx="2" presStyleCnt="5"/>
      <dgm:spPr/>
    </dgm:pt>
    <dgm:pt modelId="{3C2EA054-B638-0540-9F45-2ADF39476C5E}" type="pres">
      <dgm:prSet presAssocID="{2A034FC8-8316-764F-A1A2-D6B94092D62D}" presName="hierRoot2" presStyleCnt="0">
        <dgm:presLayoutVars>
          <dgm:hierBranch val="init"/>
        </dgm:presLayoutVars>
      </dgm:prSet>
      <dgm:spPr/>
    </dgm:pt>
    <dgm:pt modelId="{EB910DF1-95F3-2D4C-B367-3A662312CDB7}" type="pres">
      <dgm:prSet presAssocID="{2A034FC8-8316-764F-A1A2-D6B94092D62D}" presName="rootComposite2" presStyleCnt="0"/>
      <dgm:spPr/>
    </dgm:pt>
    <dgm:pt modelId="{3C7AAECD-3287-3347-85F8-8A0254EDEF09}" type="pres">
      <dgm:prSet presAssocID="{2A034FC8-8316-764F-A1A2-D6B94092D62D}" presName="rootText2" presStyleLbl="alignAcc1" presStyleIdx="0" presStyleCnt="0" custLinFactY="-300000" custLinFactNeighborX="-2919" custLinFactNeighborY="-336102">
        <dgm:presLayoutVars>
          <dgm:chPref val="3"/>
        </dgm:presLayoutVars>
      </dgm:prSet>
      <dgm:spPr/>
    </dgm:pt>
    <dgm:pt modelId="{0487B565-26AA-4A4C-9098-2601BC3A3AE5}" type="pres">
      <dgm:prSet presAssocID="{2A034FC8-8316-764F-A1A2-D6B94092D62D}" presName="topArc2" presStyleLbl="parChTrans1D1" presStyleIdx="12" presStyleCnt="22"/>
      <dgm:spPr/>
    </dgm:pt>
    <dgm:pt modelId="{18DAE2CA-5F7F-D546-B240-2103C4CA8930}" type="pres">
      <dgm:prSet presAssocID="{2A034FC8-8316-764F-A1A2-D6B94092D62D}" presName="bottomArc2" presStyleLbl="parChTrans1D1" presStyleIdx="13" presStyleCnt="22"/>
      <dgm:spPr/>
    </dgm:pt>
    <dgm:pt modelId="{A517E462-34D6-1948-ADE2-D053BA6A4BE6}" type="pres">
      <dgm:prSet presAssocID="{2A034FC8-8316-764F-A1A2-D6B94092D62D}" presName="topConnNode2" presStyleLbl="node3" presStyleIdx="0" presStyleCnt="0"/>
      <dgm:spPr/>
    </dgm:pt>
    <dgm:pt modelId="{9091618C-50DC-EE45-96D7-8F817B987A9F}" type="pres">
      <dgm:prSet presAssocID="{2A034FC8-8316-764F-A1A2-D6B94092D62D}" presName="hierChild4" presStyleCnt="0"/>
      <dgm:spPr/>
    </dgm:pt>
    <dgm:pt modelId="{DE571DD5-BC4C-F943-969C-7D89F2477D9D}" type="pres">
      <dgm:prSet presAssocID="{2A034FC8-8316-764F-A1A2-D6B94092D62D}" presName="hierChild5" presStyleCnt="0"/>
      <dgm:spPr/>
    </dgm:pt>
    <dgm:pt modelId="{8ABAC782-766E-324A-ACA0-7989419CA23D}" type="pres">
      <dgm:prSet presAssocID="{1900BAC5-5BD9-BA49-B272-BFBD039A2A27}" presName="hierChild5" presStyleCnt="0"/>
      <dgm:spPr/>
    </dgm:pt>
    <dgm:pt modelId="{27E2ED0A-E146-9846-8FCA-1ECDF2479EA3}" type="pres">
      <dgm:prSet presAssocID="{2772714E-973D-9A4B-A096-BBDBA9F1B306}" presName="hierChild3" presStyleCnt="0"/>
      <dgm:spPr/>
    </dgm:pt>
    <dgm:pt modelId="{33993257-039C-814E-86BE-F2DECB0449C5}" type="pres">
      <dgm:prSet presAssocID="{C740A2E3-2CCD-ED45-861E-9CB537D83FBE}" presName="Name101" presStyleLbl="parChTrans1D2" presStyleIdx="3" presStyleCnt="4"/>
      <dgm:spPr/>
    </dgm:pt>
    <dgm:pt modelId="{62FFA459-584A-474E-B271-10FD16E31E45}" type="pres">
      <dgm:prSet presAssocID="{9DBF6000-A91B-124F-954C-A8DA8F4613F4}" presName="hierRoot3" presStyleCnt="0">
        <dgm:presLayoutVars>
          <dgm:hierBranch val="init"/>
        </dgm:presLayoutVars>
      </dgm:prSet>
      <dgm:spPr/>
    </dgm:pt>
    <dgm:pt modelId="{6F02B764-8A8A-EE43-AC57-2FC195394056}" type="pres">
      <dgm:prSet presAssocID="{9DBF6000-A91B-124F-954C-A8DA8F4613F4}" presName="rootComposite3" presStyleCnt="0"/>
      <dgm:spPr/>
    </dgm:pt>
    <dgm:pt modelId="{192F6587-BC9D-B148-BD56-699A7DF9E014}" type="pres">
      <dgm:prSet presAssocID="{9DBF6000-A91B-124F-954C-A8DA8F4613F4}" presName="rootText3" presStyleLbl="alignAcc1" presStyleIdx="0" presStyleCnt="0" custLinFactX="-52052" custLinFactNeighborX="-100000" custLinFactNeighborY="-5885">
        <dgm:presLayoutVars>
          <dgm:chPref val="3"/>
        </dgm:presLayoutVars>
      </dgm:prSet>
      <dgm:spPr/>
    </dgm:pt>
    <dgm:pt modelId="{A929F802-CB94-4D4A-B6D3-EA17F7B7182F}" type="pres">
      <dgm:prSet presAssocID="{9DBF6000-A91B-124F-954C-A8DA8F4613F4}" presName="topArc3" presStyleLbl="parChTrans1D1" presStyleIdx="14" presStyleCnt="22"/>
      <dgm:spPr/>
    </dgm:pt>
    <dgm:pt modelId="{66E55231-B618-114B-A3E4-204D741834AA}" type="pres">
      <dgm:prSet presAssocID="{9DBF6000-A91B-124F-954C-A8DA8F4613F4}" presName="bottomArc3" presStyleLbl="parChTrans1D1" presStyleIdx="15" presStyleCnt="22"/>
      <dgm:spPr/>
    </dgm:pt>
    <dgm:pt modelId="{DEB20267-406F-1348-B515-8DF4DA3851D8}" type="pres">
      <dgm:prSet presAssocID="{9DBF6000-A91B-124F-954C-A8DA8F4613F4}" presName="topConnNode3" presStyleLbl="asst1" presStyleIdx="0" presStyleCnt="0"/>
      <dgm:spPr/>
    </dgm:pt>
    <dgm:pt modelId="{65020C62-1CAD-0944-AC0E-990971C64D5A}" type="pres">
      <dgm:prSet presAssocID="{9DBF6000-A91B-124F-954C-A8DA8F4613F4}" presName="hierChild6" presStyleCnt="0"/>
      <dgm:spPr/>
    </dgm:pt>
    <dgm:pt modelId="{DCD5CAED-1A00-594D-A389-9B55D75EC731}" type="pres">
      <dgm:prSet presAssocID="{9DBF6000-A91B-124F-954C-A8DA8F4613F4}" presName="hierChild7" presStyleCnt="0"/>
      <dgm:spPr/>
    </dgm:pt>
    <dgm:pt modelId="{F4929D6C-2FF4-3749-B93A-6BB8D65DB5FE}" type="pres">
      <dgm:prSet presAssocID="{F76D0011-F44F-7F4C-8A98-ADB1727C8E4D}" presName="Name101" presStyleLbl="parChTrans1D3" presStyleIdx="3" presStyleCnt="5"/>
      <dgm:spPr/>
    </dgm:pt>
    <dgm:pt modelId="{CA9D7EBA-0C66-BC4A-A19F-0221DAC76B64}" type="pres">
      <dgm:prSet presAssocID="{242B7862-4A19-FA48-80D3-D4CE7BD25F89}" presName="hierRoot3" presStyleCnt="0">
        <dgm:presLayoutVars>
          <dgm:hierBranch val="init"/>
        </dgm:presLayoutVars>
      </dgm:prSet>
      <dgm:spPr/>
    </dgm:pt>
    <dgm:pt modelId="{5BB79A10-594A-944E-B924-D77A0B06A6B3}" type="pres">
      <dgm:prSet presAssocID="{242B7862-4A19-FA48-80D3-D4CE7BD25F89}" presName="rootComposite3" presStyleCnt="0"/>
      <dgm:spPr/>
    </dgm:pt>
    <dgm:pt modelId="{1C1A32D8-4372-F348-A22B-AF9C117DEDA9}" type="pres">
      <dgm:prSet presAssocID="{242B7862-4A19-FA48-80D3-D4CE7BD25F89}" presName="rootText3" presStyleLbl="alignAcc1" presStyleIdx="0" presStyleCnt="0" custLinFactY="65507" custLinFactNeighborX="-34169" custLinFactNeighborY="100000">
        <dgm:presLayoutVars>
          <dgm:chPref val="3"/>
        </dgm:presLayoutVars>
      </dgm:prSet>
      <dgm:spPr/>
    </dgm:pt>
    <dgm:pt modelId="{479C4819-CA36-D340-86FC-DEB1D5B2FADA}" type="pres">
      <dgm:prSet presAssocID="{242B7862-4A19-FA48-80D3-D4CE7BD25F89}" presName="topArc3" presStyleLbl="parChTrans1D1" presStyleIdx="16" presStyleCnt="22"/>
      <dgm:spPr/>
    </dgm:pt>
    <dgm:pt modelId="{6A1D511F-1B5A-2F49-A53F-7613DCE3DF5C}" type="pres">
      <dgm:prSet presAssocID="{242B7862-4A19-FA48-80D3-D4CE7BD25F89}" presName="bottomArc3" presStyleLbl="parChTrans1D1" presStyleIdx="17" presStyleCnt="22"/>
      <dgm:spPr/>
    </dgm:pt>
    <dgm:pt modelId="{7DD9A041-FC4A-0F4D-A117-35FB48C4305F}" type="pres">
      <dgm:prSet presAssocID="{242B7862-4A19-FA48-80D3-D4CE7BD25F89}" presName="topConnNode3" presStyleLbl="asst1" presStyleIdx="0" presStyleCnt="0"/>
      <dgm:spPr/>
    </dgm:pt>
    <dgm:pt modelId="{A81FF939-BBA8-7E4B-B380-94F602409676}" type="pres">
      <dgm:prSet presAssocID="{242B7862-4A19-FA48-80D3-D4CE7BD25F89}" presName="hierChild6" presStyleCnt="0"/>
      <dgm:spPr/>
    </dgm:pt>
    <dgm:pt modelId="{CF60A687-DCAE-F742-AADA-EC77135C385B}" type="pres">
      <dgm:prSet presAssocID="{242B7862-4A19-FA48-80D3-D4CE7BD25F89}" presName="hierChild7" presStyleCnt="0"/>
      <dgm:spPr/>
    </dgm:pt>
    <dgm:pt modelId="{B7168F34-4FFA-D44B-B72B-EF9734723A89}" type="pres">
      <dgm:prSet presAssocID="{E7333A75-24DE-3646-952C-2A3222BEA4A2}" presName="Name101" presStyleLbl="parChTrans1D3" presStyleIdx="4" presStyleCnt="5"/>
      <dgm:spPr/>
    </dgm:pt>
    <dgm:pt modelId="{9885571A-0968-AB46-98FC-CEE45051DCD8}" type="pres">
      <dgm:prSet presAssocID="{5331D0D9-0819-F545-AD99-5813F0314242}" presName="hierRoot3" presStyleCnt="0">
        <dgm:presLayoutVars>
          <dgm:hierBranch val="init"/>
        </dgm:presLayoutVars>
      </dgm:prSet>
      <dgm:spPr/>
    </dgm:pt>
    <dgm:pt modelId="{B0E811EB-52B0-A24F-B5A6-B65E3E283BBA}" type="pres">
      <dgm:prSet presAssocID="{5331D0D9-0819-F545-AD99-5813F0314242}" presName="rootComposite3" presStyleCnt="0"/>
      <dgm:spPr/>
    </dgm:pt>
    <dgm:pt modelId="{3FE2DB13-DF7C-964D-83A5-E0F2F9D88B03}" type="pres">
      <dgm:prSet presAssocID="{5331D0D9-0819-F545-AD99-5813F0314242}" presName="rootText3" presStyleLbl="alignAcc1" presStyleIdx="0" presStyleCnt="0" custLinFactX="-56322" custLinFactY="142328" custLinFactNeighborX="-100000" custLinFactNeighborY="200000">
        <dgm:presLayoutVars>
          <dgm:chPref val="3"/>
        </dgm:presLayoutVars>
      </dgm:prSet>
      <dgm:spPr/>
    </dgm:pt>
    <dgm:pt modelId="{24DEFF6E-515B-8C49-9709-5E29BD11D92C}" type="pres">
      <dgm:prSet presAssocID="{5331D0D9-0819-F545-AD99-5813F0314242}" presName="topArc3" presStyleLbl="parChTrans1D1" presStyleIdx="18" presStyleCnt="22"/>
      <dgm:spPr/>
    </dgm:pt>
    <dgm:pt modelId="{EEC65586-B054-B947-9FC7-CDC78B9456A8}" type="pres">
      <dgm:prSet presAssocID="{5331D0D9-0819-F545-AD99-5813F0314242}" presName="bottomArc3" presStyleLbl="parChTrans1D1" presStyleIdx="19" presStyleCnt="22"/>
      <dgm:spPr/>
    </dgm:pt>
    <dgm:pt modelId="{093C9E29-F708-3144-B2C8-180B647958B1}" type="pres">
      <dgm:prSet presAssocID="{5331D0D9-0819-F545-AD99-5813F0314242}" presName="topConnNode3" presStyleLbl="asst1" presStyleIdx="0" presStyleCnt="0"/>
      <dgm:spPr/>
    </dgm:pt>
    <dgm:pt modelId="{61360FAD-2A2C-6B49-A1EF-5939521C25AE}" type="pres">
      <dgm:prSet presAssocID="{5331D0D9-0819-F545-AD99-5813F0314242}" presName="hierChild6" presStyleCnt="0"/>
      <dgm:spPr/>
    </dgm:pt>
    <dgm:pt modelId="{54E2450E-B4D4-0D45-BD25-A85B3541C630}" type="pres">
      <dgm:prSet presAssocID="{5331D0D9-0819-F545-AD99-5813F0314242}" presName="hierChild7" presStyleCnt="0"/>
      <dgm:spPr/>
    </dgm:pt>
    <dgm:pt modelId="{4B2F387A-BC1E-394A-AEE2-26A858EE5767}" type="pres">
      <dgm:prSet presAssocID="{74D18A44-98F4-654F-A5EF-8A2382480F38}" presName="hierRoot1" presStyleCnt="0">
        <dgm:presLayoutVars>
          <dgm:hierBranch val="init"/>
        </dgm:presLayoutVars>
      </dgm:prSet>
      <dgm:spPr/>
    </dgm:pt>
    <dgm:pt modelId="{E4E686D0-861A-E846-8A12-9E81B75F4C0F}" type="pres">
      <dgm:prSet presAssocID="{74D18A44-98F4-654F-A5EF-8A2382480F38}" presName="rootComposite1" presStyleCnt="0"/>
      <dgm:spPr/>
    </dgm:pt>
    <dgm:pt modelId="{01A472CB-D92E-0B44-B308-709A962B8A93}" type="pres">
      <dgm:prSet presAssocID="{74D18A44-98F4-654F-A5EF-8A2382480F38}" presName="rootText1" presStyleLbl="alignAcc1" presStyleIdx="0" presStyleCnt="0">
        <dgm:presLayoutVars>
          <dgm:chPref val="3"/>
        </dgm:presLayoutVars>
      </dgm:prSet>
      <dgm:spPr/>
    </dgm:pt>
    <dgm:pt modelId="{CF95BC30-298C-8D4C-A538-1540892E67FA}" type="pres">
      <dgm:prSet presAssocID="{74D18A44-98F4-654F-A5EF-8A2382480F38}" presName="topArc1" presStyleLbl="parChTrans1D1" presStyleIdx="20" presStyleCnt="22"/>
      <dgm:spPr/>
    </dgm:pt>
    <dgm:pt modelId="{3D42C6AC-7388-6543-BE45-F5AF47DB1F62}" type="pres">
      <dgm:prSet presAssocID="{74D18A44-98F4-654F-A5EF-8A2382480F38}" presName="bottomArc1" presStyleLbl="parChTrans1D1" presStyleIdx="21" presStyleCnt="22"/>
      <dgm:spPr/>
    </dgm:pt>
    <dgm:pt modelId="{5C1BB5E0-64D3-EF4D-8CEE-4D7EFEC61109}" type="pres">
      <dgm:prSet presAssocID="{74D18A44-98F4-654F-A5EF-8A2382480F38}" presName="topConnNode1" presStyleLbl="node1" presStyleIdx="0" presStyleCnt="0"/>
      <dgm:spPr/>
    </dgm:pt>
    <dgm:pt modelId="{20F49337-C126-F44E-AA92-574FD73827EF}" type="pres">
      <dgm:prSet presAssocID="{74D18A44-98F4-654F-A5EF-8A2382480F38}" presName="hierChild2" presStyleCnt="0"/>
      <dgm:spPr/>
    </dgm:pt>
    <dgm:pt modelId="{C6064B34-E20B-3C4C-B19E-C9FB11D273F3}" type="pres">
      <dgm:prSet presAssocID="{74D18A44-98F4-654F-A5EF-8A2382480F38}" presName="hierChild3" presStyleCnt="0"/>
      <dgm:spPr/>
    </dgm:pt>
  </dgm:ptLst>
  <dgm:cxnLst>
    <dgm:cxn modelId="{E2C96506-602D-8947-89C6-57B3EFA40F1D}" type="presOf" srcId="{3246205F-D496-1647-8075-4A09E457AA36}" destId="{CE4D7E3A-9DA7-8A4A-9618-2DB648078BAE}" srcOrd="0" destOrd="0" presId="urn:microsoft.com/office/officeart/2008/layout/HalfCircleOrganizationChart"/>
    <dgm:cxn modelId="{8CBF560C-9B2D-3943-8C65-8F463D05BED5}" type="presOf" srcId="{29F617BF-3610-8D4A-A1B4-C3946FA16A34}" destId="{4BED0DC1-3193-7A4B-B93B-2EE7B7470BB8}" srcOrd="0" destOrd="0" presId="urn:microsoft.com/office/officeart/2008/layout/HalfCircleOrganizationChart"/>
    <dgm:cxn modelId="{D8AF5A12-3778-344C-A7EE-56D1DA020471}" type="presOf" srcId="{E7333A75-24DE-3646-952C-2A3222BEA4A2}" destId="{B7168F34-4FFA-D44B-B72B-EF9734723A89}" srcOrd="0" destOrd="0" presId="urn:microsoft.com/office/officeart/2008/layout/HalfCircleOrganizationChart"/>
    <dgm:cxn modelId="{886BC012-FA7E-B340-B436-9BD6C61B8202}" srcId="{1900BAC5-5BD9-BA49-B272-BFBD039A2A27}" destId="{2A034FC8-8316-764F-A1A2-D6B94092D62D}" srcOrd="2" destOrd="0" parTransId="{9230466E-B07A-264A-9256-DDD0614EB2E3}" sibTransId="{875FA944-5604-6149-8B24-CE617911305E}"/>
    <dgm:cxn modelId="{FAE71E13-DFEC-3E4F-858E-AF091CE04121}" srcId="{4E31D763-C02E-7947-B83C-E552F0A47D80}" destId="{2772714E-973D-9A4B-A096-BBDBA9F1B306}" srcOrd="0" destOrd="0" parTransId="{9FF255BF-57AD-ED4C-A8E2-396B9483FA8D}" sibTransId="{E3BCC67D-96B6-E04D-8B71-D000C3E98B39}"/>
    <dgm:cxn modelId="{00FEBE16-8FD6-644A-81DC-0D5CD5A2E964}" type="presOf" srcId="{242B7862-4A19-FA48-80D3-D4CE7BD25F89}" destId="{1C1A32D8-4372-F348-A22B-AF9C117DEDA9}" srcOrd="0" destOrd="0" presId="urn:microsoft.com/office/officeart/2008/layout/HalfCircleOrganizationChart"/>
    <dgm:cxn modelId="{4AEF6017-5F52-3947-B20B-7FBA402B4527}" type="presOf" srcId="{74D18A44-98F4-654F-A5EF-8A2382480F38}" destId="{5C1BB5E0-64D3-EF4D-8CEE-4D7EFEC61109}" srcOrd="1" destOrd="0" presId="urn:microsoft.com/office/officeart/2008/layout/HalfCircleOrganizationChart"/>
    <dgm:cxn modelId="{6E0F301B-CA6B-6C41-8E7E-B8BA56B09E97}" srcId="{4E31D763-C02E-7947-B83C-E552F0A47D80}" destId="{74D18A44-98F4-654F-A5EF-8A2382480F38}" srcOrd="1" destOrd="0" parTransId="{1C8EFBEB-6F60-A340-8EE3-E23743273B78}" sibTransId="{1EB05280-D5F9-FE4E-A415-5A747D2178B0}"/>
    <dgm:cxn modelId="{CC88A01F-4954-3343-9E07-24A4787CEA6C}" type="presOf" srcId="{1900BAC5-5BD9-BA49-B272-BFBD039A2A27}" destId="{94D195E9-A2A1-F043-97F7-B47E894012A3}" srcOrd="0" destOrd="0" presId="urn:microsoft.com/office/officeart/2008/layout/HalfCircleOrganizationChart"/>
    <dgm:cxn modelId="{FFA89132-0B81-494E-991A-56EAE06BCCFE}" type="presOf" srcId="{2772714E-973D-9A4B-A096-BBDBA9F1B306}" destId="{9F1D5F93-F3BE-E241-909F-69CE1D22A002}" srcOrd="1" destOrd="0" presId="urn:microsoft.com/office/officeart/2008/layout/HalfCircleOrganizationChart"/>
    <dgm:cxn modelId="{5FD08A35-9DAE-1E4A-B660-9FEE8E32D023}" srcId="{2772714E-973D-9A4B-A096-BBDBA9F1B306}" destId="{8D3E0E25-85A3-814F-9093-A3ED78E0B395}" srcOrd="1" destOrd="0" parTransId="{D0E1ED33-D0F6-D246-96E5-54208DB01216}" sibTransId="{57C98708-2E26-0443-AD4B-247781B28006}"/>
    <dgm:cxn modelId="{A0B0B737-4EB3-E742-A086-79AF178558EB}" type="presOf" srcId="{9230466E-B07A-264A-9256-DDD0614EB2E3}" destId="{F2D67BAF-D7E2-264D-BAFA-EC352EEB524C}" srcOrd="0" destOrd="0" presId="urn:microsoft.com/office/officeart/2008/layout/HalfCircleOrganizationChart"/>
    <dgm:cxn modelId="{F4761D5F-AAB3-4146-8ABA-44BE9A8A9F57}" type="presOf" srcId="{2A034FC8-8316-764F-A1A2-D6B94092D62D}" destId="{A517E462-34D6-1948-ADE2-D053BA6A4BE6}" srcOrd="1" destOrd="0" presId="urn:microsoft.com/office/officeart/2008/layout/HalfCircleOrganizationChart"/>
    <dgm:cxn modelId="{1C678264-8B17-E54B-AE7C-91EAA27E4E66}" srcId="{9DBF6000-A91B-124F-954C-A8DA8F4613F4}" destId="{5331D0D9-0819-F545-AD99-5813F0314242}" srcOrd="1" destOrd="0" parTransId="{E7333A75-24DE-3646-952C-2A3222BEA4A2}" sibTransId="{9A37DD6C-DDD3-464C-975C-1C445CED33A0}"/>
    <dgm:cxn modelId="{A3206165-03FA-C64D-81B2-22FC5AB25650}" srcId="{9DBF6000-A91B-124F-954C-A8DA8F4613F4}" destId="{242B7862-4A19-FA48-80D3-D4CE7BD25F89}" srcOrd="0" destOrd="0" parTransId="{F76D0011-F44F-7F4C-8A98-ADB1727C8E4D}" sibTransId="{C91CCCB5-03AE-3A48-A112-85E70DCA62CE}"/>
    <dgm:cxn modelId="{E80E1849-AE8D-634F-BB98-674E53CB7F08}" type="presOf" srcId="{4E31D763-C02E-7947-B83C-E552F0A47D80}" destId="{C6743DA2-10F9-AF4B-AC39-F0A509B4A82E}" srcOrd="0" destOrd="0" presId="urn:microsoft.com/office/officeart/2008/layout/HalfCircleOrganizationChart"/>
    <dgm:cxn modelId="{C44FA769-6FBB-904B-B3A3-F96EF5CD6596}" type="presOf" srcId="{EF21A560-2835-B14D-8CA7-95E39F970A90}" destId="{034B6C41-73A7-3141-B1E4-333876E8CE54}" srcOrd="0" destOrd="0" presId="urn:microsoft.com/office/officeart/2008/layout/HalfCircleOrganizationChart"/>
    <dgm:cxn modelId="{999A434A-F4C3-BD4F-AE56-4B8F404EB6E1}" srcId="{1900BAC5-5BD9-BA49-B272-BFBD039A2A27}" destId="{490F4CC9-CDE0-A449-B9B9-F80B2812A5A0}" srcOrd="1" destOrd="0" parTransId="{7C56106A-AC66-D24B-BD08-D52523F708CE}" sibTransId="{3E34B837-BB29-B848-A396-7D79A3C64B7E}"/>
    <dgm:cxn modelId="{AB96F971-0FC3-9040-A898-FBB7E6D1821D}" type="presOf" srcId="{F76D0011-F44F-7F4C-8A98-ADB1727C8E4D}" destId="{F4929D6C-2FF4-3749-B93A-6BB8D65DB5FE}" srcOrd="0" destOrd="0" presId="urn:microsoft.com/office/officeart/2008/layout/HalfCircleOrganizationChart"/>
    <dgm:cxn modelId="{5F8D0474-3A94-0A49-96E4-2CCBFF7A5106}" type="presOf" srcId="{824A951D-6863-8F4D-8D89-E51D1F3F02C6}" destId="{5AD0E8CA-1D8A-0A4B-8B8C-895226453EC9}" srcOrd="1" destOrd="0" presId="urn:microsoft.com/office/officeart/2008/layout/HalfCircleOrganizationChart"/>
    <dgm:cxn modelId="{AF69265A-A71A-A941-81FA-2FAC224E008C}" type="presOf" srcId="{7C56106A-AC66-D24B-BD08-D52523F708CE}" destId="{CABD24BD-BB19-024B-BB4A-C05ED21703C2}" srcOrd="0" destOrd="0" presId="urn:microsoft.com/office/officeart/2008/layout/HalfCircleOrganizationChart"/>
    <dgm:cxn modelId="{56EA8C7A-AE2A-8A4C-90B3-8378E23B0FAE}" srcId="{2772714E-973D-9A4B-A096-BBDBA9F1B306}" destId="{1900BAC5-5BD9-BA49-B272-BFBD039A2A27}" srcOrd="3" destOrd="0" parTransId="{EF21A560-2835-B14D-8CA7-95E39F970A90}" sibTransId="{B2182DD1-0F33-EB43-8DAF-15A8925FBA06}"/>
    <dgm:cxn modelId="{B4672480-3208-9D48-BEF8-1A3D3514466B}" type="presOf" srcId="{242B7862-4A19-FA48-80D3-D4CE7BD25F89}" destId="{7DD9A041-FC4A-0F4D-A117-35FB48C4305F}" srcOrd="1" destOrd="0" presId="urn:microsoft.com/office/officeart/2008/layout/HalfCircleOrganizationChart"/>
    <dgm:cxn modelId="{A4390487-A0D2-D043-98E1-B3F427124748}" type="presOf" srcId="{824A951D-6863-8F4D-8D89-E51D1F3F02C6}" destId="{8F9AF30B-A2CC-8046-8557-F66CDB4616DB}" srcOrd="0" destOrd="0" presId="urn:microsoft.com/office/officeart/2008/layout/HalfCircleOrganizationChart"/>
    <dgm:cxn modelId="{2E33F794-72AB-1F47-9428-8B061EB75A85}" type="presOf" srcId="{490F4CC9-CDE0-A449-B9B9-F80B2812A5A0}" destId="{1C9FF72F-0085-BC48-BAC9-449C8B5A5736}" srcOrd="0" destOrd="0" presId="urn:microsoft.com/office/officeart/2008/layout/HalfCircleOrganizationChart"/>
    <dgm:cxn modelId="{5E44F89E-A335-9F41-9270-FE3082EECB9D}" type="presOf" srcId="{1900BAC5-5BD9-BA49-B272-BFBD039A2A27}" destId="{97F2726C-B427-5545-A726-A7123923001A}" srcOrd="1" destOrd="0" presId="urn:microsoft.com/office/officeart/2008/layout/HalfCircleOrganizationChart"/>
    <dgm:cxn modelId="{671CBDA7-259E-1A4B-BE2C-294AFD8B5114}" type="presOf" srcId="{8D3E0E25-85A3-814F-9093-A3ED78E0B395}" destId="{939603A9-4207-7240-8F09-55285DCBCD80}" srcOrd="0" destOrd="0" presId="urn:microsoft.com/office/officeart/2008/layout/HalfCircleOrganizationChart"/>
    <dgm:cxn modelId="{A526BEB0-9EBF-3747-889D-05C34486A1B7}" type="presOf" srcId="{8D3E0E25-85A3-814F-9093-A3ED78E0B395}" destId="{0B3E1FEE-295B-6D40-98D4-F414C20B4E01}" srcOrd="1" destOrd="0" presId="urn:microsoft.com/office/officeart/2008/layout/HalfCircleOrganizationChart"/>
    <dgm:cxn modelId="{DC2C85B1-F0DA-C54F-AF57-6D8FED441649}" type="presOf" srcId="{490F4CC9-CDE0-A449-B9B9-F80B2812A5A0}" destId="{1230DAD0-117A-EE4A-9680-90854AC7B0FC}" srcOrd="1" destOrd="0" presId="urn:microsoft.com/office/officeart/2008/layout/HalfCircleOrganizationChart"/>
    <dgm:cxn modelId="{02A837B7-E806-3346-8BF0-ABE81F6A161D}" type="presOf" srcId="{2A034FC8-8316-764F-A1A2-D6B94092D62D}" destId="{3C7AAECD-3287-3347-85F8-8A0254EDEF09}" srcOrd="0" destOrd="0" presId="urn:microsoft.com/office/officeart/2008/layout/HalfCircleOrganizationChart"/>
    <dgm:cxn modelId="{A42D13C9-FE73-624C-8CB5-EF9D6706DEBB}" type="presOf" srcId="{D0E1ED33-D0F6-D246-96E5-54208DB01216}" destId="{FEC3A007-B972-2D48-B89F-37819799B5BD}" srcOrd="0" destOrd="0" presId="urn:microsoft.com/office/officeart/2008/layout/HalfCircleOrganizationChart"/>
    <dgm:cxn modelId="{70A988CC-246E-8E42-A6FE-84CC88F2E28A}" type="presOf" srcId="{74D18A44-98F4-654F-A5EF-8A2382480F38}" destId="{01A472CB-D92E-0B44-B308-709A962B8A93}" srcOrd="0" destOrd="0" presId="urn:microsoft.com/office/officeart/2008/layout/HalfCircleOrganizationChart"/>
    <dgm:cxn modelId="{BEC394CC-BE79-594E-860C-FCE7B7731A8C}" type="presOf" srcId="{3246205F-D496-1647-8075-4A09E457AA36}" destId="{7B3839A3-7145-C848-BDC1-3AF438D43DA0}" srcOrd="1" destOrd="0" presId="urn:microsoft.com/office/officeart/2008/layout/HalfCircleOrganizationChart"/>
    <dgm:cxn modelId="{E47326D6-6B11-9147-ABB7-39291BC91A4C}" type="presOf" srcId="{5331D0D9-0819-F545-AD99-5813F0314242}" destId="{3FE2DB13-DF7C-964D-83A5-E0F2F9D88B03}" srcOrd="0" destOrd="0" presId="urn:microsoft.com/office/officeart/2008/layout/HalfCircleOrganizationChart"/>
    <dgm:cxn modelId="{44F6C1D7-4279-1C4F-B68F-7D83712DCA5D}" srcId="{2772714E-973D-9A4B-A096-BBDBA9F1B306}" destId="{9DBF6000-A91B-124F-954C-A8DA8F4613F4}" srcOrd="0" destOrd="0" parTransId="{C740A2E3-2CCD-ED45-861E-9CB537D83FBE}" sibTransId="{0974E83F-165E-1F41-91A3-FDF2054E1CB8}"/>
    <dgm:cxn modelId="{A965BBE6-BF46-2C40-B641-43577CA81C49}" type="presOf" srcId="{2772714E-973D-9A4B-A096-BBDBA9F1B306}" destId="{CE0A816C-48B0-854D-A133-94168AF51294}" srcOrd="0" destOrd="0" presId="urn:microsoft.com/office/officeart/2008/layout/HalfCircleOrganizationChart"/>
    <dgm:cxn modelId="{B130C8E6-32E8-054B-A1F9-1A9213A444FE}" type="presOf" srcId="{18337D6B-C13E-5C46-B257-BB68A7525402}" destId="{F8C4A437-C2BA-884D-8EB4-9B6CF8DB2D75}" srcOrd="0" destOrd="0" presId="urn:microsoft.com/office/officeart/2008/layout/HalfCircleOrganizationChart"/>
    <dgm:cxn modelId="{D6E5F6E9-95DE-2D48-8315-8CA7C8826879}" srcId="{2772714E-973D-9A4B-A096-BBDBA9F1B306}" destId="{3246205F-D496-1647-8075-4A09E457AA36}" srcOrd="2" destOrd="0" parTransId="{18337D6B-C13E-5C46-B257-BB68A7525402}" sibTransId="{BDED1E7C-C594-D143-B2F6-1FA5F8F14438}"/>
    <dgm:cxn modelId="{4DFEDDEB-0E27-5549-B856-63B2B8E38698}" type="presOf" srcId="{9DBF6000-A91B-124F-954C-A8DA8F4613F4}" destId="{192F6587-BC9D-B148-BD56-699A7DF9E014}" srcOrd="0" destOrd="0" presId="urn:microsoft.com/office/officeart/2008/layout/HalfCircleOrganizationChart"/>
    <dgm:cxn modelId="{0CDD18F0-99B1-E849-BC96-1AB88FB6C7AC}" type="presOf" srcId="{5331D0D9-0819-F545-AD99-5813F0314242}" destId="{093C9E29-F708-3144-B2C8-180B647958B1}" srcOrd="1" destOrd="0" presId="urn:microsoft.com/office/officeart/2008/layout/HalfCircleOrganizationChart"/>
    <dgm:cxn modelId="{C7144DF5-021B-6E42-8BC9-6CED22BB4AA8}" type="presOf" srcId="{C740A2E3-2CCD-ED45-861E-9CB537D83FBE}" destId="{33993257-039C-814E-86BE-F2DECB0449C5}" srcOrd="0" destOrd="0" presId="urn:microsoft.com/office/officeart/2008/layout/HalfCircleOrganizationChart"/>
    <dgm:cxn modelId="{33CF26F6-D278-8648-9B10-33E8134A6E8E}" srcId="{1900BAC5-5BD9-BA49-B272-BFBD039A2A27}" destId="{824A951D-6863-8F4D-8D89-E51D1F3F02C6}" srcOrd="0" destOrd="0" parTransId="{29F617BF-3610-8D4A-A1B4-C3946FA16A34}" sibTransId="{C6D8A587-49A1-8544-AD8E-16C80C40CD3E}"/>
    <dgm:cxn modelId="{DAF604F8-0E2E-9642-AE39-27BF1C8E3FE8}" type="presOf" srcId="{9DBF6000-A91B-124F-954C-A8DA8F4613F4}" destId="{DEB20267-406F-1348-B515-8DF4DA3851D8}" srcOrd="1" destOrd="0" presId="urn:microsoft.com/office/officeart/2008/layout/HalfCircleOrganizationChart"/>
    <dgm:cxn modelId="{D9352B7C-1A58-CC48-B15C-28030957639B}" type="presParOf" srcId="{C6743DA2-10F9-AF4B-AC39-F0A509B4A82E}" destId="{066013A0-5041-4849-B2B0-EB88F6D0B396}" srcOrd="0" destOrd="0" presId="urn:microsoft.com/office/officeart/2008/layout/HalfCircleOrganizationChart"/>
    <dgm:cxn modelId="{29982D3B-4DF8-964F-9C09-D3C36B7B9AC6}" type="presParOf" srcId="{066013A0-5041-4849-B2B0-EB88F6D0B396}" destId="{EF276EC7-2B0E-094B-B166-7EFEB543F2D5}" srcOrd="0" destOrd="0" presId="urn:microsoft.com/office/officeart/2008/layout/HalfCircleOrganizationChart"/>
    <dgm:cxn modelId="{E9310BFE-2E4D-CD4E-A76C-6BD3BE8649C2}" type="presParOf" srcId="{EF276EC7-2B0E-094B-B166-7EFEB543F2D5}" destId="{CE0A816C-48B0-854D-A133-94168AF51294}" srcOrd="0" destOrd="0" presId="urn:microsoft.com/office/officeart/2008/layout/HalfCircleOrganizationChart"/>
    <dgm:cxn modelId="{47226987-5A4C-7341-9A3C-999A6085DC35}" type="presParOf" srcId="{EF276EC7-2B0E-094B-B166-7EFEB543F2D5}" destId="{11F354D1-A656-2040-9962-57753BA0D32F}" srcOrd="1" destOrd="0" presId="urn:microsoft.com/office/officeart/2008/layout/HalfCircleOrganizationChart"/>
    <dgm:cxn modelId="{A37FD5A0-685F-8542-96A3-D247BB74E8CB}" type="presParOf" srcId="{EF276EC7-2B0E-094B-B166-7EFEB543F2D5}" destId="{4E6039AD-BFFF-3542-9EE5-5A1197BC392F}" srcOrd="2" destOrd="0" presId="urn:microsoft.com/office/officeart/2008/layout/HalfCircleOrganizationChart"/>
    <dgm:cxn modelId="{BDE2CEC3-64C6-EB41-93B9-A4069A7158F2}" type="presParOf" srcId="{EF276EC7-2B0E-094B-B166-7EFEB543F2D5}" destId="{9F1D5F93-F3BE-E241-909F-69CE1D22A002}" srcOrd="3" destOrd="0" presId="urn:microsoft.com/office/officeart/2008/layout/HalfCircleOrganizationChart"/>
    <dgm:cxn modelId="{16C647AE-B5C9-F843-81A1-C2CA0FCA5761}" type="presParOf" srcId="{066013A0-5041-4849-B2B0-EB88F6D0B396}" destId="{D5C42F4F-AC0E-6349-9CA6-A1401CFBAD6F}" srcOrd="1" destOrd="0" presId="urn:microsoft.com/office/officeart/2008/layout/HalfCircleOrganizationChart"/>
    <dgm:cxn modelId="{6EE69637-CC57-0E42-A344-EA4F8BC494F4}" type="presParOf" srcId="{D5C42F4F-AC0E-6349-9CA6-A1401CFBAD6F}" destId="{FEC3A007-B972-2D48-B89F-37819799B5BD}" srcOrd="0" destOrd="0" presId="urn:microsoft.com/office/officeart/2008/layout/HalfCircleOrganizationChart"/>
    <dgm:cxn modelId="{AA1C0F95-C017-F644-B255-8391DFA7733D}" type="presParOf" srcId="{D5C42F4F-AC0E-6349-9CA6-A1401CFBAD6F}" destId="{EBA8FC70-8494-D54F-A21F-F39D4D9936FD}" srcOrd="1" destOrd="0" presId="urn:microsoft.com/office/officeart/2008/layout/HalfCircleOrganizationChart"/>
    <dgm:cxn modelId="{AA641FBA-BEE3-EB42-B350-A80D29FE109B}" type="presParOf" srcId="{EBA8FC70-8494-D54F-A21F-F39D4D9936FD}" destId="{26A0307B-EBD7-FD41-B0A3-9B4F95C835C8}" srcOrd="0" destOrd="0" presId="urn:microsoft.com/office/officeart/2008/layout/HalfCircleOrganizationChart"/>
    <dgm:cxn modelId="{886D14D5-EC5A-E146-974C-6DD74B48A182}" type="presParOf" srcId="{26A0307B-EBD7-FD41-B0A3-9B4F95C835C8}" destId="{939603A9-4207-7240-8F09-55285DCBCD80}" srcOrd="0" destOrd="0" presId="urn:microsoft.com/office/officeart/2008/layout/HalfCircleOrganizationChart"/>
    <dgm:cxn modelId="{4DF0200D-069E-E942-AA3B-B2B51781C01B}" type="presParOf" srcId="{26A0307B-EBD7-FD41-B0A3-9B4F95C835C8}" destId="{BE3EDBDB-4068-AD44-BCE3-E0CCFA782D65}" srcOrd="1" destOrd="0" presId="urn:microsoft.com/office/officeart/2008/layout/HalfCircleOrganizationChart"/>
    <dgm:cxn modelId="{7273054A-8761-2D4B-98F0-24A1B9E1BDE2}" type="presParOf" srcId="{26A0307B-EBD7-FD41-B0A3-9B4F95C835C8}" destId="{3D37E8DD-7288-CC40-95C4-F1303EEECC3D}" srcOrd="2" destOrd="0" presId="urn:microsoft.com/office/officeart/2008/layout/HalfCircleOrganizationChart"/>
    <dgm:cxn modelId="{EB6F7FBB-6084-1E46-AC74-0A506A889020}" type="presParOf" srcId="{26A0307B-EBD7-FD41-B0A3-9B4F95C835C8}" destId="{0B3E1FEE-295B-6D40-98D4-F414C20B4E01}" srcOrd="3" destOrd="0" presId="urn:microsoft.com/office/officeart/2008/layout/HalfCircleOrganizationChart"/>
    <dgm:cxn modelId="{68A9E75E-6225-824C-8542-FB24DF9A4EEA}" type="presParOf" srcId="{EBA8FC70-8494-D54F-A21F-F39D4D9936FD}" destId="{5680E866-15FA-FE46-B09A-6C2523BCFA1F}" srcOrd="1" destOrd="0" presId="urn:microsoft.com/office/officeart/2008/layout/HalfCircleOrganizationChart"/>
    <dgm:cxn modelId="{4CD818CE-A7EF-4A42-8DE5-6E9DDF81FA9F}" type="presParOf" srcId="{EBA8FC70-8494-D54F-A21F-F39D4D9936FD}" destId="{2046F661-F511-9B40-BA1B-7376D2328FA2}" srcOrd="2" destOrd="0" presId="urn:microsoft.com/office/officeart/2008/layout/HalfCircleOrganizationChart"/>
    <dgm:cxn modelId="{7A7717D2-942D-EA4A-A7CB-C7260DBF0651}" type="presParOf" srcId="{D5C42F4F-AC0E-6349-9CA6-A1401CFBAD6F}" destId="{F8C4A437-C2BA-884D-8EB4-9B6CF8DB2D75}" srcOrd="2" destOrd="0" presId="urn:microsoft.com/office/officeart/2008/layout/HalfCircleOrganizationChart"/>
    <dgm:cxn modelId="{2007D739-BA4E-0A4A-B369-93DAF1A3F71F}" type="presParOf" srcId="{D5C42F4F-AC0E-6349-9CA6-A1401CFBAD6F}" destId="{681BAD8A-2D7A-EB41-B001-0606A890180B}" srcOrd="3" destOrd="0" presId="urn:microsoft.com/office/officeart/2008/layout/HalfCircleOrganizationChart"/>
    <dgm:cxn modelId="{87C7CE6C-458A-4842-991B-B14FBDAEB5C4}" type="presParOf" srcId="{681BAD8A-2D7A-EB41-B001-0606A890180B}" destId="{8B40D740-8727-DA41-8BE0-DD2959EA620D}" srcOrd="0" destOrd="0" presId="urn:microsoft.com/office/officeart/2008/layout/HalfCircleOrganizationChart"/>
    <dgm:cxn modelId="{FA44A9A0-92B5-0F46-A468-083C7B2F6561}" type="presParOf" srcId="{8B40D740-8727-DA41-8BE0-DD2959EA620D}" destId="{CE4D7E3A-9DA7-8A4A-9618-2DB648078BAE}" srcOrd="0" destOrd="0" presId="urn:microsoft.com/office/officeart/2008/layout/HalfCircleOrganizationChart"/>
    <dgm:cxn modelId="{DC2C4257-A792-A94C-923A-9CEDC5F4DE46}" type="presParOf" srcId="{8B40D740-8727-DA41-8BE0-DD2959EA620D}" destId="{60622461-AA2A-2846-999F-E080E763448D}" srcOrd="1" destOrd="0" presId="urn:microsoft.com/office/officeart/2008/layout/HalfCircleOrganizationChart"/>
    <dgm:cxn modelId="{D109DF0F-20DE-3D43-B8A7-F8F8A8443C80}" type="presParOf" srcId="{8B40D740-8727-DA41-8BE0-DD2959EA620D}" destId="{A7058610-08AC-6447-87BD-045C772D12AF}" srcOrd="2" destOrd="0" presId="urn:microsoft.com/office/officeart/2008/layout/HalfCircleOrganizationChart"/>
    <dgm:cxn modelId="{0849F3EC-C823-2A48-BFD1-A5C20E201C97}" type="presParOf" srcId="{8B40D740-8727-DA41-8BE0-DD2959EA620D}" destId="{7B3839A3-7145-C848-BDC1-3AF438D43DA0}" srcOrd="3" destOrd="0" presId="urn:microsoft.com/office/officeart/2008/layout/HalfCircleOrganizationChart"/>
    <dgm:cxn modelId="{5F33EEA7-C4B3-A54C-90B7-DD1E58AC41AC}" type="presParOf" srcId="{681BAD8A-2D7A-EB41-B001-0606A890180B}" destId="{9F7274DB-10A7-8247-91D1-ED62A180F28C}" srcOrd="1" destOrd="0" presId="urn:microsoft.com/office/officeart/2008/layout/HalfCircleOrganizationChart"/>
    <dgm:cxn modelId="{12FFDCCE-E8B1-F84A-84A0-39BB2227E332}" type="presParOf" srcId="{681BAD8A-2D7A-EB41-B001-0606A890180B}" destId="{0A3C51DD-4BD3-194A-BCFF-7B2E0F2A7D4C}" srcOrd="2" destOrd="0" presId="urn:microsoft.com/office/officeart/2008/layout/HalfCircleOrganizationChart"/>
    <dgm:cxn modelId="{D0EF3D73-5EA2-454D-91D7-4325258D40E2}" type="presParOf" srcId="{D5C42F4F-AC0E-6349-9CA6-A1401CFBAD6F}" destId="{034B6C41-73A7-3141-B1E4-333876E8CE54}" srcOrd="4" destOrd="0" presId="urn:microsoft.com/office/officeart/2008/layout/HalfCircleOrganizationChart"/>
    <dgm:cxn modelId="{D1D79B70-4D12-334D-98CB-BD30E847A90D}" type="presParOf" srcId="{D5C42F4F-AC0E-6349-9CA6-A1401CFBAD6F}" destId="{54C9A7C1-BCFF-3A42-9B22-7FDE92083545}" srcOrd="5" destOrd="0" presId="urn:microsoft.com/office/officeart/2008/layout/HalfCircleOrganizationChart"/>
    <dgm:cxn modelId="{0C69C8ED-8799-DE49-9A6E-9204035B0E0F}" type="presParOf" srcId="{54C9A7C1-BCFF-3A42-9B22-7FDE92083545}" destId="{F15DC8DD-1A5E-9845-9434-983D9AC1EE36}" srcOrd="0" destOrd="0" presId="urn:microsoft.com/office/officeart/2008/layout/HalfCircleOrganizationChart"/>
    <dgm:cxn modelId="{D3791DCF-754B-D04B-B0B9-EE127A77EA6D}" type="presParOf" srcId="{F15DC8DD-1A5E-9845-9434-983D9AC1EE36}" destId="{94D195E9-A2A1-F043-97F7-B47E894012A3}" srcOrd="0" destOrd="0" presId="urn:microsoft.com/office/officeart/2008/layout/HalfCircleOrganizationChart"/>
    <dgm:cxn modelId="{34A7C0B7-68FD-2E4E-A4C6-6C239001252F}" type="presParOf" srcId="{F15DC8DD-1A5E-9845-9434-983D9AC1EE36}" destId="{059D912F-191E-C74F-A5B6-74B41C558BB6}" srcOrd="1" destOrd="0" presId="urn:microsoft.com/office/officeart/2008/layout/HalfCircleOrganizationChart"/>
    <dgm:cxn modelId="{44597EA7-B426-7A49-B2F1-236972DA0288}" type="presParOf" srcId="{F15DC8DD-1A5E-9845-9434-983D9AC1EE36}" destId="{338F2141-43EB-1342-8F52-93F783BAD1CB}" srcOrd="2" destOrd="0" presId="urn:microsoft.com/office/officeart/2008/layout/HalfCircleOrganizationChart"/>
    <dgm:cxn modelId="{795381A6-F2C3-844B-A0DA-C1EDDE94A9A2}" type="presParOf" srcId="{F15DC8DD-1A5E-9845-9434-983D9AC1EE36}" destId="{97F2726C-B427-5545-A726-A7123923001A}" srcOrd="3" destOrd="0" presId="urn:microsoft.com/office/officeart/2008/layout/HalfCircleOrganizationChart"/>
    <dgm:cxn modelId="{152D2E39-7364-5C42-B2FF-AC04497DA73D}" type="presParOf" srcId="{54C9A7C1-BCFF-3A42-9B22-7FDE92083545}" destId="{85E0301B-2CAD-8E4B-85B2-FE9A2A6E96B6}" srcOrd="1" destOrd="0" presId="urn:microsoft.com/office/officeart/2008/layout/HalfCircleOrganizationChart"/>
    <dgm:cxn modelId="{04F531F8-9A09-0847-8306-3419788CFDD7}" type="presParOf" srcId="{85E0301B-2CAD-8E4B-85B2-FE9A2A6E96B6}" destId="{4BED0DC1-3193-7A4B-B93B-2EE7B7470BB8}" srcOrd="0" destOrd="0" presId="urn:microsoft.com/office/officeart/2008/layout/HalfCircleOrganizationChart"/>
    <dgm:cxn modelId="{C2966854-DF75-904D-B9F7-61F89E6A5BE0}" type="presParOf" srcId="{85E0301B-2CAD-8E4B-85B2-FE9A2A6E96B6}" destId="{9E9DF9C3-1F48-D04F-8B47-69A57D7E9E8A}" srcOrd="1" destOrd="0" presId="urn:microsoft.com/office/officeart/2008/layout/HalfCircleOrganizationChart"/>
    <dgm:cxn modelId="{C4AF4D67-0AE6-C143-A4D6-DCEF9DD8EB9C}" type="presParOf" srcId="{9E9DF9C3-1F48-D04F-8B47-69A57D7E9E8A}" destId="{FA94E709-901A-9246-BAA0-972CE88F5C27}" srcOrd="0" destOrd="0" presId="urn:microsoft.com/office/officeart/2008/layout/HalfCircleOrganizationChart"/>
    <dgm:cxn modelId="{6C2319A7-F54C-2F4D-838C-6FC21009E97A}" type="presParOf" srcId="{FA94E709-901A-9246-BAA0-972CE88F5C27}" destId="{8F9AF30B-A2CC-8046-8557-F66CDB4616DB}" srcOrd="0" destOrd="0" presId="urn:microsoft.com/office/officeart/2008/layout/HalfCircleOrganizationChart"/>
    <dgm:cxn modelId="{E60EFDB8-44DC-EC46-A357-6A76D857C801}" type="presParOf" srcId="{FA94E709-901A-9246-BAA0-972CE88F5C27}" destId="{239E4CE9-F1B3-064A-956E-00024CDFB85E}" srcOrd="1" destOrd="0" presId="urn:microsoft.com/office/officeart/2008/layout/HalfCircleOrganizationChart"/>
    <dgm:cxn modelId="{45200E5D-A545-8443-813E-F7C4D6384A40}" type="presParOf" srcId="{FA94E709-901A-9246-BAA0-972CE88F5C27}" destId="{39D7A3FD-0F03-6640-9CE6-614B221EDDA9}" srcOrd="2" destOrd="0" presId="urn:microsoft.com/office/officeart/2008/layout/HalfCircleOrganizationChart"/>
    <dgm:cxn modelId="{77C516FF-41AB-1E41-BD10-5C3E2F851825}" type="presParOf" srcId="{FA94E709-901A-9246-BAA0-972CE88F5C27}" destId="{5AD0E8CA-1D8A-0A4B-8B8C-895226453EC9}" srcOrd="3" destOrd="0" presId="urn:microsoft.com/office/officeart/2008/layout/HalfCircleOrganizationChart"/>
    <dgm:cxn modelId="{DBCAEE4A-E3DA-834F-A5A4-965098664B0B}" type="presParOf" srcId="{9E9DF9C3-1F48-D04F-8B47-69A57D7E9E8A}" destId="{4855BCC9-A85D-AB44-B464-E20C7BD009D2}" srcOrd="1" destOrd="0" presId="urn:microsoft.com/office/officeart/2008/layout/HalfCircleOrganizationChart"/>
    <dgm:cxn modelId="{0411356E-F380-B84A-952F-F2AC90645244}" type="presParOf" srcId="{9E9DF9C3-1F48-D04F-8B47-69A57D7E9E8A}" destId="{B5CC8B72-511D-1243-BFC0-859787C1180F}" srcOrd="2" destOrd="0" presId="urn:microsoft.com/office/officeart/2008/layout/HalfCircleOrganizationChart"/>
    <dgm:cxn modelId="{FFD308BB-FACA-D840-A975-EBC3327A1AEF}" type="presParOf" srcId="{85E0301B-2CAD-8E4B-85B2-FE9A2A6E96B6}" destId="{CABD24BD-BB19-024B-BB4A-C05ED21703C2}" srcOrd="2" destOrd="0" presId="urn:microsoft.com/office/officeart/2008/layout/HalfCircleOrganizationChart"/>
    <dgm:cxn modelId="{BE37FD0F-D6E1-9743-940B-0E89C29CAC42}" type="presParOf" srcId="{85E0301B-2CAD-8E4B-85B2-FE9A2A6E96B6}" destId="{5CE8D8B6-0247-B546-8C7F-88055A7EF4AB}" srcOrd="3" destOrd="0" presId="urn:microsoft.com/office/officeart/2008/layout/HalfCircleOrganizationChart"/>
    <dgm:cxn modelId="{FE8EC0B4-9918-1245-A917-370163D8ADDD}" type="presParOf" srcId="{5CE8D8B6-0247-B546-8C7F-88055A7EF4AB}" destId="{4E241EBC-2C98-C94F-8058-476E8B7531B5}" srcOrd="0" destOrd="0" presId="urn:microsoft.com/office/officeart/2008/layout/HalfCircleOrganizationChart"/>
    <dgm:cxn modelId="{C17C6146-4148-4B4E-9AD2-0548794B27A7}" type="presParOf" srcId="{4E241EBC-2C98-C94F-8058-476E8B7531B5}" destId="{1C9FF72F-0085-BC48-BAC9-449C8B5A5736}" srcOrd="0" destOrd="0" presId="urn:microsoft.com/office/officeart/2008/layout/HalfCircleOrganizationChart"/>
    <dgm:cxn modelId="{305CDD35-B056-5A46-B0FD-4688EB49DCE3}" type="presParOf" srcId="{4E241EBC-2C98-C94F-8058-476E8B7531B5}" destId="{B5C3D547-8EE1-1F45-ABC8-15FDC52FA85B}" srcOrd="1" destOrd="0" presId="urn:microsoft.com/office/officeart/2008/layout/HalfCircleOrganizationChart"/>
    <dgm:cxn modelId="{53B37636-ED0C-4849-850F-EC862B9554A8}" type="presParOf" srcId="{4E241EBC-2C98-C94F-8058-476E8B7531B5}" destId="{4A5182EE-894E-5F4A-A892-D00BB333DFD8}" srcOrd="2" destOrd="0" presId="urn:microsoft.com/office/officeart/2008/layout/HalfCircleOrganizationChart"/>
    <dgm:cxn modelId="{09B190E4-1DF8-7E4E-B261-C6F44AEE2EF2}" type="presParOf" srcId="{4E241EBC-2C98-C94F-8058-476E8B7531B5}" destId="{1230DAD0-117A-EE4A-9680-90854AC7B0FC}" srcOrd="3" destOrd="0" presId="urn:microsoft.com/office/officeart/2008/layout/HalfCircleOrganizationChart"/>
    <dgm:cxn modelId="{A778E240-76E2-EC40-B6E2-7A7BB9E340FE}" type="presParOf" srcId="{5CE8D8B6-0247-B546-8C7F-88055A7EF4AB}" destId="{771E15EA-C419-724A-A93D-9159ADA80D71}" srcOrd="1" destOrd="0" presId="urn:microsoft.com/office/officeart/2008/layout/HalfCircleOrganizationChart"/>
    <dgm:cxn modelId="{CCAA8D52-257B-8146-8DF7-5332E2F5C4F3}" type="presParOf" srcId="{5CE8D8B6-0247-B546-8C7F-88055A7EF4AB}" destId="{411DB15E-1CD9-9443-9719-FDBDBEE0F0F7}" srcOrd="2" destOrd="0" presId="urn:microsoft.com/office/officeart/2008/layout/HalfCircleOrganizationChart"/>
    <dgm:cxn modelId="{AF90EA9E-688C-0F40-B10B-BD4615B29925}" type="presParOf" srcId="{85E0301B-2CAD-8E4B-85B2-FE9A2A6E96B6}" destId="{F2D67BAF-D7E2-264D-BAFA-EC352EEB524C}" srcOrd="4" destOrd="0" presId="urn:microsoft.com/office/officeart/2008/layout/HalfCircleOrganizationChart"/>
    <dgm:cxn modelId="{C2D79702-1527-174B-8FC9-7B2267116B09}" type="presParOf" srcId="{85E0301B-2CAD-8E4B-85B2-FE9A2A6E96B6}" destId="{3C2EA054-B638-0540-9F45-2ADF39476C5E}" srcOrd="5" destOrd="0" presId="urn:microsoft.com/office/officeart/2008/layout/HalfCircleOrganizationChart"/>
    <dgm:cxn modelId="{5901CA0D-36C6-7243-8E8C-8A849F8F7FCA}" type="presParOf" srcId="{3C2EA054-B638-0540-9F45-2ADF39476C5E}" destId="{EB910DF1-95F3-2D4C-B367-3A662312CDB7}" srcOrd="0" destOrd="0" presId="urn:microsoft.com/office/officeart/2008/layout/HalfCircleOrganizationChart"/>
    <dgm:cxn modelId="{F52530AF-0AA3-A94C-BB14-7B1EB2BE6185}" type="presParOf" srcId="{EB910DF1-95F3-2D4C-B367-3A662312CDB7}" destId="{3C7AAECD-3287-3347-85F8-8A0254EDEF09}" srcOrd="0" destOrd="0" presId="urn:microsoft.com/office/officeart/2008/layout/HalfCircleOrganizationChart"/>
    <dgm:cxn modelId="{8DDB4798-365C-5548-AF60-EE28C023F853}" type="presParOf" srcId="{EB910DF1-95F3-2D4C-B367-3A662312CDB7}" destId="{0487B565-26AA-4A4C-9098-2601BC3A3AE5}" srcOrd="1" destOrd="0" presId="urn:microsoft.com/office/officeart/2008/layout/HalfCircleOrganizationChart"/>
    <dgm:cxn modelId="{8703A6FB-46A0-6740-B348-1BE475C44583}" type="presParOf" srcId="{EB910DF1-95F3-2D4C-B367-3A662312CDB7}" destId="{18DAE2CA-5F7F-D546-B240-2103C4CA8930}" srcOrd="2" destOrd="0" presId="urn:microsoft.com/office/officeart/2008/layout/HalfCircleOrganizationChart"/>
    <dgm:cxn modelId="{1DFC8544-B945-1340-B1CF-61A52BF771DC}" type="presParOf" srcId="{EB910DF1-95F3-2D4C-B367-3A662312CDB7}" destId="{A517E462-34D6-1948-ADE2-D053BA6A4BE6}" srcOrd="3" destOrd="0" presId="urn:microsoft.com/office/officeart/2008/layout/HalfCircleOrganizationChart"/>
    <dgm:cxn modelId="{80DCB78F-A5A9-5442-8084-BD46CAA600CD}" type="presParOf" srcId="{3C2EA054-B638-0540-9F45-2ADF39476C5E}" destId="{9091618C-50DC-EE45-96D7-8F817B987A9F}" srcOrd="1" destOrd="0" presId="urn:microsoft.com/office/officeart/2008/layout/HalfCircleOrganizationChart"/>
    <dgm:cxn modelId="{7BF157C0-5E83-E345-8F46-F9CE0BFB81EC}" type="presParOf" srcId="{3C2EA054-B638-0540-9F45-2ADF39476C5E}" destId="{DE571DD5-BC4C-F943-969C-7D89F2477D9D}" srcOrd="2" destOrd="0" presId="urn:microsoft.com/office/officeart/2008/layout/HalfCircleOrganizationChart"/>
    <dgm:cxn modelId="{C4F62D49-0112-AA47-BA66-DEC9B33878FD}" type="presParOf" srcId="{54C9A7C1-BCFF-3A42-9B22-7FDE92083545}" destId="{8ABAC782-766E-324A-ACA0-7989419CA23D}" srcOrd="2" destOrd="0" presId="urn:microsoft.com/office/officeart/2008/layout/HalfCircleOrganizationChart"/>
    <dgm:cxn modelId="{BA57B74A-89FE-3642-9950-3EA5FDB10FE0}" type="presParOf" srcId="{066013A0-5041-4849-B2B0-EB88F6D0B396}" destId="{27E2ED0A-E146-9846-8FCA-1ECDF2479EA3}" srcOrd="2" destOrd="0" presId="urn:microsoft.com/office/officeart/2008/layout/HalfCircleOrganizationChart"/>
    <dgm:cxn modelId="{D2771D74-6455-FB43-B45A-1200628CEDFE}" type="presParOf" srcId="{27E2ED0A-E146-9846-8FCA-1ECDF2479EA3}" destId="{33993257-039C-814E-86BE-F2DECB0449C5}" srcOrd="0" destOrd="0" presId="urn:microsoft.com/office/officeart/2008/layout/HalfCircleOrganizationChart"/>
    <dgm:cxn modelId="{BC7A6F8D-73A2-4244-BE1A-6229507B4269}" type="presParOf" srcId="{27E2ED0A-E146-9846-8FCA-1ECDF2479EA3}" destId="{62FFA459-584A-474E-B271-10FD16E31E45}" srcOrd="1" destOrd="0" presId="urn:microsoft.com/office/officeart/2008/layout/HalfCircleOrganizationChart"/>
    <dgm:cxn modelId="{C4E79DD0-6EC5-2940-911E-85DB42058F75}" type="presParOf" srcId="{62FFA459-584A-474E-B271-10FD16E31E45}" destId="{6F02B764-8A8A-EE43-AC57-2FC195394056}" srcOrd="0" destOrd="0" presId="urn:microsoft.com/office/officeart/2008/layout/HalfCircleOrganizationChart"/>
    <dgm:cxn modelId="{AD29C340-4343-B641-BD31-C533404F082D}" type="presParOf" srcId="{6F02B764-8A8A-EE43-AC57-2FC195394056}" destId="{192F6587-BC9D-B148-BD56-699A7DF9E014}" srcOrd="0" destOrd="0" presId="urn:microsoft.com/office/officeart/2008/layout/HalfCircleOrganizationChart"/>
    <dgm:cxn modelId="{EB6B61D3-323C-DF48-85BD-CE48AC5333BB}" type="presParOf" srcId="{6F02B764-8A8A-EE43-AC57-2FC195394056}" destId="{A929F802-CB94-4D4A-B6D3-EA17F7B7182F}" srcOrd="1" destOrd="0" presId="urn:microsoft.com/office/officeart/2008/layout/HalfCircleOrganizationChart"/>
    <dgm:cxn modelId="{8F529BD9-B294-E94F-85FB-CA915BF66833}" type="presParOf" srcId="{6F02B764-8A8A-EE43-AC57-2FC195394056}" destId="{66E55231-B618-114B-A3E4-204D741834AA}" srcOrd="2" destOrd="0" presId="urn:microsoft.com/office/officeart/2008/layout/HalfCircleOrganizationChart"/>
    <dgm:cxn modelId="{39BB3D75-46AF-AF49-A967-F7AEA2BA5253}" type="presParOf" srcId="{6F02B764-8A8A-EE43-AC57-2FC195394056}" destId="{DEB20267-406F-1348-B515-8DF4DA3851D8}" srcOrd="3" destOrd="0" presId="urn:microsoft.com/office/officeart/2008/layout/HalfCircleOrganizationChart"/>
    <dgm:cxn modelId="{79DA6632-11AA-844D-8789-37D601C7211B}" type="presParOf" srcId="{62FFA459-584A-474E-B271-10FD16E31E45}" destId="{65020C62-1CAD-0944-AC0E-990971C64D5A}" srcOrd="1" destOrd="0" presId="urn:microsoft.com/office/officeart/2008/layout/HalfCircleOrganizationChart"/>
    <dgm:cxn modelId="{5AFFAB62-EFF6-CD4A-B8B9-8DB525A9418B}" type="presParOf" srcId="{62FFA459-584A-474E-B271-10FD16E31E45}" destId="{DCD5CAED-1A00-594D-A389-9B55D75EC731}" srcOrd="2" destOrd="0" presId="urn:microsoft.com/office/officeart/2008/layout/HalfCircleOrganizationChart"/>
    <dgm:cxn modelId="{F84FA5ED-8DCD-F54E-9215-8201A479EEEC}" type="presParOf" srcId="{DCD5CAED-1A00-594D-A389-9B55D75EC731}" destId="{F4929D6C-2FF4-3749-B93A-6BB8D65DB5FE}" srcOrd="0" destOrd="0" presId="urn:microsoft.com/office/officeart/2008/layout/HalfCircleOrganizationChart"/>
    <dgm:cxn modelId="{65109B5A-A3FA-1743-8515-DCD525F2A57B}" type="presParOf" srcId="{DCD5CAED-1A00-594D-A389-9B55D75EC731}" destId="{CA9D7EBA-0C66-BC4A-A19F-0221DAC76B64}" srcOrd="1" destOrd="0" presId="urn:microsoft.com/office/officeart/2008/layout/HalfCircleOrganizationChart"/>
    <dgm:cxn modelId="{AFEF18AD-EABC-2344-87F9-C8ED36250695}" type="presParOf" srcId="{CA9D7EBA-0C66-BC4A-A19F-0221DAC76B64}" destId="{5BB79A10-594A-944E-B924-D77A0B06A6B3}" srcOrd="0" destOrd="0" presId="urn:microsoft.com/office/officeart/2008/layout/HalfCircleOrganizationChart"/>
    <dgm:cxn modelId="{06E5DB88-B4C8-4549-ADC7-04C1FB503F7B}" type="presParOf" srcId="{5BB79A10-594A-944E-B924-D77A0B06A6B3}" destId="{1C1A32D8-4372-F348-A22B-AF9C117DEDA9}" srcOrd="0" destOrd="0" presId="urn:microsoft.com/office/officeart/2008/layout/HalfCircleOrganizationChart"/>
    <dgm:cxn modelId="{252C449E-5C44-3640-A4BE-93F6433A6EA8}" type="presParOf" srcId="{5BB79A10-594A-944E-B924-D77A0B06A6B3}" destId="{479C4819-CA36-D340-86FC-DEB1D5B2FADA}" srcOrd="1" destOrd="0" presId="urn:microsoft.com/office/officeart/2008/layout/HalfCircleOrganizationChart"/>
    <dgm:cxn modelId="{C9955788-F868-F74D-AE84-10CFD3369573}" type="presParOf" srcId="{5BB79A10-594A-944E-B924-D77A0B06A6B3}" destId="{6A1D511F-1B5A-2F49-A53F-7613DCE3DF5C}" srcOrd="2" destOrd="0" presId="urn:microsoft.com/office/officeart/2008/layout/HalfCircleOrganizationChart"/>
    <dgm:cxn modelId="{57268DF8-BE17-8A43-8752-9DC39D8D6CEE}" type="presParOf" srcId="{5BB79A10-594A-944E-B924-D77A0B06A6B3}" destId="{7DD9A041-FC4A-0F4D-A117-35FB48C4305F}" srcOrd="3" destOrd="0" presId="urn:microsoft.com/office/officeart/2008/layout/HalfCircleOrganizationChart"/>
    <dgm:cxn modelId="{5DB7C958-E42A-354C-A92E-8E1B54B2E991}" type="presParOf" srcId="{CA9D7EBA-0C66-BC4A-A19F-0221DAC76B64}" destId="{A81FF939-BBA8-7E4B-B380-94F602409676}" srcOrd="1" destOrd="0" presId="urn:microsoft.com/office/officeart/2008/layout/HalfCircleOrganizationChart"/>
    <dgm:cxn modelId="{28EA9C2D-5D6A-8742-925B-5E3A7283D9E6}" type="presParOf" srcId="{CA9D7EBA-0C66-BC4A-A19F-0221DAC76B64}" destId="{CF60A687-DCAE-F742-AADA-EC77135C385B}" srcOrd="2" destOrd="0" presId="urn:microsoft.com/office/officeart/2008/layout/HalfCircleOrganizationChart"/>
    <dgm:cxn modelId="{3E169827-565A-7145-9856-6F5933A46CC1}" type="presParOf" srcId="{DCD5CAED-1A00-594D-A389-9B55D75EC731}" destId="{B7168F34-4FFA-D44B-B72B-EF9734723A89}" srcOrd="2" destOrd="0" presId="urn:microsoft.com/office/officeart/2008/layout/HalfCircleOrganizationChart"/>
    <dgm:cxn modelId="{AA2A9DE5-7B01-5849-8A71-18CBE343D094}" type="presParOf" srcId="{DCD5CAED-1A00-594D-A389-9B55D75EC731}" destId="{9885571A-0968-AB46-98FC-CEE45051DCD8}" srcOrd="3" destOrd="0" presId="urn:microsoft.com/office/officeart/2008/layout/HalfCircleOrganizationChart"/>
    <dgm:cxn modelId="{D06B03F6-C615-5746-A8F7-C17F2B991BCD}" type="presParOf" srcId="{9885571A-0968-AB46-98FC-CEE45051DCD8}" destId="{B0E811EB-52B0-A24F-B5A6-B65E3E283BBA}" srcOrd="0" destOrd="0" presId="urn:microsoft.com/office/officeart/2008/layout/HalfCircleOrganizationChart"/>
    <dgm:cxn modelId="{20645C5E-4491-7045-B34C-B9F278E96126}" type="presParOf" srcId="{B0E811EB-52B0-A24F-B5A6-B65E3E283BBA}" destId="{3FE2DB13-DF7C-964D-83A5-E0F2F9D88B03}" srcOrd="0" destOrd="0" presId="urn:microsoft.com/office/officeart/2008/layout/HalfCircleOrganizationChart"/>
    <dgm:cxn modelId="{F3467B66-C347-7745-9E14-85B45FCC8385}" type="presParOf" srcId="{B0E811EB-52B0-A24F-B5A6-B65E3E283BBA}" destId="{24DEFF6E-515B-8C49-9709-5E29BD11D92C}" srcOrd="1" destOrd="0" presId="urn:microsoft.com/office/officeart/2008/layout/HalfCircleOrganizationChart"/>
    <dgm:cxn modelId="{7813CBD7-8141-9A40-A86F-4736F5B71DAC}" type="presParOf" srcId="{B0E811EB-52B0-A24F-B5A6-B65E3E283BBA}" destId="{EEC65586-B054-B947-9FC7-CDC78B9456A8}" srcOrd="2" destOrd="0" presId="urn:microsoft.com/office/officeart/2008/layout/HalfCircleOrganizationChart"/>
    <dgm:cxn modelId="{22697494-B889-A341-B30C-6281AAE03386}" type="presParOf" srcId="{B0E811EB-52B0-A24F-B5A6-B65E3E283BBA}" destId="{093C9E29-F708-3144-B2C8-180B647958B1}" srcOrd="3" destOrd="0" presId="urn:microsoft.com/office/officeart/2008/layout/HalfCircleOrganizationChart"/>
    <dgm:cxn modelId="{B72B2C97-BDD4-424E-966B-AD0EF09AE34B}" type="presParOf" srcId="{9885571A-0968-AB46-98FC-CEE45051DCD8}" destId="{61360FAD-2A2C-6B49-A1EF-5939521C25AE}" srcOrd="1" destOrd="0" presId="urn:microsoft.com/office/officeart/2008/layout/HalfCircleOrganizationChart"/>
    <dgm:cxn modelId="{7337B0C8-6425-C548-8E9D-785896AC665C}" type="presParOf" srcId="{9885571A-0968-AB46-98FC-CEE45051DCD8}" destId="{54E2450E-B4D4-0D45-BD25-A85B3541C630}" srcOrd="2" destOrd="0" presId="urn:microsoft.com/office/officeart/2008/layout/HalfCircleOrganizationChart"/>
    <dgm:cxn modelId="{BF54182E-D629-8547-8964-DA494E71209B}" type="presParOf" srcId="{C6743DA2-10F9-AF4B-AC39-F0A509B4A82E}" destId="{4B2F387A-BC1E-394A-AEE2-26A858EE5767}" srcOrd="1" destOrd="0" presId="urn:microsoft.com/office/officeart/2008/layout/HalfCircleOrganizationChart"/>
    <dgm:cxn modelId="{3AD03D7D-4D70-E44E-BBC2-E4F4EF2E5193}" type="presParOf" srcId="{4B2F387A-BC1E-394A-AEE2-26A858EE5767}" destId="{E4E686D0-861A-E846-8A12-9E81B75F4C0F}" srcOrd="0" destOrd="0" presId="urn:microsoft.com/office/officeart/2008/layout/HalfCircleOrganizationChart"/>
    <dgm:cxn modelId="{DE5C932D-3716-FB46-8DCA-52860D6E593E}" type="presParOf" srcId="{E4E686D0-861A-E846-8A12-9E81B75F4C0F}" destId="{01A472CB-D92E-0B44-B308-709A962B8A93}" srcOrd="0" destOrd="0" presId="urn:microsoft.com/office/officeart/2008/layout/HalfCircleOrganizationChart"/>
    <dgm:cxn modelId="{D675F55A-6A99-D74A-94C1-7F99ECDD3D75}" type="presParOf" srcId="{E4E686D0-861A-E846-8A12-9E81B75F4C0F}" destId="{CF95BC30-298C-8D4C-A538-1540892E67FA}" srcOrd="1" destOrd="0" presId="urn:microsoft.com/office/officeart/2008/layout/HalfCircleOrganizationChart"/>
    <dgm:cxn modelId="{D55CBD75-E112-C74D-B055-E9EFC1F29E80}" type="presParOf" srcId="{E4E686D0-861A-E846-8A12-9E81B75F4C0F}" destId="{3D42C6AC-7388-6543-BE45-F5AF47DB1F62}" srcOrd="2" destOrd="0" presId="urn:microsoft.com/office/officeart/2008/layout/HalfCircleOrganizationChart"/>
    <dgm:cxn modelId="{47B1C422-E0DF-7A48-81CF-B448F6F1BAD4}" type="presParOf" srcId="{E4E686D0-861A-E846-8A12-9E81B75F4C0F}" destId="{5C1BB5E0-64D3-EF4D-8CEE-4D7EFEC61109}" srcOrd="3" destOrd="0" presId="urn:microsoft.com/office/officeart/2008/layout/HalfCircleOrganizationChart"/>
    <dgm:cxn modelId="{08E31388-2108-2A48-9F60-CDE16EAF4A82}" type="presParOf" srcId="{4B2F387A-BC1E-394A-AEE2-26A858EE5767}" destId="{20F49337-C126-F44E-AA92-574FD73827EF}" srcOrd="1" destOrd="0" presId="urn:microsoft.com/office/officeart/2008/layout/HalfCircleOrganizationChart"/>
    <dgm:cxn modelId="{5E33BE62-48A1-E647-BD76-EEC13F34E692}" type="presParOf" srcId="{4B2F387A-BC1E-394A-AEE2-26A858EE5767}" destId="{C6064B34-E20B-3C4C-B19E-C9FB11D273F3}" srcOrd="2" destOrd="0" presId="urn:microsoft.com/office/officeart/2008/layout/HalfCircleOrganizationChar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79D16B26-157B-4F4C-BE83-D96D4ACBE91B}" type="doc">
      <dgm:prSet loTypeId="urn:microsoft.com/office/officeart/2008/layout/HorizontalMultiLevelHierarchy" loCatId="hierarchy" qsTypeId="urn:microsoft.com/office/officeart/2005/8/quickstyle/simple1" qsCatId="simple" csTypeId="urn:microsoft.com/office/officeart/2005/8/colors/accent1_2" csCatId="accent1" phldr="1"/>
      <dgm:spPr/>
      <dgm:t>
        <a:bodyPr/>
        <a:lstStyle/>
        <a:p>
          <a:endParaRPr lang="fr-FR"/>
        </a:p>
      </dgm:t>
    </dgm:pt>
    <dgm:pt modelId="{167D776F-CF53-4BC1-ABB5-0E8D0DC75CE5}">
      <dgm:prSet phldrT="[Texte]"/>
      <dgm:spPr>
        <a:noFill/>
        <a:ln w="28575">
          <a:solidFill>
            <a:srgbClr val="20BE60"/>
          </a:solidFill>
        </a:ln>
      </dgm:spPr>
      <dgm:t>
        <a:bodyPr/>
        <a:lstStyle/>
        <a:p>
          <a:r>
            <a:rPr lang="fr-FR">
              <a:solidFill>
                <a:sysClr val="windowText" lastClr="000000"/>
              </a:solidFill>
            </a:rPr>
            <a:t>Priorisation</a:t>
          </a:r>
        </a:p>
      </dgm:t>
    </dgm:pt>
    <dgm:pt modelId="{9D1B0158-9767-4498-A1EF-79D3B243F917}" type="parTrans" cxnId="{546B413A-DC6B-4786-B5EF-589FC8AF9CB8}">
      <dgm:prSet/>
      <dgm:spPr/>
      <dgm:t>
        <a:bodyPr/>
        <a:lstStyle/>
        <a:p>
          <a:endParaRPr lang="fr-FR"/>
        </a:p>
      </dgm:t>
    </dgm:pt>
    <dgm:pt modelId="{C77E2997-DCF1-40C1-8353-9C6C7ADF2CBD}" type="sibTrans" cxnId="{546B413A-DC6B-4786-B5EF-589FC8AF9CB8}">
      <dgm:prSet/>
      <dgm:spPr/>
      <dgm:t>
        <a:bodyPr/>
        <a:lstStyle/>
        <a:p>
          <a:endParaRPr lang="fr-FR"/>
        </a:p>
      </dgm:t>
    </dgm:pt>
    <dgm:pt modelId="{C036F1EE-B36F-490C-80F4-A72E5DB3EFB4}">
      <dgm:prSet phldrT="[Texte]"/>
      <dgm:spPr>
        <a:noFill/>
        <a:ln w="28575">
          <a:solidFill>
            <a:srgbClr val="20BE60"/>
          </a:solidFill>
        </a:ln>
      </dgm:spPr>
      <dgm:t>
        <a:bodyPr/>
        <a:lstStyle/>
        <a:p>
          <a:r>
            <a:rPr lang="fr-FR" err="1">
              <a:solidFill>
                <a:sysClr val="windowText" lastClr="000000"/>
              </a:solidFill>
            </a:rPr>
            <a:t>Feasability</a:t>
          </a:r>
          <a:endParaRPr lang="fr-FR">
            <a:solidFill>
              <a:sysClr val="windowText" lastClr="000000"/>
            </a:solidFill>
          </a:endParaRPr>
        </a:p>
      </dgm:t>
    </dgm:pt>
    <dgm:pt modelId="{9ED06AD0-99E4-49BF-A709-4631779F3193}" type="parTrans" cxnId="{E8AEDF9E-20E1-4FF7-A923-6882E7060432}">
      <dgm:prSet/>
      <dgm:spPr>
        <a:ln w="28575">
          <a:solidFill>
            <a:srgbClr val="20BE60"/>
          </a:solidFill>
        </a:ln>
      </dgm:spPr>
      <dgm:t>
        <a:bodyPr/>
        <a:lstStyle/>
        <a:p>
          <a:endParaRPr lang="fr-FR"/>
        </a:p>
      </dgm:t>
    </dgm:pt>
    <dgm:pt modelId="{2C218211-DF79-4D02-9E24-E98B64BAB0A1}" type="sibTrans" cxnId="{E8AEDF9E-20E1-4FF7-A923-6882E7060432}">
      <dgm:prSet/>
      <dgm:spPr/>
      <dgm:t>
        <a:bodyPr/>
        <a:lstStyle/>
        <a:p>
          <a:endParaRPr lang="fr-FR"/>
        </a:p>
      </dgm:t>
    </dgm:pt>
    <dgm:pt modelId="{51A92B06-6CC8-4FBF-AEAA-8E9C973C1026}">
      <dgm:prSet phldrT="[Texte]"/>
      <dgm:spPr>
        <a:noFill/>
        <a:ln w="28575">
          <a:solidFill>
            <a:srgbClr val="20BE60"/>
          </a:solidFill>
        </a:ln>
      </dgm:spPr>
      <dgm:t>
        <a:bodyPr/>
        <a:lstStyle/>
        <a:p>
          <a:r>
            <a:rPr lang="fr-FR">
              <a:solidFill>
                <a:sysClr val="windowText" lastClr="000000"/>
              </a:solidFill>
            </a:rPr>
            <a:t>Human</a:t>
          </a:r>
        </a:p>
      </dgm:t>
    </dgm:pt>
    <dgm:pt modelId="{2AF06128-BABA-445F-9D47-A032407C47DE}" type="parTrans" cxnId="{3A272F6A-99EE-4CA5-87AD-2FAE21BFCEBF}">
      <dgm:prSet/>
      <dgm:spPr>
        <a:ln w="28575">
          <a:solidFill>
            <a:srgbClr val="20BE60"/>
          </a:solidFill>
        </a:ln>
      </dgm:spPr>
      <dgm:t>
        <a:bodyPr/>
        <a:lstStyle/>
        <a:p>
          <a:endParaRPr lang="fr-FR"/>
        </a:p>
      </dgm:t>
    </dgm:pt>
    <dgm:pt modelId="{C69E96F5-EEF0-4F18-9C77-8042F5200F83}" type="sibTrans" cxnId="{3A272F6A-99EE-4CA5-87AD-2FAE21BFCEBF}">
      <dgm:prSet/>
      <dgm:spPr/>
      <dgm:t>
        <a:bodyPr/>
        <a:lstStyle/>
        <a:p>
          <a:endParaRPr lang="fr-FR"/>
        </a:p>
      </dgm:t>
    </dgm:pt>
    <dgm:pt modelId="{23BD33F1-5479-4090-8103-DDEABBD1DDBA}">
      <dgm:prSet phldrT="[Texte]"/>
      <dgm:spPr>
        <a:noFill/>
        <a:ln w="28575">
          <a:solidFill>
            <a:srgbClr val="20BE60"/>
          </a:solidFill>
        </a:ln>
      </dgm:spPr>
      <dgm:t>
        <a:bodyPr/>
        <a:lstStyle/>
        <a:p>
          <a:r>
            <a:rPr lang="fr-FR" err="1">
              <a:solidFill>
                <a:sysClr val="windowText" lastClr="000000"/>
              </a:solidFill>
            </a:rPr>
            <a:t>Technological</a:t>
          </a:r>
          <a:endParaRPr lang="fr-FR">
            <a:solidFill>
              <a:sysClr val="windowText" lastClr="000000"/>
            </a:solidFill>
          </a:endParaRPr>
        </a:p>
      </dgm:t>
    </dgm:pt>
    <dgm:pt modelId="{8AC0F0D2-AF82-4789-9A4D-51A19F3D54D3}" type="parTrans" cxnId="{61EEB7D5-E8FF-4780-8CAF-DB515EA930E2}">
      <dgm:prSet/>
      <dgm:spPr>
        <a:ln w="28575">
          <a:solidFill>
            <a:srgbClr val="20BE60"/>
          </a:solidFill>
        </a:ln>
      </dgm:spPr>
      <dgm:t>
        <a:bodyPr/>
        <a:lstStyle/>
        <a:p>
          <a:endParaRPr lang="fr-FR"/>
        </a:p>
      </dgm:t>
    </dgm:pt>
    <dgm:pt modelId="{75572170-07E6-4186-99FE-8112F0F6EEB0}" type="sibTrans" cxnId="{61EEB7D5-E8FF-4780-8CAF-DB515EA930E2}">
      <dgm:prSet/>
      <dgm:spPr/>
      <dgm:t>
        <a:bodyPr/>
        <a:lstStyle/>
        <a:p>
          <a:endParaRPr lang="fr-FR"/>
        </a:p>
      </dgm:t>
    </dgm:pt>
    <dgm:pt modelId="{15B231D8-D27C-4B0D-9651-27C9D5CC7B8A}">
      <dgm:prSet phldrT="[Texte]"/>
      <dgm:spPr>
        <a:noFill/>
        <a:ln w="28575">
          <a:solidFill>
            <a:srgbClr val="20BE60"/>
          </a:solidFill>
        </a:ln>
      </dgm:spPr>
      <dgm:t>
        <a:bodyPr/>
        <a:lstStyle/>
        <a:p>
          <a:r>
            <a:rPr lang="fr-FR">
              <a:solidFill>
                <a:sysClr val="windowText" lastClr="000000"/>
              </a:solidFill>
            </a:rPr>
            <a:t>Impact</a:t>
          </a:r>
        </a:p>
      </dgm:t>
    </dgm:pt>
    <dgm:pt modelId="{4B3ECD7A-D5BE-49D8-B395-B1C37C201BA7}" type="parTrans" cxnId="{F9B60EEA-B048-4E83-9E38-EA17673EBD51}">
      <dgm:prSet/>
      <dgm:spPr>
        <a:ln w="28575">
          <a:solidFill>
            <a:srgbClr val="20BE60"/>
          </a:solidFill>
        </a:ln>
      </dgm:spPr>
      <dgm:t>
        <a:bodyPr/>
        <a:lstStyle/>
        <a:p>
          <a:endParaRPr lang="fr-FR"/>
        </a:p>
      </dgm:t>
    </dgm:pt>
    <dgm:pt modelId="{97B186DA-1982-4A0D-BF1B-0F0223687E22}" type="sibTrans" cxnId="{F9B60EEA-B048-4E83-9E38-EA17673EBD51}">
      <dgm:prSet/>
      <dgm:spPr/>
      <dgm:t>
        <a:bodyPr/>
        <a:lstStyle/>
        <a:p>
          <a:endParaRPr lang="fr-FR"/>
        </a:p>
      </dgm:t>
    </dgm:pt>
    <dgm:pt modelId="{F556944B-5A72-4235-8077-9685348A4391}">
      <dgm:prSet phldrT="[Texte]"/>
      <dgm:spPr>
        <a:noFill/>
        <a:ln w="28575">
          <a:solidFill>
            <a:srgbClr val="20BE60"/>
          </a:solidFill>
        </a:ln>
      </dgm:spPr>
      <dgm:t>
        <a:bodyPr/>
        <a:lstStyle/>
        <a:p>
          <a:r>
            <a:rPr lang="fr-FR">
              <a:solidFill>
                <a:sysClr val="windowText" lastClr="000000"/>
              </a:solidFill>
            </a:rPr>
            <a:t>Sales</a:t>
          </a:r>
        </a:p>
      </dgm:t>
    </dgm:pt>
    <dgm:pt modelId="{03268D7E-64F1-4293-9801-3832585F2EFD}" type="parTrans" cxnId="{A8ADA327-6A09-4EF8-BDE6-D4D7DC91B3CA}">
      <dgm:prSet/>
      <dgm:spPr>
        <a:ln w="28575">
          <a:solidFill>
            <a:srgbClr val="20BE60"/>
          </a:solidFill>
        </a:ln>
      </dgm:spPr>
      <dgm:t>
        <a:bodyPr/>
        <a:lstStyle/>
        <a:p>
          <a:endParaRPr lang="fr-FR"/>
        </a:p>
      </dgm:t>
    </dgm:pt>
    <dgm:pt modelId="{903FF67B-6A48-41F5-ADD6-8A3C3A0DD24B}" type="sibTrans" cxnId="{A8ADA327-6A09-4EF8-BDE6-D4D7DC91B3CA}">
      <dgm:prSet/>
      <dgm:spPr/>
      <dgm:t>
        <a:bodyPr/>
        <a:lstStyle/>
        <a:p>
          <a:endParaRPr lang="fr-FR"/>
        </a:p>
      </dgm:t>
    </dgm:pt>
    <dgm:pt modelId="{5A0BF5FC-F49F-48BA-A4BD-D19358B500AD}">
      <dgm:prSet phldrT="[Texte]"/>
      <dgm:spPr>
        <a:noFill/>
        <a:ln w="28575">
          <a:solidFill>
            <a:srgbClr val="20BE60"/>
          </a:solidFill>
        </a:ln>
      </dgm:spPr>
      <dgm:t>
        <a:bodyPr/>
        <a:lstStyle/>
        <a:p>
          <a:r>
            <a:rPr lang="fr-FR">
              <a:solidFill>
                <a:sysClr val="windowText" lastClr="000000"/>
              </a:solidFill>
            </a:rPr>
            <a:t>Financial </a:t>
          </a:r>
        </a:p>
      </dgm:t>
    </dgm:pt>
    <dgm:pt modelId="{502F30E3-38F3-46E4-952A-0EC7D6DA3C80}" type="parTrans" cxnId="{F26ACAD8-202F-444A-AF60-39F7647FD9F9}">
      <dgm:prSet/>
      <dgm:spPr>
        <a:ln w="28575">
          <a:solidFill>
            <a:srgbClr val="20BE60"/>
          </a:solidFill>
        </a:ln>
      </dgm:spPr>
      <dgm:t>
        <a:bodyPr/>
        <a:lstStyle/>
        <a:p>
          <a:endParaRPr lang="fr-FR"/>
        </a:p>
      </dgm:t>
    </dgm:pt>
    <dgm:pt modelId="{7B92019B-13D0-45B9-9112-0F13A86AB66B}" type="sibTrans" cxnId="{F26ACAD8-202F-444A-AF60-39F7647FD9F9}">
      <dgm:prSet/>
      <dgm:spPr/>
      <dgm:t>
        <a:bodyPr/>
        <a:lstStyle/>
        <a:p>
          <a:endParaRPr lang="fr-FR"/>
        </a:p>
      </dgm:t>
    </dgm:pt>
    <dgm:pt modelId="{9937D6D2-EFA8-4DE3-832A-25B9EADBA215}">
      <dgm:prSet phldrT="[Texte]"/>
      <dgm:spPr>
        <a:noFill/>
        <a:ln w="28575">
          <a:solidFill>
            <a:srgbClr val="20BE60"/>
          </a:solidFill>
        </a:ln>
      </dgm:spPr>
      <dgm:t>
        <a:bodyPr/>
        <a:lstStyle/>
        <a:p>
          <a:r>
            <a:rPr lang="fr-FR" err="1">
              <a:solidFill>
                <a:sysClr val="windowText" lastClr="000000"/>
              </a:solidFill>
            </a:rPr>
            <a:t>Knowledge</a:t>
          </a:r>
          <a:r>
            <a:rPr lang="fr-FR">
              <a:solidFill>
                <a:sysClr val="windowText" lastClr="000000"/>
              </a:solidFill>
            </a:rPr>
            <a:t> possession</a:t>
          </a:r>
        </a:p>
      </dgm:t>
    </dgm:pt>
    <dgm:pt modelId="{910CFB87-F900-4D4E-A9B2-C2BC6F1BA41D}" type="parTrans" cxnId="{C7C66820-ABB8-4DCA-9254-DFB4FD1A080F}">
      <dgm:prSet/>
      <dgm:spPr>
        <a:ln w="28575">
          <a:solidFill>
            <a:srgbClr val="20BE60"/>
          </a:solidFill>
        </a:ln>
      </dgm:spPr>
      <dgm:t>
        <a:bodyPr/>
        <a:lstStyle/>
        <a:p>
          <a:endParaRPr lang="fr-FR"/>
        </a:p>
      </dgm:t>
    </dgm:pt>
    <dgm:pt modelId="{7D8CC7CB-8FA6-40EF-B23C-80261884865F}" type="sibTrans" cxnId="{C7C66820-ABB8-4DCA-9254-DFB4FD1A080F}">
      <dgm:prSet/>
      <dgm:spPr/>
      <dgm:t>
        <a:bodyPr/>
        <a:lstStyle/>
        <a:p>
          <a:endParaRPr lang="fr-FR"/>
        </a:p>
      </dgm:t>
    </dgm:pt>
    <dgm:pt modelId="{D388BA7D-5BBF-4755-8B5C-BBDEDEF5E85D}">
      <dgm:prSet phldrT="[Texte]"/>
      <dgm:spPr>
        <a:noFill/>
        <a:ln w="28575">
          <a:solidFill>
            <a:srgbClr val="20BE60"/>
          </a:solidFill>
        </a:ln>
      </dgm:spPr>
      <dgm:t>
        <a:bodyPr/>
        <a:lstStyle/>
        <a:p>
          <a:r>
            <a:rPr lang="fr-FR" err="1">
              <a:solidFill>
                <a:sysClr val="windowText" lastClr="000000"/>
              </a:solidFill>
            </a:rPr>
            <a:t>Employee</a:t>
          </a:r>
          <a:r>
            <a:rPr lang="fr-FR">
              <a:solidFill>
                <a:sysClr val="windowText" lastClr="000000"/>
              </a:solidFill>
            </a:rPr>
            <a:t> </a:t>
          </a:r>
          <a:r>
            <a:rPr lang="fr-FR" err="1">
              <a:solidFill>
                <a:sysClr val="windowText" lastClr="000000"/>
              </a:solidFill>
            </a:rPr>
            <a:t>approval</a:t>
          </a:r>
          <a:endParaRPr lang="fr-FR">
            <a:solidFill>
              <a:sysClr val="windowText" lastClr="000000"/>
            </a:solidFill>
          </a:endParaRPr>
        </a:p>
      </dgm:t>
    </dgm:pt>
    <dgm:pt modelId="{511D9706-FB85-4342-92CB-13B9555B17E8}" type="parTrans" cxnId="{A27B625A-1FC3-4B85-B15C-A9E6E61937B5}">
      <dgm:prSet/>
      <dgm:spPr>
        <a:ln w="28575">
          <a:solidFill>
            <a:srgbClr val="20BE60"/>
          </a:solidFill>
        </a:ln>
      </dgm:spPr>
      <dgm:t>
        <a:bodyPr/>
        <a:lstStyle/>
        <a:p>
          <a:endParaRPr lang="fr-FR"/>
        </a:p>
      </dgm:t>
    </dgm:pt>
    <dgm:pt modelId="{BC0F8C8C-C0DD-419D-8CFA-FEB1DF80EF7B}" type="sibTrans" cxnId="{A27B625A-1FC3-4B85-B15C-A9E6E61937B5}">
      <dgm:prSet/>
      <dgm:spPr/>
      <dgm:t>
        <a:bodyPr/>
        <a:lstStyle/>
        <a:p>
          <a:endParaRPr lang="fr-FR"/>
        </a:p>
      </dgm:t>
    </dgm:pt>
    <dgm:pt modelId="{D978611C-95CA-42E7-BA01-E75E8C3DEAB7}">
      <dgm:prSet phldrT="[Texte]"/>
      <dgm:spPr>
        <a:noFill/>
        <a:ln w="28575">
          <a:solidFill>
            <a:srgbClr val="20BE60"/>
          </a:solidFill>
        </a:ln>
      </dgm:spPr>
      <dgm:t>
        <a:bodyPr/>
        <a:lstStyle/>
        <a:p>
          <a:r>
            <a:rPr lang="fr-FR">
              <a:solidFill>
                <a:sysClr val="windowText" lastClr="000000"/>
              </a:solidFill>
            </a:rPr>
            <a:t>Investment </a:t>
          </a:r>
          <a:r>
            <a:rPr lang="fr-FR" err="1">
              <a:solidFill>
                <a:sysClr val="windowText" lastClr="000000"/>
              </a:solidFill>
            </a:rPr>
            <a:t>cost</a:t>
          </a:r>
          <a:endParaRPr lang="fr-FR">
            <a:solidFill>
              <a:sysClr val="windowText" lastClr="000000"/>
            </a:solidFill>
          </a:endParaRPr>
        </a:p>
      </dgm:t>
    </dgm:pt>
    <dgm:pt modelId="{D77E99D5-E13B-40A2-8ED5-98D8C4F63DBA}" type="parTrans" cxnId="{9A56C3DE-8C76-4DA9-BB7E-FEEDB118B0E5}">
      <dgm:prSet/>
      <dgm:spPr>
        <a:ln w="28575">
          <a:solidFill>
            <a:srgbClr val="20BE60"/>
          </a:solidFill>
        </a:ln>
      </dgm:spPr>
      <dgm:t>
        <a:bodyPr/>
        <a:lstStyle/>
        <a:p>
          <a:endParaRPr lang="fr-FR"/>
        </a:p>
      </dgm:t>
    </dgm:pt>
    <dgm:pt modelId="{344931FF-3369-42E2-A2DC-31284B41D1A6}" type="sibTrans" cxnId="{9A56C3DE-8C76-4DA9-BB7E-FEEDB118B0E5}">
      <dgm:prSet/>
      <dgm:spPr/>
      <dgm:t>
        <a:bodyPr/>
        <a:lstStyle/>
        <a:p>
          <a:endParaRPr lang="fr-FR"/>
        </a:p>
      </dgm:t>
    </dgm:pt>
    <dgm:pt modelId="{74F99955-80FD-4E1A-8FFD-54808E8007DC}">
      <dgm:prSet phldrT="[Texte]"/>
      <dgm:spPr>
        <a:noFill/>
        <a:ln w="28575">
          <a:solidFill>
            <a:srgbClr val="20BE60"/>
          </a:solidFill>
        </a:ln>
      </dgm:spPr>
      <dgm:t>
        <a:bodyPr/>
        <a:lstStyle/>
        <a:p>
          <a:r>
            <a:rPr lang="fr-FR">
              <a:solidFill>
                <a:sysClr val="windowText" lastClr="000000"/>
              </a:solidFill>
            </a:rPr>
            <a:t>Ressources</a:t>
          </a:r>
        </a:p>
      </dgm:t>
    </dgm:pt>
    <dgm:pt modelId="{FBB3FA4D-3180-4520-A162-D131A6E01CC1}" type="parTrans" cxnId="{6F6B4102-5913-4449-9C48-20C0D0341D46}">
      <dgm:prSet/>
      <dgm:spPr>
        <a:ln w="28575">
          <a:solidFill>
            <a:srgbClr val="20BE60"/>
          </a:solidFill>
        </a:ln>
      </dgm:spPr>
      <dgm:t>
        <a:bodyPr/>
        <a:lstStyle/>
        <a:p>
          <a:endParaRPr lang="fr-FR"/>
        </a:p>
      </dgm:t>
    </dgm:pt>
    <dgm:pt modelId="{15FA8ADA-4F01-41B6-BC44-3C7A854D21F6}" type="sibTrans" cxnId="{6F6B4102-5913-4449-9C48-20C0D0341D46}">
      <dgm:prSet/>
      <dgm:spPr/>
      <dgm:t>
        <a:bodyPr/>
        <a:lstStyle/>
        <a:p>
          <a:endParaRPr lang="fr-FR"/>
        </a:p>
      </dgm:t>
    </dgm:pt>
    <dgm:pt modelId="{DC4E94EF-A07C-47B8-9B07-214FB49E4560}">
      <dgm:prSet phldrT="[Texte]"/>
      <dgm:spPr>
        <a:noFill/>
        <a:ln w="28575">
          <a:solidFill>
            <a:srgbClr val="20BE60"/>
          </a:solidFill>
        </a:ln>
      </dgm:spPr>
      <dgm:t>
        <a:bodyPr/>
        <a:lstStyle/>
        <a:p>
          <a:r>
            <a:rPr lang="fr-FR" err="1">
              <a:solidFill>
                <a:sysClr val="windowText" lastClr="000000"/>
              </a:solidFill>
            </a:rPr>
            <a:t>Implementation</a:t>
          </a:r>
          <a:r>
            <a:rPr lang="fr-FR">
              <a:solidFill>
                <a:sysClr val="windowText" lastClr="000000"/>
              </a:solidFill>
            </a:rPr>
            <a:t> </a:t>
          </a:r>
          <a:r>
            <a:rPr lang="fr-FR" err="1">
              <a:solidFill>
                <a:sysClr val="windowText" lastClr="000000"/>
              </a:solidFill>
            </a:rPr>
            <a:t>difficulties</a:t>
          </a:r>
          <a:endParaRPr lang="fr-FR">
            <a:solidFill>
              <a:sysClr val="windowText" lastClr="000000"/>
            </a:solidFill>
          </a:endParaRPr>
        </a:p>
      </dgm:t>
    </dgm:pt>
    <dgm:pt modelId="{50422137-8AE9-4F4C-A0F4-C5B3B13EA826}" type="parTrans" cxnId="{46F30DFB-94D7-4CD0-B6CA-8DE1524A8238}">
      <dgm:prSet/>
      <dgm:spPr>
        <a:ln w="28575">
          <a:solidFill>
            <a:srgbClr val="20BE60"/>
          </a:solidFill>
        </a:ln>
      </dgm:spPr>
      <dgm:t>
        <a:bodyPr/>
        <a:lstStyle/>
        <a:p>
          <a:endParaRPr lang="fr-FR"/>
        </a:p>
      </dgm:t>
    </dgm:pt>
    <dgm:pt modelId="{18C5557B-7B26-4FA6-B793-CB9A0E537E5B}" type="sibTrans" cxnId="{46F30DFB-94D7-4CD0-B6CA-8DE1524A8238}">
      <dgm:prSet/>
      <dgm:spPr/>
      <dgm:t>
        <a:bodyPr/>
        <a:lstStyle/>
        <a:p>
          <a:endParaRPr lang="fr-FR"/>
        </a:p>
      </dgm:t>
    </dgm:pt>
    <dgm:pt modelId="{ECE72CC3-F453-4AC1-A1CB-0C7F372021F1}">
      <dgm:prSet phldrT="[Texte]"/>
      <dgm:spPr>
        <a:noFill/>
        <a:ln w="28575">
          <a:solidFill>
            <a:srgbClr val="20BE60"/>
          </a:solidFill>
        </a:ln>
      </dgm:spPr>
      <dgm:t>
        <a:bodyPr/>
        <a:lstStyle/>
        <a:p>
          <a:r>
            <a:rPr lang="fr-FR" err="1">
              <a:solidFill>
                <a:sysClr val="windowText" lastClr="000000"/>
              </a:solidFill>
            </a:rPr>
            <a:t>Available</a:t>
          </a:r>
          <a:r>
            <a:rPr lang="fr-FR">
              <a:solidFill>
                <a:sysClr val="windowText" lastClr="000000"/>
              </a:solidFill>
            </a:rPr>
            <a:t> data</a:t>
          </a:r>
        </a:p>
      </dgm:t>
    </dgm:pt>
    <dgm:pt modelId="{5871E1D0-ADDC-4328-9BD4-334EF7399430}" type="parTrans" cxnId="{731ACEF3-B6AF-4B74-B3E2-806A785005A6}">
      <dgm:prSet/>
      <dgm:spPr>
        <a:ln w="28575">
          <a:solidFill>
            <a:srgbClr val="20BE60"/>
          </a:solidFill>
        </a:ln>
      </dgm:spPr>
      <dgm:t>
        <a:bodyPr/>
        <a:lstStyle/>
        <a:p>
          <a:endParaRPr lang="fr-FR"/>
        </a:p>
      </dgm:t>
    </dgm:pt>
    <dgm:pt modelId="{E5DCA705-559B-4EC3-8811-DFF2C31445D8}" type="sibTrans" cxnId="{731ACEF3-B6AF-4B74-B3E2-806A785005A6}">
      <dgm:prSet/>
      <dgm:spPr/>
      <dgm:t>
        <a:bodyPr/>
        <a:lstStyle/>
        <a:p>
          <a:endParaRPr lang="fr-FR"/>
        </a:p>
      </dgm:t>
    </dgm:pt>
    <dgm:pt modelId="{92DE899B-C335-4A72-ADEB-1371E11D9A58}">
      <dgm:prSet phldrT="[Texte]"/>
      <dgm:spPr>
        <a:noFill/>
        <a:ln w="28575">
          <a:solidFill>
            <a:srgbClr val="20BE60"/>
          </a:solidFill>
        </a:ln>
      </dgm:spPr>
      <dgm:t>
        <a:bodyPr/>
        <a:lstStyle/>
        <a:p>
          <a:r>
            <a:rPr lang="fr-FR" err="1">
              <a:solidFill>
                <a:sysClr val="windowText" lastClr="000000"/>
              </a:solidFill>
            </a:rPr>
            <a:t>Workload</a:t>
          </a:r>
          <a:r>
            <a:rPr lang="fr-FR">
              <a:solidFill>
                <a:sysClr val="windowText" lastClr="000000"/>
              </a:solidFill>
            </a:rPr>
            <a:t> and </a:t>
          </a:r>
          <a:r>
            <a:rPr lang="fr-FR" err="1">
              <a:solidFill>
                <a:sysClr val="windowText" lastClr="000000"/>
              </a:solidFill>
            </a:rPr>
            <a:t>way</a:t>
          </a:r>
          <a:r>
            <a:rPr lang="fr-FR">
              <a:solidFill>
                <a:sysClr val="windowText" lastClr="000000"/>
              </a:solidFill>
            </a:rPr>
            <a:t> of </a:t>
          </a:r>
          <a:r>
            <a:rPr lang="fr-FR" err="1">
              <a:solidFill>
                <a:sysClr val="windowText" lastClr="000000"/>
              </a:solidFill>
            </a:rPr>
            <a:t>work</a:t>
          </a:r>
          <a:endParaRPr lang="fr-FR">
            <a:solidFill>
              <a:sysClr val="windowText" lastClr="000000"/>
            </a:solidFill>
          </a:endParaRPr>
        </a:p>
      </dgm:t>
    </dgm:pt>
    <dgm:pt modelId="{AFABDD4E-E7B0-48DD-9CDA-FCA58F0E33A8}" type="parTrans" cxnId="{EF4064D9-9BAD-467E-BD98-2BE0F1B25703}">
      <dgm:prSet/>
      <dgm:spPr/>
      <dgm:t>
        <a:bodyPr/>
        <a:lstStyle/>
        <a:p>
          <a:endParaRPr lang="fr-FR"/>
        </a:p>
      </dgm:t>
    </dgm:pt>
    <dgm:pt modelId="{5364887B-6CA1-42D1-949F-F089A3945801}" type="sibTrans" cxnId="{EF4064D9-9BAD-467E-BD98-2BE0F1B25703}">
      <dgm:prSet/>
      <dgm:spPr/>
      <dgm:t>
        <a:bodyPr/>
        <a:lstStyle/>
        <a:p>
          <a:endParaRPr lang="fr-FR"/>
        </a:p>
      </dgm:t>
    </dgm:pt>
    <dgm:pt modelId="{DE2624AE-A1E5-4B0D-BC24-8B6D53FC0F20}">
      <dgm:prSet phldrT="[Texte]"/>
      <dgm:spPr>
        <a:noFill/>
        <a:ln w="28575">
          <a:solidFill>
            <a:srgbClr val="20BE60"/>
          </a:solidFill>
        </a:ln>
      </dgm:spPr>
      <dgm:t>
        <a:bodyPr/>
        <a:lstStyle/>
        <a:p>
          <a:r>
            <a:rPr lang="fr-FR">
              <a:solidFill>
                <a:sysClr val="windowText" lastClr="000000"/>
              </a:solidFill>
            </a:rPr>
            <a:t>Production</a:t>
          </a:r>
        </a:p>
      </dgm:t>
    </dgm:pt>
    <dgm:pt modelId="{F9CFE2FA-FF13-4B37-96AE-204A62BF5C51}" type="parTrans" cxnId="{16E01936-5C24-43CA-A3BC-115A75AAEE9C}">
      <dgm:prSet/>
      <dgm:spPr>
        <a:ln w="28575">
          <a:solidFill>
            <a:srgbClr val="20BE60"/>
          </a:solidFill>
        </a:ln>
      </dgm:spPr>
      <dgm:t>
        <a:bodyPr/>
        <a:lstStyle/>
        <a:p>
          <a:endParaRPr lang="fr-FR"/>
        </a:p>
      </dgm:t>
    </dgm:pt>
    <dgm:pt modelId="{5014A56B-B57B-46EC-8392-F7C9377E26CC}" type="sibTrans" cxnId="{16E01936-5C24-43CA-A3BC-115A75AAEE9C}">
      <dgm:prSet/>
      <dgm:spPr/>
      <dgm:t>
        <a:bodyPr/>
        <a:lstStyle/>
        <a:p>
          <a:endParaRPr lang="fr-FR"/>
        </a:p>
      </dgm:t>
    </dgm:pt>
    <dgm:pt modelId="{59665555-C0CD-4AEB-8B8C-42C1D0BC3207}">
      <dgm:prSet phldrT="[Texte]"/>
      <dgm:spPr>
        <a:noFill/>
        <a:ln w="28575">
          <a:solidFill>
            <a:srgbClr val="20BE60"/>
          </a:solidFill>
        </a:ln>
      </dgm:spPr>
      <dgm:t>
        <a:bodyPr/>
        <a:lstStyle/>
        <a:p>
          <a:r>
            <a:rPr lang="fr-FR" err="1">
              <a:solidFill>
                <a:sysClr val="windowText" lastClr="000000"/>
              </a:solidFill>
            </a:rPr>
            <a:t>Quality</a:t>
          </a:r>
          <a:endParaRPr lang="fr-FR">
            <a:solidFill>
              <a:sysClr val="windowText" lastClr="000000"/>
            </a:solidFill>
          </a:endParaRPr>
        </a:p>
      </dgm:t>
    </dgm:pt>
    <dgm:pt modelId="{3939E416-0807-4077-85D6-43BE745E2B54}" type="parTrans" cxnId="{C80664D6-B70D-489F-B0DE-7F7D2E5411F4}">
      <dgm:prSet/>
      <dgm:spPr>
        <a:ln w="28575">
          <a:solidFill>
            <a:srgbClr val="20BE60"/>
          </a:solidFill>
        </a:ln>
      </dgm:spPr>
      <dgm:t>
        <a:bodyPr/>
        <a:lstStyle/>
        <a:p>
          <a:endParaRPr lang="fr-FR"/>
        </a:p>
      </dgm:t>
    </dgm:pt>
    <dgm:pt modelId="{8234E3DF-FA95-4BFE-B55E-F900D4C50B5F}" type="sibTrans" cxnId="{C80664D6-B70D-489F-B0DE-7F7D2E5411F4}">
      <dgm:prSet/>
      <dgm:spPr/>
      <dgm:t>
        <a:bodyPr/>
        <a:lstStyle/>
        <a:p>
          <a:endParaRPr lang="fr-FR"/>
        </a:p>
      </dgm:t>
    </dgm:pt>
    <dgm:pt modelId="{89879CF2-8242-4A69-9780-CC8120AE5ADC}">
      <dgm:prSet phldrT="[Texte]"/>
      <dgm:spPr>
        <a:noFill/>
        <a:ln w="28575">
          <a:solidFill>
            <a:srgbClr val="20BE60"/>
          </a:solidFill>
        </a:ln>
      </dgm:spPr>
      <dgm:t>
        <a:bodyPr/>
        <a:lstStyle/>
        <a:p>
          <a:r>
            <a:rPr lang="fr-FR" err="1">
              <a:solidFill>
                <a:sysClr val="windowText" lastClr="000000"/>
              </a:solidFill>
            </a:rPr>
            <a:t>Efficiency</a:t>
          </a:r>
          <a:endParaRPr lang="fr-FR">
            <a:solidFill>
              <a:sysClr val="windowText" lastClr="000000"/>
            </a:solidFill>
          </a:endParaRPr>
        </a:p>
      </dgm:t>
    </dgm:pt>
    <dgm:pt modelId="{31D36D20-AB8E-46A6-94F4-C488689E7BAB}" type="parTrans" cxnId="{4C8D9AF8-15BA-4A12-B5DB-069EAADB1A8E}">
      <dgm:prSet/>
      <dgm:spPr>
        <a:ln w="28575">
          <a:solidFill>
            <a:srgbClr val="20BE60"/>
          </a:solidFill>
        </a:ln>
      </dgm:spPr>
      <dgm:t>
        <a:bodyPr/>
        <a:lstStyle/>
        <a:p>
          <a:endParaRPr lang="fr-FR"/>
        </a:p>
      </dgm:t>
    </dgm:pt>
    <dgm:pt modelId="{49F3BCB8-A3D4-4A0B-A053-7132D350CAC3}" type="sibTrans" cxnId="{4C8D9AF8-15BA-4A12-B5DB-069EAADB1A8E}">
      <dgm:prSet/>
      <dgm:spPr/>
      <dgm:t>
        <a:bodyPr/>
        <a:lstStyle/>
        <a:p>
          <a:endParaRPr lang="fr-FR"/>
        </a:p>
      </dgm:t>
    </dgm:pt>
    <dgm:pt modelId="{011B9EDA-3DEF-4F68-90C9-78368FC8DDC8}">
      <dgm:prSet phldrT="[Texte]"/>
      <dgm:spPr>
        <a:noFill/>
        <a:ln w="28575">
          <a:solidFill>
            <a:srgbClr val="20BE60"/>
          </a:solidFill>
        </a:ln>
      </dgm:spPr>
      <dgm:t>
        <a:bodyPr/>
        <a:lstStyle/>
        <a:p>
          <a:r>
            <a:rPr lang="fr-FR" err="1">
              <a:solidFill>
                <a:sysClr val="windowText" lastClr="000000"/>
              </a:solidFill>
            </a:rPr>
            <a:t>Benefits</a:t>
          </a:r>
          <a:endParaRPr lang="fr-FR">
            <a:solidFill>
              <a:sysClr val="windowText" lastClr="000000"/>
            </a:solidFill>
          </a:endParaRPr>
        </a:p>
      </dgm:t>
    </dgm:pt>
    <dgm:pt modelId="{B0353550-F146-4AEF-A6B0-BC1072F0D18F}" type="parTrans" cxnId="{F9664670-D670-4376-BFFB-2A50B6CA4514}">
      <dgm:prSet/>
      <dgm:spPr>
        <a:ln w="28575">
          <a:solidFill>
            <a:srgbClr val="20BE60"/>
          </a:solidFill>
        </a:ln>
      </dgm:spPr>
      <dgm:t>
        <a:bodyPr/>
        <a:lstStyle/>
        <a:p>
          <a:endParaRPr lang="fr-FR"/>
        </a:p>
      </dgm:t>
    </dgm:pt>
    <dgm:pt modelId="{A6952B80-5F67-427A-B615-68C62574DEDD}" type="sibTrans" cxnId="{F9664670-D670-4376-BFFB-2A50B6CA4514}">
      <dgm:prSet/>
      <dgm:spPr/>
      <dgm:t>
        <a:bodyPr/>
        <a:lstStyle/>
        <a:p>
          <a:endParaRPr lang="fr-FR"/>
        </a:p>
      </dgm:t>
    </dgm:pt>
    <dgm:pt modelId="{410DC315-26B0-4641-9EDB-AAA2EE9DFF33}">
      <dgm:prSet phldrT="[Texte]"/>
      <dgm:spPr>
        <a:noFill/>
        <a:ln w="28575">
          <a:solidFill>
            <a:srgbClr val="20BE60"/>
          </a:solidFill>
        </a:ln>
      </dgm:spPr>
      <dgm:t>
        <a:bodyPr/>
        <a:lstStyle/>
        <a:p>
          <a:r>
            <a:rPr lang="fr-FR">
              <a:solidFill>
                <a:sysClr val="windowText" lastClr="000000"/>
              </a:solidFill>
            </a:rPr>
            <a:t>Client </a:t>
          </a:r>
          <a:r>
            <a:rPr lang="fr-FR" err="1">
              <a:solidFill>
                <a:sysClr val="windowText" lastClr="000000"/>
              </a:solidFill>
            </a:rPr>
            <a:t>retention</a:t>
          </a:r>
          <a:endParaRPr lang="fr-FR">
            <a:solidFill>
              <a:sysClr val="windowText" lastClr="000000"/>
            </a:solidFill>
          </a:endParaRPr>
        </a:p>
      </dgm:t>
    </dgm:pt>
    <dgm:pt modelId="{99854826-743D-4862-B1D5-7C4E1313EF59}" type="parTrans" cxnId="{FDB1EAB1-A9B3-407B-8350-7CCB79501718}">
      <dgm:prSet/>
      <dgm:spPr>
        <a:ln w="28575">
          <a:solidFill>
            <a:srgbClr val="20BE60"/>
          </a:solidFill>
        </a:ln>
      </dgm:spPr>
      <dgm:t>
        <a:bodyPr/>
        <a:lstStyle/>
        <a:p>
          <a:endParaRPr lang="fr-FR"/>
        </a:p>
      </dgm:t>
    </dgm:pt>
    <dgm:pt modelId="{4031F26A-ECA0-45A5-837D-87DC4830B0BB}" type="sibTrans" cxnId="{FDB1EAB1-A9B3-407B-8350-7CCB79501718}">
      <dgm:prSet/>
      <dgm:spPr/>
      <dgm:t>
        <a:bodyPr/>
        <a:lstStyle/>
        <a:p>
          <a:endParaRPr lang="fr-FR"/>
        </a:p>
      </dgm:t>
    </dgm:pt>
    <dgm:pt modelId="{14FDBA6C-AA36-4EC4-8E2F-3E872638FD61}">
      <dgm:prSet phldrT="[Texte]"/>
      <dgm:spPr>
        <a:noFill/>
        <a:ln w="28575">
          <a:solidFill>
            <a:srgbClr val="20BE60"/>
          </a:solidFill>
        </a:ln>
      </dgm:spPr>
      <dgm:t>
        <a:bodyPr/>
        <a:lstStyle/>
        <a:p>
          <a:r>
            <a:rPr lang="fr-FR">
              <a:solidFill>
                <a:sysClr val="windowText" lastClr="000000"/>
              </a:solidFill>
            </a:rPr>
            <a:t>Volume</a:t>
          </a:r>
        </a:p>
      </dgm:t>
    </dgm:pt>
    <dgm:pt modelId="{D1E2CD19-27FE-4052-9128-A927CF4D5427}" type="parTrans" cxnId="{1A0689D5-1FD8-4979-934A-56A411303B57}">
      <dgm:prSet/>
      <dgm:spPr>
        <a:ln w="28575">
          <a:solidFill>
            <a:srgbClr val="20BE60"/>
          </a:solidFill>
        </a:ln>
      </dgm:spPr>
      <dgm:t>
        <a:bodyPr/>
        <a:lstStyle/>
        <a:p>
          <a:endParaRPr lang="fr-FR"/>
        </a:p>
      </dgm:t>
    </dgm:pt>
    <dgm:pt modelId="{DDDF2644-4A36-4871-A0CB-1D8F6B7BE04B}" type="sibTrans" cxnId="{1A0689D5-1FD8-4979-934A-56A411303B57}">
      <dgm:prSet/>
      <dgm:spPr/>
      <dgm:t>
        <a:bodyPr/>
        <a:lstStyle/>
        <a:p>
          <a:endParaRPr lang="fr-FR"/>
        </a:p>
      </dgm:t>
    </dgm:pt>
    <dgm:pt modelId="{EA85A033-95D7-4D50-9D48-3C6708350BDE}" type="pres">
      <dgm:prSet presAssocID="{79D16B26-157B-4F4C-BE83-D96D4ACBE91B}" presName="Name0" presStyleCnt="0">
        <dgm:presLayoutVars>
          <dgm:chPref val="1"/>
          <dgm:dir/>
          <dgm:animOne val="branch"/>
          <dgm:animLvl val="lvl"/>
          <dgm:resizeHandles val="exact"/>
        </dgm:presLayoutVars>
      </dgm:prSet>
      <dgm:spPr/>
    </dgm:pt>
    <dgm:pt modelId="{AE6A1A7B-2BEC-4258-B0B9-E60A2AE6D4C3}" type="pres">
      <dgm:prSet presAssocID="{167D776F-CF53-4BC1-ABB5-0E8D0DC75CE5}" presName="root1" presStyleCnt="0"/>
      <dgm:spPr/>
    </dgm:pt>
    <dgm:pt modelId="{6BB67703-F83C-4337-82E6-A82C8EB54FCA}" type="pres">
      <dgm:prSet presAssocID="{167D776F-CF53-4BC1-ABB5-0E8D0DC75CE5}" presName="LevelOneTextNode" presStyleLbl="node0" presStyleIdx="0" presStyleCnt="1">
        <dgm:presLayoutVars>
          <dgm:chPref val="3"/>
        </dgm:presLayoutVars>
      </dgm:prSet>
      <dgm:spPr/>
    </dgm:pt>
    <dgm:pt modelId="{B1F49061-2744-44E8-91B3-3F13A6CC99AA}" type="pres">
      <dgm:prSet presAssocID="{167D776F-CF53-4BC1-ABB5-0E8D0DC75CE5}" presName="level2hierChild" presStyleCnt="0"/>
      <dgm:spPr/>
    </dgm:pt>
    <dgm:pt modelId="{D72792EF-4263-4F44-BBAA-76FABADFCFA2}" type="pres">
      <dgm:prSet presAssocID="{9ED06AD0-99E4-49BF-A709-4631779F3193}" presName="conn2-1" presStyleLbl="parChTrans1D2" presStyleIdx="0" presStyleCnt="2"/>
      <dgm:spPr/>
    </dgm:pt>
    <dgm:pt modelId="{D29E64A9-225B-441F-AFC1-3770AB89FE91}" type="pres">
      <dgm:prSet presAssocID="{9ED06AD0-99E4-49BF-A709-4631779F3193}" presName="connTx" presStyleLbl="parChTrans1D2" presStyleIdx="0" presStyleCnt="2"/>
      <dgm:spPr/>
    </dgm:pt>
    <dgm:pt modelId="{3EF963BF-B24D-474D-9CB4-D930027107AE}" type="pres">
      <dgm:prSet presAssocID="{C036F1EE-B36F-490C-80F4-A72E5DB3EFB4}" presName="root2" presStyleCnt="0"/>
      <dgm:spPr/>
    </dgm:pt>
    <dgm:pt modelId="{4735E61C-8760-4D8C-8BAA-7CF682ED82EF}" type="pres">
      <dgm:prSet presAssocID="{C036F1EE-B36F-490C-80F4-A72E5DB3EFB4}" presName="LevelTwoTextNode" presStyleLbl="node2" presStyleIdx="0" presStyleCnt="2">
        <dgm:presLayoutVars>
          <dgm:chPref val="3"/>
        </dgm:presLayoutVars>
      </dgm:prSet>
      <dgm:spPr/>
    </dgm:pt>
    <dgm:pt modelId="{D9195355-EB2E-41CF-B280-009A4C99076B}" type="pres">
      <dgm:prSet presAssocID="{C036F1EE-B36F-490C-80F4-A72E5DB3EFB4}" presName="level3hierChild" presStyleCnt="0"/>
      <dgm:spPr/>
    </dgm:pt>
    <dgm:pt modelId="{CE1443AF-B755-473F-BEA5-66B9B3AC28C5}" type="pres">
      <dgm:prSet presAssocID="{2AF06128-BABA-445F-9D47-A032407C47DE}" presName="conn2-1" presStyleLbl="parChTrans1D3" presStyleIdx="0" presStyleCnt="6"/>
      <dgm:spPr/>
    </dgm:pt>
    <dgm:pt modelId="{2E9EE5E5-AE25-4056-BFF2-6D555BF408C0}" type="pres">
      <dgm:prSet presAssocID="{2AF06128-BABA-445F-9D47-A032407C47DE}" presName="connTx" presStyleLbl="parChTrans1D3" presStyleIdx="0" presStyleCnt="6"/>
      <dgm:spPr/>
    </dgm:pt>
    <dgm:pt modelId="{199B7FE7-EE51-4B50-87BD-6998F5C9472B}" type="pres">
      <dgm:prSet presAssocID="{51A92B06-6CC8-4FBF-AEAA-8E9C973C1026}" presName="root2" presStyleCnt="0"/>
      <dgm:spPr/>
    </dgm:pt>
    <dgm:pt modelId="{1D743FE9-A797-4A60-B194-09A3D90EA26B}" type="pres">
      <dgm:prSet presAssocID="{51A92B06-6CC8-4FBF-AEAA-8E9C973C1026}" presName="LevelTwoTextNode" presStyleLbl="node3" presStyleIdx="0" presStyleCnt="6">
        <dgm:presLayoutVars>
          <dgm:chPref val="3"/>
        </dgm:presLayoutVars>
      </dgm:prSet>
      <dgm:spPr/>
    </dgm:pt>
    <dgm:pt modelId="{A52007EF-7D64-427A-A7E8-84AE8C0A74A0}" type="pres">
      <dgm:prSet presAssocID="{51A92B06-6CC8-4FBF-AEAA-8E9C973C1026}" presName="level3hierChild" presStyleCnt="0"/>
      <dgm:spPr/>
    </dgm:pt>
    <dgm:pt modelId="{0D572AD4-BA32-4724-81E0-30D979FB3C1A}" type="pres">
      <dgm:prSet presAssocID="{910CFB87-F900-4D4E-A9B2-C2BC6F1BA41D}" presName="conn2-1" presStyleLbl="parChTrans1D4" presStyleIdx="0" presStyleCnt="11"/>
      <dgm:spPr/>
    </dgm:pt>
    <dgm:pt modelId="{96E502EB-7195-4E47-8441-C625AC90C8CB}" type="pres">
      <dgm:prSet presAssocID="{910CFB87-F900-4D4E-A9B2-C2BC6F1BA41D}" presName="connTx" presStyleLbl="parChTrans1D4" presStyleIdx="0" presStyleCnt="11"/>
      <dgm:spPr/>
    </dgm:pt>
    <dgm:pt modelId="{B39C6D9C-DA5D-4470-9409-D38C395C1693}" type="pres">
      <dgm:prSet presAssocID="{9937D6D2-EFA8-4DE3-832A-25B9EADBA215}" presName="root2" presStyleCnt="0"/>
      <dgm:spPr/>
    </dgm:pt>
    <dgm:pt modelId="{58481304-9406-4588-97E0-45C755B83F03}" type="pres">
      <dgm:prSet presAssocID="{9937D6D2-EFA8-4DE3-832A-25B9EADBA215}" presName="LevelTwoTextNode" presStyleLbl="node4" presStyleIdx="0" presStyleCnt="11">
        <dgm:presLayoutVars>
          <dgm:chPref val="3"/>
        </dgm:presLayoutVars>
      </dgm:prSet>
      <dgm:spPr/>
    </dgm:pt>
    <dgm:pt modelId="{7CF9A76E-EE09-453B-B1DE-D5A6BAB05CA2}" type="pres">
      <dgm:prSet presAssocID="{9937D6D2-EFA8-4DE3-832A-25B9EADBA215}" presName="level3hierChild" presStyleCnt="0"/>
      <dgm:spPr/>
    </dgm:pt>
    <dgm:pt modelId="{D040EF5F-B3EE-4D51-8463-38888D924BCB}" type="pres">
      <dgm:prSet presAssocID="{511D9706-FB85-4342-92CB-13B9555B17E8}" presName="conn2-1" presStyleLbl="parChTrans1D4" presStyleIdx="1" presStyleCnt="11"/>
      <dgm:spPr/>
    </dgm:pt>
    <dgm:pt modelId="{D9BE11D5-9C44-4291-BB6A-B07C012239B1}" type="pres">
      <dgm:prSet presAssocID="{511D9706-FB85-4342-92CB-13B9555B17E8}" presName="connTx" presStyleLbl="parChTrans1D4" presStyleIdx="1" presStyleCnt="11"/>
      <dgm:spPr/>
    </dgm:pt>
    <dgm:pt modelId="{E3E5C432-C2FE-4FB7-9E4D-620A93D3DCDF}" type="pres">
      <dgm:prSet presAssocID="{D388BA7D-5BBF-4755-8B5C-BBDEDEF5E85D}" presName="root2" presStyleCnt="0"/>
      <dgm:spPr/>
    </dgm:pt>
    <dgm:pt modelId="{D72FB55D-E6D0-4BD5-ADAB-CA3BFD58BF91}" type="pres">
      <dgm:prSet presAssocID="{D388BA7D-5BBF-4755-8B5C-BBDEDEF5E85D}" presName="LevelTwoTextNode" presStyleLbl="node4" presStyleIdx="1" presStyleCnt="11">
        <dgm:presLayoutVars>
          <dgm:chPref val="3"/>
        </dgm:presLayoutVars>
      </dgm:prSet>
      <dgm:spPr/>
    </dgm:pt>
    <dgm:pt modelId="{C137E00A-081C-4E7C-9206-9519BD78DB5A}" type="pres">
      <dgm:prSet presAssocID="{D388BA7D-5BBF-4755-8B5C-BBDEDEF5E85D}" presName="level3hierChild" presStyleCnt="0"/>
      <dgm:spPr/>
    </dgm:pt>
    <dgm:pt modelId="{9E1E2380-64DD-4D9F-8069-E2FA3292D5B7}" type="pres">
      <dgm:prSet presAssocID="{502F30E3-38F3-46E4-952A-0EC7D6DA3C80}" presName="conn2-1" presStyleLbl="parChTrans1D3" presStyleIdx="1" presStyleCnt="6"/>
      <dgm:spPr/>
    </dgm:pt>
    <dgm:pt modelId="{B284A560-DFFA-4020-B54D-8B1C73355179}" type="pres">
      <dgm:prSet presAssocID="{502F30E3-38F3-46E4-952A-0EC7D6DA3C80}" presName="connTx" presStyleLbl="parChTrans1D3" presStyleIdx="1" presStyleCnt="6"/>
      <dgm:spPr/>
    </dgm:pt>
    <dgm:pt modelId="{D9FACC1A-18E6-47A0-80A2-B9D1258946AA}" type="pres">
      <dgm:prSet presAssocID="{5A0BF5FC-F49F-48BA-A4BD-D19358B500AD}" presName="root2" presStyleCnt="0"/>
      <dgm:spPr/>
    </dgm:pt>
    <dgm:pt modelId="{D461AAA6-62BF-402E-B6FF-64CC8AA0589B}" type="pres">
      <dgm:prSet presAssocID="{5A0BF5FC-F49F-48BA-A4BD-D19358B500AD}" presName="LevelTwoTextNode" presStyleLbl="node3" presStyleIdx="1" presStyleCnt="6">
        <dgm:presLayoutVars>
          <dgm:chPref val="3"/>
        </dgm:presLayoutVars>
      </dgm:prSet>
      <dgm:spPr/>
    </dgm:pt>
    <dgm:pt modelId="{979DC57B-B00C-45A9-AA4B-59B0D52F4FC9}" type="pres">
      <dgm:prSet presAssocID="{5A0BF5FC-F49F-48BA-A4BD-D19358B500AD}" presName="level3hierChild" presStyleCnt="0"/>
      <dgm:spPr/>
    </dgm:pt>
    <dgm:pt modelId="{0339918E-277B-47A0-A338-26A5BD1A0649}" type="pres">
      <dgm:prSet presAssocID="{D77E99D5-E13B-40A2-8ED5-98D8C4F63DBA}" presName="conn2-1" presStyleLbl="parChTrans1D4" presStyleIdx="2" presStyleCnt="11"/>
      <dgm:spPr/>
    </dgm:pt>
    <dgm:pt modelId="{649BDDEC-8C18-4F8F-9240-874A91F1C667}" type="pres">
      <dgm:prSet presAssocID="{D77E99D5-E13B-40A2-8ED5-98D8C4F63DBA}" presName="connTx" presStyleLbl="parChTrans1D4" presStyleIdx="2" presStyleCnt="11"/>
      <dgm:spPr/>
    </dgm:pt>
    <dgm:pt modelId="{99D29182-1B19-4D1D-97AB-E583A80DA254}" type="pres">
      <dgm:prSet presAssocID="{D978611C-95CA-42E7-BA01-E75E8C3DEAB7}" presName="root2" presStyleCnt="0"/>
      <dgm:spPr/>
    </dgm:pt>
    <dgm:pt modelId="{1D40563F-C4D4-4C7D-BE33-FD293D9A3F6B}" type="pres">
      <dgm:prSet presAssocID="{D978611C-95CA-42E7-BA01-E75E8C3DEAB7}" presName="LevelTwoTextNode" presStyleLbl="node4" presStyleIdx="2" presStyleCnt="11">
        <dgm:presLayoutVars>
          <dgm:chPref val="3"/>
        </dgm:presLayoutVars>
      </dgm:prSet>
      <dgm:spPr/>
    </dgm:pt>
    <dgm:pt modelId="{1F14F893-D846-434A-B8B2-B1A2A3B75EC3}" type="pres">
      <dgm:prSet presAssocID="{D978611C-95CA-42E7-BA01-E75E8C3DEAB7}" presName="level3hierChild" presStyleCnt="0"/>
      <dgm:spPr/>
    </dgm:pt>
    <dgm:pt modelId="{2C9608EA-0B69-46DE-9C6D-B5CBB15267FC}" type="pres">
      <dgm:prSet presAssocID="{FBB3FA4D-3180-4520-A162-D131A6E01CC1}" presName="conn2-1" presStyleLbl="parChTrans1D4" presStyleIdx="3" presStyleCnt="11"/>
      <dgm:spPr/>
    </dgm:pt>
    <dgm:pt modelId="{9158F545-6D7F-4693-AF02-1370B01E63C3}" type="pres">
      <dgm:prSet presAssocID="{FBB3FA4D-3180-4520-A162-D131A6E01CC1}" presName="connTx" presStyleLbl="parChTrans1D4" presStyleIdx="3" presStyleCnt="11"/>
      <dgm:spPr/>
    </dgm:pt>
    <dgm:pt modelId="{AE41218B-062B-417F-B8C2-42CFBA69A588}" type="pres">
      <dgm:prSet presAssocID="{74F99955-80FD-4E1A-8FFD-54808E8007DC}" presName="root2" presStyleCnt="0"/>
      <dgm:spPr/>
    </dgm:pt>
    <dgm:pt modelId="{7608345A-7FE5-4720-A7C1-06977566BEDC}" type="pres">
      <dgm:prSet presAssocID="{74F99955-80FD-4E1A-8FFD-54808E8007DC}" presName="LevelTwoTextNode" presStyleLbl="node4" presStyleIdx="3" presStyleCnt="11">
        <dgm:presLayoutVars>
          <dgm:chPref val="3"/>
        </dgm:presLayoutVars>
      </dgm:prSet>
      <dgm:spPr/>
    </dgm:pt>
    <dgm:pt modelId="{3E3F8A2A-8005-4E4B-91AB-4577F81C0C5C}" type="pres">
      <dgm:prSet presAssocID="{74F99955-80FD-4E1A-8FFD-54808E8007DC}" presName="level3hierChild" presStyleCnt="0"/>
      <dgm:spPr/>
    </dgm:pt>
    <dgm:pt modelId="{EA4E9BEE-6B57-431A-A227-3CA967A1E97B}" type="pres">
      <dgm:prSet presAssocID="{8AC0F0D2-AF82-4789-9A4D-51A19F3D54D3}" presName="conn2-1" presStyleLbl="parChTrans1D3" presStyleIdx="2" presStyleCnt="6"/>
      <dgm:spPr/>
    </dgm:pt>
    <dgm:pt modelId="{3554FB82-8AD6-4FB0-B0A1-10C191A58644}" type="pres">
      <dgm:prSet presAssocID="{8AC0F0D2-AF82-4789-9A4D-51A19F3D54D3}" presName="connTx" presStyleLbl="parChTrans1D3" presStyleIdx="2" presStyleCnt="6"/>
      <dgm:spPr/>
    </dgm:pt>
    <dgm:pt modelId="{911192DB-02A6-4FBD-B9DF-6403E4AFB2EF}" type="pres">
      <dgm:prSet presAssocID="{23BD33F1-5479-4090-8103-DDEABBD1DDBA}" presName="root2" presStyleCnt="0"/>
      <dgm:spPr/>
    </dgm:pt>
    <dgm:pt modelId="{2CA7536A-E3B7-46E9-8DDA-92E81589C022}" type="pres">
      <dgm:prSet presAssocID="{23BD33F1-5479-4090-8103-DDEABBD1DDBA}" presName="LevelTwoTextNode" presStyleLbl="node3" presStyleIdx="2" presStyleCnt="6">
        <dgm:presLayoutVars>
          <dgm:chPref val="3"/>
        </dgm:presLayoutVars>
      </dgm:prSet>
      <dgm:spPr/>
    </dgm:pt>
    <dgm:pt modelId="{8E37A9F2-4457-4A5E-838C-E8D6A9914D40}" type="pres">
      <dgm:prSet presAssocID="{23BD33F1-5479-4090-8103-DDEABBD1DDBA}" presName="level3hierChild" presStyleCnt="0"/>
      <dgm:spPr/>
    </dgm:pt>
    <dgm:pt modelId="{71F64883-4EEA-4F02-8B75-1AAB5759E43B}" type="pres">
      <dgm:prSet presAssocID="{50422137-8AE9-4F4C-A0F4-C5B3B13EA826}" presName="conn2-1" presStyleLbl="parChTrans1D4" presStyleIdx="4" presStyleCnt="11"/>
      <dgm:spPr/>
    </dgm:pt>
    <dgm:pt modelId="{A89AC4A4-4905-4506-86EF-0F0B8492DBEC}" type="pres">
      <dgm:prSet presAssocID="{50422137-8AE9-4F4C-A0F4-C5B3B13EA826}" presName="connTx" presStyleLbl="parChTrans1D4" presStyleIdx="4" presStyleCnt="11"/>
      <dgm:spPr/>
    </dgm:pt>
    <dgm:pt modelId="{FF3D97EC-3449-4135-A065-1813A173668F}" type="pres">
      <dgm:prSet presAssocID="{DC4E94EF-A07C-47B8-9B07-214FB49E4560}" presName="root2" presStyleCnt="0"/>
      <dgm:spPr/>
    </dgm:pt>
    <dgm:pt modelId="{B44C25CF-FD96-40D8-9F21-19B46AFF5154}" type="pres">
      <dgm:prSet presAssocID="{DC4E94EF-A07C-47B8-9B07-214FB49E4560}" presName="LevelTwoTextNode" presStyleLbl="node4" presStyleIdx="4" presStyleCnt="11">
        <dgm:presLayoutVars>
          <dgm:chPref val="3"/>
        </dgm:presLayoutVars>
      </dgm:prSet>
      <dgm:spPr/>
    </dgm:pt>
    <dgm:pt modelId="{D5EEA0A8-BC0E-4BBC-BDDC-04CE861BBB47}" type="pres">
      <dgm:prSet presAssocID="{DC4E94EF-A07C-47B8-9B07-214FB49E4560}" presName="level3hierChild" presStyleCnt="0"/>
      <dgm:spPr/>
    </dgm:pt>
    <dgm:pt modelId="{9B8B0943-9ECE-46E6-AE46-89DA301E591B}" type="pres">
      <dgm:prSet presAssocID="{5871E1D0-ADDC-4328-9BD4-334EF7399430}" presName="conn2-1" presStyleLbl="parChTrans1D4" presStyleIdx="5" presStyleCnt="11"/>
      <dgm:spPr/>
    </dgm:pt>
    <dgm:pt modelId="{84C37318-3397-4B64-840E-A2B8741DB083}" type="pres">
      <dgm:prSet presAssocID="{5871E1D0-ADDC-4328-9BD4-334EF7399430}" presName="connTx" presStyleLbl="parChTrans1D4" presStyleIdx="5" presStyleCnt="11"/>
      <dgm:spPr/>
    </dgm:pt>
    <dgm:pt modelId="{A552A0D9-C554-4DD2-BA82-67AEAF4372A0}" type="pres">
      <dgm:prSet presAssocID="{ECE72CC3-F453-4AC1-A1CB-0C7F372021F1}" presName="root2" presStyleCnt="0"/>
      <dgm:spPr/>
    </dgm:pt>
    <dgm:pt modelId="{31B5B8CD-1206-48C6-92DA-75056DA5631D}" type="pres">
      <dgm:prSet presAssocID="{ECE72CC3-F453-4AC1-A1CB-0C7F372021F1}" presName="LevelTwoTextNode" presStyleLbl="node4" presStyleIdx="5" presStyleCnt="11">
        <dgm:presLayoutVars>
          <dgm:chPref val="3"/>
        </dgm:presLayoutVars>
      </dgm:prSet>
      <dgm:spPr/>
    </dgm:pt>
    <dgm:pt modelId="{A64F42BA-3E0E-4301-A559-F43D67A3734E}" type="pres">
      <dgm:prSet presAssocID="{ECE72CC3-F453-4AC1-A1CB-0C7F372021F1}" presName="level3hierChild" presStyleCnt="0"/>
      <dgm:spPr/>
    </dgm:pt>
    <dgm:pt modelId="{47C2FD09-08C7-464E-BE78-08EA746271E8}" type="pres">
      <dgm:prSet presAssocID="{4B3ECD7A-D5BE-49D8-B395-B1C37C201BA7}" presName="conn2-1" presStyleLbl="parChTrans1D2" presStyleIdx="1" presStyleCnt="2"/>
      <dgm:spPr/>
    </dgm:pt>
    <dgm:pt modelId="{3EBA61F1-523A-4169-8549-5F9B75A64780}" type="pres">
      <dgm:prSet presAssocID="{4B3ECD7A-D5BE-49D8-B395-B1C37C201BA7}" presName="connTx" presStyleLbl="parChTrans1D2" presStyleIdx="1" presStyleCnt="2"/>
      <dgm:spPr/>
    </dgm:pt>
    <dgm:pt modelId="{A1730E9C-A9B1-41B9-B921-DE69E0D412FE}" type="pres">
      <dgm:prSet presAssocID="{15B231D8-D27C-4B0D-9651-27C9D5CC7B8A}" presName="root2" presStyleCnt="0"/>
      <dgm:spPr/>
    </dgm:pt>
    <dgm:pt modelId="{C1C9A1AA-84B8-4A7B-8241-8675CB61BB20}" type="pres">
      <dgm:prSet presAssocID="{15B231D8-D27C-4B0D-9651-27C9D5CC7B8A}" presName="LevelTwoTextNode" presStyleLbl="node2" presStyleIdx="1" presStyleCnt="2">
        <dgm:presLayoutVars>
          <dgm:chPref val="3"/>
        </dgm:presLayoutVars>
      </dgm:prSet>
      <dgm:spPr/>
    </dgm:pt>
    <dgm:pt modelId="{557B86AF-4302-4F45-8B9D-21281D2F4604}" type="pres">
      <dgm:prSet presAssocID="{15B231D8-D27C-4B0D-9651-27C9D5CC7B8A}" presName="level3hierChild" presStyleCnt="0"/>
      <dgm:spPr/>
    </dgm:pt>
    <dgm:pt modelId="{7D62406E-0406-432D-9E09-1B0D3D3F1715}" type="pres">
      <dgm:prSet presAssocID="{03268D7E-64F1-4293-9801-3832585F2EFD}" presName="conn2-1" presStyleLbl="parChTrans1D3" presStyleIdx="3" presStyleCnt="6"/>
      <dgm:spPr/>
    </dgm:pt>
    <dgm:pt modelId="{CCF996E2-5BD0-4A23-BD72-C60C310934E8}" type="pres">
      <dgm:prSet presAssocID="{03268D7E-64F1-4293-9801-3832585F2EFD}" presName="connTx" presStyleLbl="parChTrans1D3" presStyleIdx="3" presStyleCnt="6"/>
      <dgm:spPr/>
    </dgm:pt>
    <dgm:pt modelId="{96A53DDE-E574-4CCD-87DA-5C0CD1CDD82C}" type="pres">
      <dgm:prSet presAssocID="{F556944B-5A72-4235-8077-9685348A4391}" presName="root2" presStyleCnt="0"/>
      <dgm:spPr/>
    </dgm:pt>
    <dgm:pt modelId="{297F0969-E926-45DA-BE9F-488601AC83D8}" type="pres">
      <dgm:prSet presAssocID="{F556944B-5A72-4235-8077-9685348A4391}" presName="LevelTwoTextNode" presStyleLbl="node3" presStyleIdx="3" presStyleCnt="6">
        <dgm:presLayoutVars>
          <dgm:chPref val="3"/>
        </dgm:presLayoutVars>
      </dgm:prSet>
      <dgm:spPr/>
    </dgm:pt>
    <dgm:pt modelId="{5F353D85-D795-4812-98BC-EF7E4D1D51EC}" type="pres">
      <dgm:prSet presAssocID="{F556944B-5A72-4235-8077-9685348A4391}" presName="level3hierChild" presStyleCnt="0"/>
      <dgm:spPr/>
    </dgm:pt>
    <dgm:pt modelId="{FEEAE6F2-C959-45AD-BA77-01AA1893490B}" type="pres">
      <dgm:prSet presAssocID="{B0353550-F146-4AEF-A6B0-BC1072F0D18F}" presName="conn2-1" presStyleLbl="parChTrans1D4" presStyleIdx="6" presStyleCnt="11"/>
      <dgm:spPr/>
    </dgm:pt>
    <dgm:pt modelId="{72034FFF-BF8D-4B6F-9871-A7529F97A63C}" type="pres">
      <dgm:prSet presAssocID="{B0353550-F146-4AEF-A6B0-BC1072F0D18F}" presName="connTx" presStyleLbl="parChTrans1D4" presStyleIdx="6" presStyleCnt="11"/>
      <dgm:spPr/>
    </dgm:pt>
    <dgm:pt modelId="{64125B85-F06A-419C-86F7-C2C6AA83728B}" type="pres">
      <dgm:prSet presAssocID="{011B9EDA-3DEF-4F68-90C9-78368FC8DDC8}" presName="root2" presStyleCnt="0"/>
      <dgm:spPr/>
    </dgm:pt>
    <dgm:pt modelId="{B7DC154E-9B84-4A74-A6F6-B71445307603}" type="pres">
      <dgm:prSet presAssocID="{011B9EDA-3DEF-4F68-90C9-78368FC8DDC8}" presName="LevelTwoTextNode" presStyleLbl="node4" presStyleIdx="6" presStyleCnt="11">
        <dgm:presLayoutVars>
          <dgm:chPref val="3"/>
        </dgm:presLayoutVars>
      </dgm:prSet>
      <dgm:spPr/>
    </dgm:pt>
    <dgm:pt modelId="{C34E2668-ADA7-4A6E-B999-1D555A66147C}" type="pres">
      <dgm:prSet presAssocID="{011B9EDA-3DEF-4F68-90C9-78368FC8DDC8}" presName="level3hierChild" presStyleCnt="0"/>
      <dgm:spPr/>
    </dgm:pt>
    <dgm:pt modelId="{8DCE28F6-D7F2-42DE-8448-BC44AEBE3F36}" type="pres">
      <dgm:prSet presAssocID="{99854826-743D-4862-B1D5-7C4E1313EF59}" presName="conn2-1" presStyleLbl="parChTrans1D4" presStyleIdx="7" presStyleCnt="11"/>
      <dgm:spPr/>
    </dgm:pt>
    <dgm:pt modelId="{CC32838D-BF41-4D93-BC5C-A9D4C7E75088}" type="pres">
      <dgm:prSet presAssocID="{99854826-743D-4862-B1D5-7C4E1313EF59}" presName="connTx" presStyleLbl="parChTrans1D4" presStyleIdx="7" presStyleCnt="11"/>
      <dgm:spPr/>
    </dgm:pt>
    <dgm:pt modelId="{EC9D08BF-A7A9-4DD2-8484-F5A35C534131}" type="pres">
      <dgm:prSet presAssocID="{410DC315-26B0-4641-9EDB-AAA2EE9DFF33}" presName="root2" presStyleCnt="0"/>
      <dgm:spPr/>
    </dgm:pt>
    <dgm:pt modelId="{5722B6D8-165F-44CE-9E9D-B753635B838D}" type="pres">
      <dgm:prSet presAssocID="{410DC315-26B0-4641-9EDB-AAA2EE9DFF33}" presName="LevelTwoTextNode" presStyleLbl="node4" presStyleIdx="7" presStyleCnt="11">
        <dgm:presLayoutVars>
          <dgm:chPref val="3"/>
        </dgm:presLayoutVars>
      </dgm:prSet>
      <dgm:spPr/>
    </dgm:pt>
    <dgm:pt modelId="{DEC579BD-6D32-4E5D-B52A-A73D7C077F43}" type="pres">
      <dgm:prSet presAssocID="{410DC315-26B0-4641-9EDB-AAA2EE9DFF33}" presName="level3hierChild" presStyleCnt="0"/>
      <dgm:spPr/>
    </dgm:pt>
    <dgm:pt modelId="{B7DBEB27-00C5-4768-9AD3-4ADDFF65B774}" type="pres">
      <dgm:prSet presAssocID="{D1E2CD19-27FE-4052-9128-A927CF4D5427}" presName="conn2-1" presStyleLbl="parChTrans1D4" presStyleIdx="8" presStyleCnt="11"/>
      <dgm:spPr/>
    </dgm:pt>
    <dgm:pt modelId="{74C40CF2-E191-4AD3-90EC-97FD804A6F2A}" type="pres">
      <dgm:prSet presAssocID="{D1E2CD19-27FE-4052-9128-A927CF4D5427}" presName="connTx" presStyleLbl="parChTrans1D4" presStyleIdx="8" presStyleCnt="11"/>
      <dgm:spPr/>
    </dgm:pt>
    <dgm:pt modelId="{D99D5C8D-63BA-4C56-A48E-F20A19ABFD85}" type="pres">
      <dgm:prSet presAssocID="{14FDBA6C-AA36-4EC4-8E2F-3E872638FD61}" presName="root2" presStyleCnt="0"/>
      <dgm:spPr/>
    </dgm:pt>
    <dgm:pt modelId="{378E7290-775E-42FA-AE96-623CCEF2F1A4}" type="pres">
      <dgm:prSet presAssocID="{14FDBA6C-AA36-4EC4-8E2F-3E872638FD61}" presName="LevelTwoTextNode" presStyleLbl="node4" presStyleIdx="8" presStyleCnt="11">
        <dgm:presLayoutVars>
          <dgm:chPref val="3"/>
        </dgm:presLayoutVars>
      </dgm:prSet>
      <dgm:spPr/>
    </dgm:pt>
    <dgm:pt modelId="{A90AA72A-CDB0-405E-8FC8-C608773F1AF1}" type="pres">
      <dgm:prSet presAssocID="{14FDBA6C-AA36-4EC4-8E2F-3E872638FD61}" presName="level3hierChild" presStyleCnt="0"/>
      <dgm:spPr/>
    </dgm:pt>
    <dgm:pt modelId="{C4E111FF-24BF-43AE-BC0F-685CBAA09FB0}" type="pres">
      <dgm:prSet presAssocID="{AFABDD4E-E7B0-48DD-9CDA-FCA58F0E33A8}" presName="conn2-1" presStyleLbl="parChTrans1D3" presStyleIdx="4" presStyleCnt="6"/>
      <dgm:spPr/>
    </dgm:pt>
    <dgm:pt modelId="{80333E59-D8A7-420F-AE47-0B8B37A139D2}" type="pres">
      <dgm:prSet presAssocID="{AFABDD4E-E7B0-48DD-9CDA-FCA58F0E33A8}" presName="connTx" presStyleLbl="parChTrans1D3" presStyleIdx="4" presStyleCnt="6"/>
      <dgm:spPr/>
    </dgm:pt>
    <dgm:pt modelId="{0BF84C76-059D-4183-9B61-74FE92267823}" type="pres">
      <dgm:prSet presAssocID="{92DE899B-C335-4A72-ADEB-1371E11D9A58}" presName="root2" presStyleCnt="0"/>
      <dgm:spPr/>
    </dgm:pt>
    <dgm:pt modelId="{FD53545B-A545-46C8-ACE0-7B187000264D}" type="pres">
      <dgm:prSet presAssocID="{92DE899B-C335-4A72-ADEB-1371E11D9A58}" presName="LevelTwoTextNode" presStyleLbl="node3" presStyleIdx="4" presStyleCnt="6">
        <dgm:presLayoutVars>
          <dgm:chPref val="3"/>
        </dgm:presLayoutVars>
      </dgm:prSet>
      <dgm:spPr/>
    </dgm:pt>
    <dgm:pt modelId="{825AFF6E-B862-4648-A237-A30F5FB7C83F}" type="pres">
      <dgm:prSet presAssocID="{92DE899B-C335-4A72-ADEB-1371E11D9A58}" presName="level3hierChild" presStyleCnt="0"/>
      <dgm:spPr/>
    </dgm:pt>
    <dgm:pt modelId="{69DB5296-E2F5-4BDE-9D96-C5772588CBA8}" type="pres">
      <dgm:prSet presAssocID="{F9CFE2FA-FF13-4B37-96AE-204A62BF5C51}" presName="conn2-1" presStyleLbl="parChTrans1D3" presStyleIdx="5" presStyleCnt="6"/>
      <dgm:spPr/>
    </dgm:pt>
    <dgm:pt modelId="{59842A01-2360-44AC-B490-E72E10C37B1B}" type="pres">
      <dgm:prSet presAssocID="{F9CFE2FA-FF13-4B37-96AE-204A62BF5C51}" presName="connTx" presStyleLbl="parChTrans1D3" presStyleIdx="5" presStyleCnt="6"/>
      <dgm:spPr/>
    </dgm:pt>
    <dgm:pt modelId="{FACE079C-168D-44D8-ABE3-54EE9E2ECA25}" type="pres">
      <dgm:prSet presAssocID="{DE2624AE-A1E5-4B0D-BC24-8B6D53FC0F20}" presName="root2" presStyleCnt="0"/>
      <dgm:spPr/>
    </dgm:pt>
    <dgm:pt modelId="{F1FBB886-3CED-401D-8142-D25D44EB8342}" type="pres">
      <dgm:prSet presAssocID="{DE2624AE-A1E5-4B0D-BC24-8B6D53FC0F20}" presName="LevelTwoTextNode" presStyleLbl="node3" presStyleIdx="5" presStyleCnt="6">
        <dgm:presLayoutVars>
          <dgm:chPref val="3"/>
        </dgm:presLayoutVars>
      </dgm:prSet>
      <dgm:spPr/>
    </dgm:pt>
    <dgm:pt modelId="{DC6FAE81-9EFE-449B-A50B-E4D60072B387}" type="pres">
      <dgm:prSet presAssocID="{DE2624AE-A1E5-4B0D-BC24-8B6D53FC0F20}" presName="level3hierChild" presStyleCnt="0"/>
      <dgm:spPr/>
    </dgm:pt>
    <dgm:pt modelId="{AA607873-74D3-4444-8069-58AE1F8FA984}" type="pres">
      <dgm:prSet presAssocID="{3939E416-0807-4077-85D6-43BE745E2B54}" presName="conn2-1" presStyleLbl="parChTrans1D4" presStyleIdx="9" presStyleCnt="11"/>
      <dgm:spPr/>
    </dgm:pt>
    <dgm:pt modelId="{40EA5AF9-B743-4717-A034-4EF3233C1134}" type="pres">
      <dgm:prSet presAssocID="{3939E416-0807-4077-85D6-43BE745E2B54}" presName="connTx" presStyleLbl="parChTrans1D4" presStyleIdx="9" presStyleCnt="11"/>
      <dgm:spPr/>
    </dgm:pt>
    <dgm:pt modelId="{7BF6A1DC-8C78-4685-80F1-2F06B77E9E22}" type="pres">
      <dgm:prSet presAssocID="{59665555-C0CD-4AEB-8B8C-42C1D0BC3207}" presName="root2" presStyleCnt="0"/>
      <dgm:spPr/>
    </dgm:pt>
    <dgm:pt modelId="{A6DBF746-3945-4655-8D47-0D40A299B0CB}" type="pres">
      <dgm:prSet presAssocID="{59665555-C0CD-4AEB-8B8C-42C1D0BC3207}" presName="LevelTwoTextNode" presStyleLbl="node4" presStyleIdx="9" presStyleCnt="11">
        <dgm:presLayoutVars>
          <dgm:chPref val="3"/>
        </dgm:presLayoutVars>
      </dgm:prSet>
      <dgm:spPr/>
    </dgm:pt>
    <dgm:pt modelId="{1F2349C2-1623-4CAF-95F8-7154771F4A95}" type="pres">
      <dgm:prSet presAssocID="{59665555-C0CD-4AEB-8B8C-42C1D0BC3207}" presName="level3hierChild" presStyleCnt="0"/>
      <dgm:spPr/>
    </dgm:pt>
    <dgm:pt modelId="{D87E96FD-9C9C-4EE7-BC51-1210363DD065}" type="pres">
      <dgm:prSet presAssocID="{31D36D20-AB8E-46A6-94F4-C488689E7BAB}" presName="conn2-1" presStyleLbl="parChTrans1D4" presStyleIdx="10" presStyleCnt="11"/>
      <dgm:spPr/>
    </dgm:pt>
    <dgm:pt modelId="{4CD5772C-C10B-4E0C-BD33-FC154569F01F}" type="pres">
      <dgm:prSet presAssocID="{31D36D20-AB8E-46A6-94F4-C488689E7BAB}" presName="connTx" presStyleLbl="parChTrans1D4" presStyleIdx="10" presStyleCnt="11"/>
      <dgm:spPr/>
    </dgm:pt>
    <dgm:pt modelId="{E093DA37-0E02-4724-AE5A-737734259600}" type="pres">
      <dgm:prSet presAssocID="{89879CF2-8242-4A69-9780-CC8120AE5ADC}" presName="root2" presStyleCnt="0"/>
      <dgm:spPr/>
    </dgm:pt>
    <dgm:pt modelId="{B83B3640-8E41-4C5C-9585-851D4CF7C098}" type="pres">
      <dgm:prSet presAssocID="{89879CF2-8242-4A69-9780-CC8120AE5ADC}" presName="LevelTwoTextNode" presStyleLbl="node4" presStyleIdx="10" presStyleCnt="11">
        <dgm:presLayoutVars>
          <dgm:chPref val="3"/>
        </dgm:presLayoutVars>
      </dgm:prSet>
      <dgm:spPr/>
    </dgm:pt>
    <dgm:pt modelId="{561F5FAF-FC9E-411C-96BF-5D25288774BC}" type="pres">
      <dgm:prSet presAssocID="{89879CF2-8242-4A69-9780-CC8120AE5ADC}" presName="level3hierChild" presStyleCnt="0"/>
      <dgm:spPr/>
    </dgm:pt>
  </dgm:ptLst>
  <dgm:cxnLst>
    <dgm:cxn modelId="{BD5EA401-932A-4C67-8414-D8E69986FE8E}" type="presOf" srcId="{B0353550-F146-4AEF-A6B0-BC1072F0D18F}" destId="{FEEAE6F2-C959-45AD-BA77-01AA1893490B}" srcOrd="0" destOrd="0" presId="urn:microsoft.com/office/officeart/2008/layout/HorizontalMultiLevelHierarchy"/>
    <dgm:cxn modelId="{6F6B4102-5913-4449-9C48-20C0D0341D46}" srcId="{5A0BF5FC-F49F-48BA-A4BD-D19358B500AD}" destId="{74F99955-80FD-4E1A-8FFD-54808E8007DC}" srcOrd="1" destOrd="0" parTransId="{FBB3FA4D-3180-4520-A162-D131A6E01CC1}" sibTransId="{15FA8ADA-4F01-41B6-BC44-3C7A854D21F6}"/>
    <dgm:cxn modelId="{6E062907-26D2-4430-8A3E-9E7DC12B12BB}" type="presOf" srcId="{5871E1D0-ADDC-4328-9BD4-334EF7399430}" destId="{84C37318-3397-4B64-840E-A2B8741DB083}" srcOrd="1" destOrd="0" presId="urn:microsoft.com/office/officeart/2008/layout/HorizontalMultiLevelHierarchy"/>
    <dgm:cxn modelId="{B728140B-F3D8-4FC1-99F1-AAEEC165DBFD}" type="presOf" srcId="{D77E99D5-E13B-40A2-8ED5-98D8C4F63DBA}" destId="{0339918E-277B-47A0-A338-26A5BD1A0649}" srcOrd="0" destOrd="0" presId="urn:microsoft.com/office/officeart/2008/layout/HorizontalMultiLevelHierarchy"/>
    <dgm:cxn modelId="{BAEAEF13-2E4D-47EF-AA19-E3ED344F80C1}" type="presOf" srcId="{50422137-8AE9-4F4C-A0F4-C5B3B13EA826}" destId="{A89AC4A4-4905-4506-86EF-0F0B8492DBEC}" srcOrd="1" destOrd="0" presId="urn:microsoft.com/office/officeart/2008/layout/HorizontalMultiLevelHierarchy"/>
    <dgm:cxn modelId="{A15D5E1C-F4C9-4302-9EFA-87D86AA0D6CF}" type="presOf" srcId="{AFABDD4E-E7B0-48DD-9CDA-FCA58F0E33A8}" destId="{C4E111FF-24BF-43AE-BC0F-685CBAA09FB0}" srcOrd="0" destOrd="0" presId="urn:microsoft.com/office/officeart/2008/layout/HorizontalMultiLevelHierarchy"/>
    <dgm:cxn modelId="{F2AC521C-4380-412D-BC6A-5F58E20414E4}" type="presOf" srcId="{4B3ECD7A-D5BE-49D8-B395-B1C37C201BA7}" destId="{47C2FD09-08C7-464E-BE78-08EA746271E8}" srcOrd="0" destOrd="0" presId="urn:microsoft.com/office/officeart/2008/layout/HorizontalMultiLevelHierarchy"/>
    <dgm:cxn modelId="{C7C66820-ABB8-4DCA-9254-DFB4FD1A080F}" srcId="{51A92B06-6CC8-4FBF-AEAA-8E9C973C1026}" destId="{9937D6D2-EFA8-4DE3-832A-25B9EADBA215}" srcOrd="0" destOrd="0" parTransId="{910CFB87-F900-4D4E-A9B2-C2BC6F1BA41D}" sibTransId="{7D8CC7CB-8FA6-40EF-B23C-80261884865F}"/>
    <dgm:cxn modelId="{2FDF6721-C4F8-4AF3-B6E4-78288D20F9ED}" type="presOf" srcId="{15B231D8-D27C-4B0D-9651-27C9D5CC7B8A}" destId="{C1C9A1AA-84B8-4A7B-8241-8675CB61BB20}" srcOrd="0" destOrd="0" presId="urn:microsoft.com/office/officeart/2008/layout/HorizontalMultiLevelHierarchy"/>
    <dgm:cxn modelId="{D0FD5122-2097-4B42-86DF-F920764ED044}" type="presOf" srcId="{31D36D20-AB8E-46A6-94F4-C488689E7BAB}" destId="{D87E96FD-9C9C-4EE7-BC51-1210363DD065}" srcOrd="0" destOrd="0" presId="urn:microsoft.com/office/officeart/2008/layout/HorizontalMultiLevelHierarchy"/>
    <dgm:cxn modelId="{EB9F9B25-1907-484C-8194-CF16B82405A6}" type="presOf" srcId="{511D9706-FB85-4342-92CB-13B9555B17E8}" destId="{D9BE11D5-9C44-4291-BB6A-B07C012239B1}" srcOrd="1" destOrd="0" presId="urn:microsoft.com/office/officeart/2008/layout/HorizontalMultiLevelHierarchy"/>
    <dgm:cxn modelId="{A8ADA327-6A09-4EF8-BDE6-D4D7DC91B3CA}" srcId="{15B231D8-D27C-4B0D-9651-27C9D5CC7B8A}" destId="{F556944B-5A72-4235-8077-9685348A4391}" srcOrd="0" destOrd="0" parTransId="{03268D7E-64F1-4293-9801-3832585F2EFD}" sibTransId="{903FF67B-6A48-41F5-ADD6-8A3C3A0DD24B}"/>
    <dgm:cxn modelId="{1DF3ED27-38A9-41E2-BBF3-F65CF6FD9E2E}" type="presOf" srcId="{D1E2CD19-27FE-4052-9128-A927CF4D5427}" destId="{74C40CF2-E191-4AD3-90EC-97FD804A6F2A}" srcOrd="1" destOrd="0" presId="urn:microsoft.com/office/officeart/2008/layout/HorizontalMultiLevelHierarchy"/>
    <dgm:cxn modelId="{113C5A2D-86E7-4DB3-8991-54299BE24BEF}" type="presOf" srcId="{9ED06AD0-99E4-49BF-A709-4631779F3193}" destId="{D72792EF-4263-4F44-BBAA-76FABADFCFA2}" srcOrd="0" destOrd="0" presId="urn:microsoft.com/office/officeart/2008/layout/HorizontalMultiLevelHierarchy"/>
    <dgm:cxn modelId="{D33EA72E-AEA7-4E52-B33E-F8D89A7A5F89}" type="presOf" srcId="{011B9EDA-3DEF-4F68-90C9-78368FC8DDC8}" destId="{B7DC154E-9B84-4A74-A6F6-B71445307603}" srcOrd="0" destOrd="0" presId="urn:microsoft.com/office/officeart/2008/layout/HorizontalMultiLevelHierarchy"/>
    <dgm:cxn modelId="{5E3F5E33-CC47-4F4A-A6AA-0804C2C3B07D}" type="presOf" srcId="{D388BA7D-5BBF-4755-8B5C-BBDEDEF5E85D}" destId="{D72FB55D-E6D0-4BD5-ADAB-CA3BFD58BF91}" srcOrd="0" destOrd="0" presId="urn:microsoft.com/office/officeart/2008/layout/HorizontalMultiLevelHierarchy"/>
    <dgm:cxn modelId="{16E01936-5C24-43CA-A3BC-115A75AAEE9C}" srcId="{15B231D8-D27C-4B0D-9651-27C9D5CC7B8A}" destId="{DE2624AE-A1E5-4B0D-BC24-8B6D53FC0F20}" srcOrd="2" destOrd="0" parTransId="{F9CFE2FA-FF13-4B37-96AE-204A62BF5C51}" sibTransId="{5014A56B-B57B-46EC-8392-F7C9377E26CC}"/>
    <dgm:cxn modelId="{E7745938-01AC-405F-AE24-9DE18A0A2598}" type="presOf" srcId="{D1E2CD19-27FE-4052-9128-A927CF4D5427}" destId="{B7DBEB27-00C5-4768-9AD3-4ADDFF65B774}" srcOrd="0" destOrd="0" presId="urn:microsoft.com/office/officeart/2008/layout/HorizontalMultiLevelHierarchy"/>
    <dgm:cxn modelId="{546B413A-DC6B-4786-B5EF-589FC8AF9CB8}" srcId="{79D16B26-157B-4F4C-BE83-D96D4ACBE91B}" destId="{167D776F-CF53-4BC1-ABB5-0E8D0DC75CE5}" srcOrd="0" destOrd="0" parTransId="{9D1B0158-9767-4498-A1EF-79D3B243F917}" sibTransId="{C77E2997-DCF1-40C1-8353-9C6C7ADF2CBD}"/>
    <dgm:cxn modelId="{DF83783B-271F-457E-94F8-5EA2B5B8CABF}" type="presOf" srcId="{D978611C-95CA-42E7-BA01-E75E8C3DEAB7}" destId="{1D40563F-C4D4-4C7D-BE33-FD293D9A3F6B}" srcOrd="0" destOrd="0" presId="urn:microsoft.com/office/officeart/2008/layout/HorizontalMultiLevelHierarchy"/>
    <dgm:cxn modelId="{6A36D43F-B6EB-4424-BF68-64FB63910B9E}" type="presOf" srcId="{502F30E3-38F3-46E4-952A-0EC7D6DA3C80}" destId="{9E1E2380-64DD-4D9F-8069-E2FA3292D5B7}" srcOrd="0" destOrd="0" presId="urn:microsoft.com/office/officeart/2008/layout/HorizontalMultiLevelHierarchy"/>
    <dgm:cxn modelId="{498D3060-1CA0-4054-9CDB-CC7832F9000D}" type="presOf" srcId="{410DC315-26B0-4641-9EDB-AAA2EE9DFF33}" destId="{5722B6D8-165F-44CE-9E9D-B753635B838D}" srcOrd="0" destOrd="0" presId="urn:microsoft.com/office/officeart/2008/layout/HorizontalMultiLevelHierarchy"/>
    <dgm:cxn modelId="{A1E25160-5C16-4420-AE20-0F0F6CE66D92}" type="presOf" srcId="{74F99955-80FD-4E1A-8FFD-54808E8007DC}" destId="{7608345A-7FE5-4720-A7C1-06977566BEDC}" srcOrd="0" destOrd="0" presId="urn:microsoft.com/office/officeart/2008/layout/HorizontalMultiLevelHierarchy"/>
    <dgm:cxn modelId="{F2AFB244-8F80-497A-8343-35FC26BFEC72}" type="presOf" srcId="{FBB3FA4D-3180-4520-A162-D131A6E01CC1}" destId="{2C9608EA-0B69-46DE-9C6D-B5CBB15267FC}" srcOrd="0" destOrd="0" presId="urn:microsoft.com/office/officeart/2008/layout/HorizontalMultiLevelHierarchy"/>
    <dgm:cxn modelId="{E396CC45-3B76-4194-8743-F2ECCB55483E}" type="presOf" srcId="{3939E416-0807-4077-85D6-43BE745E2B54}" destId="{AA607873-74D3-4444-8069-58AE1F8FA984}" srcOrd="0" destOrd="0" presId="urn:microsoft.com/office/officeart/2008/layout/HorizontalMultiLevelHierarchy"/>
    <dgm:cxn modelId="{925D6746-C4F8-46DA-AD50-EA3AC59BD6B5}" type="presOf" srcId="{F9CFE2FA-FF13-4B37-96AE-204A62BF5C51}" destId="{59842A01-2360-44AC-B490-E72E10C37B1B}" srcOrd="1" destOrd="0" presId="urn:microsoft.com/office/officeart/2008/layout/HorizontalMultiLevelHierarchy"/>
    <dgm:cxn modelId="{C14DEA68-3C0B-4025-AD18-DBA5F72CA7E2}" type="presOf" srcId="{DE2624AE-A1E5-4B0D-BC24-8B6D53FC0F20}" destId="{F1FBB886-3CED-401D-8142-D25D44EB8342}" srcOrd="0" destOrd="0" presId="urn:microsoft.com/office/officeart/2008/layout/HorizontalMultiLevelHierarchy"/>
    <dgm:cxn modelId="{738A5749-056A-4A0B-AAA1-5169543BE21E}" type="presOf" srcId="{2AF06128-BABA-445F-9D47-A032407C47DE}" destId="{2E9EE5E5-AE25-4056-BFF2-6D555BF408C0}" srcOrd="1" destOrd="0" presId="urn:microsoft.com/office/officeart/2008/layout/HorizontalMultiLevelHierarchy"/>
    <dgm:cxn modelId="{3A272F6A-99EE-4CA5-87AD-2FAE21BFCEBF}" srcId="{C036F1EE-B36F-490C-80F4-A72E5DB3EFB4}" destId="{51A92B06-6CC8-4FBF-AEAA-8E9C973C1026}" srcOrd="0" destOrd="0" parTransId="{2AF06128-BABA-445F-9D47-A032407C47DE}" sibTransId="{C69E96F5-EEF0-4F18-9C77-8042F5200F83}"/>
    <dgm:cxn modelId="{A1F7ED4A-1F5F-4ABC-8B7D-687D7868B1FA}" type="presOf" srcId="{C036F1EE-B36F-490C-80F4-A72E5DB3EFB4}" destId="{4735E61C-8760-4D8C-8BAA-7CF682ED82EF}" srcOrd="0" destOrd="0" presId="urn:microsoft.com/office/officeart/2008/layout/HorizontalMultiLevelHierarchy"/>
    <dgm:cxn modelId="{0F2F484B-CC4B-4738-9CF0-E261148B78A8}" type="presOf" srcId="{511D9706-FB85-4342-92CB-13B9555B17E8}" destId="{D040EF5F-B3EE-4D51-8463-38888D924BCB}" srcOrd="0" destOrd="0" presId="urn:microsoft.com/office/officeart/2008/layout/HorizontalMultiLevelHierarchy"/>
    <dgm:cxn modelId="{1813936C-EDD3-4A45-80DF-550422DE20F3}" type="presOf" srcId="{31D36D20-AB8E-46A6-94F4-C488689E7BAB}" destId="{4CD5772C-C10B-4E0C-BD33-FC154569F01F}" srcOrd="1" destOrd="0" presId="urn:microsoft.com/office/officeart/2008/layout/HorizontalMultiLevelHierarchy"/>
    <dgm:cxn modelId="{D03EBB4C-AB9E-42AB-A8B9-1B7BD414ED08}" type="presOf" srcId="{F9CFE2FA-FF13-4B37-96AE-204A62BF5C51}" destId="{69DB5296-E2F5-4BDE-9D96-C5772588CBA8}" srcOrd="0" destOrd="0" presId="urn:microsoft.com/office/officeart/2008/layout/HorizontalMultiLevelHierarchy"/>
    <dgm:cxn modelId="{F9664670-D670-4376-BFFB-2A50B6CA4514}" srcId="{F556944B-5A72-4235-8077-9685348A4391}" destId="{011B9EDA-3DEF-4F68-90C9-78368FC8DDC8}" srcOrd="0" destOrd="0" parTransId="{B0353550-F146-4AEF-A6B0-BC1072F0D18F}" sibTransId="{A6952B80-5F67-427A-B615-68C62574DEDD}"/>
    <dgm:cxn modelId="{B7151E55-7533-4AA1-9902-69A83C5DFC93}" type="presOf" srcId="{92DE899B-C335-4A72-ADEB-1371E11D9A58}" destId="{FD53545B-A545-46C8-ACE0-7B187000264D}" srcOrd="0" destOrd="0" presId="urn:microsoft.com/office/officeart/2008/layout/HorizontalMultiLevelHierarchy"/>
    <dgm:cxn modelId="{2102CD56-BE0B-4BCA-9042-4FEC34FE7206}" type="presOf" srcId="{502F30E3-38F3-46E4-952A-0EC7D6DA3C80}" destId="{B284A560-DFFA-4020-B54D-8B1C73355179}" srcOrd="1" destOrd="0" presId="urn:microsoft.com/office/officeart/2008/layout/HorizontalMultiLevelHierarchy"/>
    <dgm:cxn modelId="{CBCF4079-BC25-44B3-B329-4A13BEDFAF66}" type="presOf" srcId="{8AC0F0D2-AF82-4789-9A4D-51A19F3D54D3}" destId="{3554FB82-8AD6-4FB0-B0A1-10C191A58644}" srcOrd="1" destOrd="0" presId="urn:microsoft.com/office/officeart/2008/layout/HorizontalMultiLevelHierarchy"/>
    <dgm:cxn modelId="{8DDF8379-AB66-41AD-9B37-4E7077213E60}" type="presOf" srcId="{51A92B06-6CC8-4FBF-AEAA-8E9C973C1026}" destId="{1D743FE9-A797-4A60-B194-09A3D90EA26B}" srcOrd="0" destOrd="0" presId="urn:microsoft.com/office/officeart/2008/layout/HorizontalMultiLevelHierarchy"/>
    <dgm:cxn modelId="{A27B625A-1FC3-4B85-B15C-A9E6E61937B5}" srcId="{51A92B06-6CC8-4FBF-AEAA-8E9C973C1026}" destId="{D388BA7D-5BBF-4755-8B5C-BBDEDEF5E85D}" srcOrd="1" destOrd="0" parTransId="{511D9706-FB85-4342-92CB-13B9555B17E8}" sibTransId="{BC0F8C8C-C0DD-419D-8CFA-FEB1DF80EF7B}"/>
    <dgm:cxn modelId="{CFF21884-CB8D-480A-9DE2-BE8A988260D9}" type="presOf" srcId="{910CFB87-F900-4D4E-A9B2-C2BC6F1BA41D}" destId="{96E502EB-7195-4E47-8441-C625AC90C8CB}" srcOrd="1" destOrd="0" presId="urn:microsoft.com/office/officeart/2008/layout/HorizontalMultiLevelHierarchy"/>
    <dgm:cxn modelId="{3A808497-B50F-43AC-BFF8-254DAB078DBD}" type="presOf" srcId="{23BD33F1-5479-4090-8103-DDEABBD1DDBA}" destId="{2CA7536A-E3B7-46E9-8DDA-92E81589C022}" srcOrd="0" destOrd="0" presId="urn:microsoft.com/office/officeart/2008/layout/HorizontalMultiLevelHierarchy"/>
    <dgm:cxn modelId="{E8AEDF9E-20E1-4FF7-A923-6882E7060432}" srcId="{167D776F-CF53-4BC1-ABB5-0E8D0DC75CE5}" destId="{C036F1EE-B36F-490C-80F4-A72E5DB3EFB4}" srcOrd="0" destOrd="0" parTransId="{9ED06AD0-99E4-49BF-A709-4631779F3193}" sibTransId="{2C218211-DF79-4D02-9E24-E98B64BAB0A1}"/>
    <dgm:cxn modelId="{7C538DA4-D545-401B-8B6F-E4F15D47F80E}" type="presOf" srcId="{167D776F-CF53-4BC1-ABB5-0E8D0DC75CE5}" destId="{6BB67703-F83C-4337-82E6-A82C8EB54FCA}" srcOrd="0" destOrd="0" presId="urn:microsoft.com/office/officeart/2008/layout/HorizontalMultiLevelHierarchy"/>
    <dgm:cxn modelId="{33C892AB-E0A5-4113-9F87-05E885C9E690}" type="presOf" srcId="{F556944B-5A72-4235-8077-9685348A4391}" destId="{297F0969-E926-45DA-BE9F-488601AC83D8}" srcOrd="0" destOrd="0" presId="urn:microsoft.com/office/officeart/2008/layout/HorizontalMultiLevelHierarchy"/>
    <dgm:cxn modelId="{7278D9AF-6ADA-45B0-A4CB-0BAB015776B9}" type="presOf" srcId="{99854826-743D-4862-B1D5-7C4E1313EF59}" destId="{8DCE28F6-D7F2-42DE-8448-BC44AEBE3F36}" srcOrd="0" destOrd="0" presId="urn:microsoft.com/office/officeart/2008/layout/HorizontalMultiLevelHierarchy"/>
    <dgm:cxn modelId="{FDB1EAB1-A9B3-407B-8350-7CCB79501718}" srcId="{F556944B-5A72-4235-8077-9685348A4391}" destId="{410DC315-26B0-4641-9EDB-AAA2EE9DFF33}" srcOrd="1" destOrd="0" parTransId="{99854826-743D-4862-B1D5-7C4E1313EF59}" sibTransId="{4031F26A-ECA0-45A5-837D-87DC4830B0BB}"/>
    <dgm:cxn modelId="{E4F162B5-75F9-4543-858C-67AFCD85FE97}" type="presOf" srcId="{ECE72CC3-F453-4AC1-A1CB-0C7F372021F1}" destId="{31B5B8CD-1206-48C6-92DA-75056DA5631D}" srcOrd="0" destOrd="0" presId="urn:microsoft.com/office/officeart/2008/layout/HorizontalMultiLevelHierarchy"/>
    <dgm:cxn modelId="{E8D97AB5-180D-4BC0-B175-A910AD271766}" type="presOf" srcId="{99854826-743D-4862-B1D5-7C4E1313EF59}" destId="{CC32838D-BF41-4D93-BC5C-A9D4C7E75088}" srcOrd="1" destOrd="0" presId="urn:microsoft.com/office/officeart/2008/layout/HorizontalMultiLevelHierarchy"/>
    <dgm:cxn modelId="{45CF6AB9-8DBB-431A-842C-D759F451ACA8}" type="presOf" srcId="{910CFB87-F900-4D4E-A9B2-C2BC6F1BA41D}" destId="{0D572AD4-BA32-4724-81E0-30D979FB3C1A}" srcOrd="0" destOrd="0" presId="urn:microsoft.com/office/officeart/2008/layout/HorizontalMultiLevelHierarchy"/>
    <dgm:cxn modelId="{B37E82BC-60A3-4DCC-84BB-EFD1393A31D3}" type="presOf" srcId="{5A0BF5FC-F49F-48BA-A4BD-D19358B500AD}" destId="{D461AAA6-62BF-402E-B6FF-64CC8AA0589B}" srcOrd="0" destOrd="0" presId="urn:microsoft.com/office/officeart/2008/layout/HorizontalMultiLevelHierarchy"/>
    <dgm:cxn modelId="{8BDAACBD-D9EF-4D3E-940D-2EA6CF13719C}" type="presOf" srcId="{03268D7E-64F1-4293-9801-3832585F2EFD}" destId="{7D62406E-0406-432D-9E09-1B0D3D3F1715}" srcOrd="0" destOrd="0" presId="urn:microsoft.com/office/officeart/2008/layout/HorizontalMultiLevelHierarchy"/>
    <dgm:cxn modelId="{259C23C4-B8B2-4DEE-B0EC-F23A7155CC2E}" type="presOf" srcId="{3939E416-0807-4077-85D6-43BE745E2B54}" destId="{40EA5AF9-B743-4717-A034-4EF3233C1134}" srcOrd="1" destOrd="0" presId="urn:microsoft.com/office/officeart/2008/layout/HorizontalMultiLevelHierarchy"/>
    <dgm:cxn modelId="{D7D723C4-1F13-4BB5-92BD-87829C470899}" type="presOf" srcId="{59665555-C0CD-4AEB-8B8C-42C1D0BC3207}" destId="{A6DBF746-3945-4655-8D47-0D40A299B0CB}" srcOrd="0" destOrd="0" presId="urn:microsoft.com/office/officeart/2008/layout/HorizontalMultiLevelHierarchy"/>
    <dgm:cxn modelId="{D9671AC9-229D-427B-9619-5B577937DC0C}" type="presOf" srcId="{B0353550-F146-4AEF-A6B0-BC1072F0D18F}" destId="{72034FFF-BF8D-4B6F-9871-A7529F97A63C}" srcOrd="1" destOrd="0" presId="urn:microsoft.com/office/officeart/2008/layout/HorizontalMultiLevelHierarchy"/>
    <dgm:cxn modelId="{1A0689D5-1FD8-4979-934A-56A411303B57}" srcId="{F556944B-5A72-4235-8077-9685348A4391}" destId="{14FDBA6C-AA36-4EC4-8E2F-3E872638FD61}" srcOrd="2" destOrd="0" parTransId="{D1E2CD19-27FE-4052-9128-A927CF4D5427}" sibTransId="{DDDF2644-4A36-4871-A0CB-1D8F6B7BE04B}"/>
    <dgm:cxn modelId="{61EEB7D5-E8FF-4780-8CAF-DB515EA930E2}" srcId="{C036F1EE-B36F-490C-80F4-A72E5DB3EFB4}" destId="{23BD33F1-5479-4090-8103-DDEABBD1DDBA}" srcOrd="2" destOrd="0" parTransId="{8AC0F0D2-AF82-4789-9A4D-51A19F3D54D3}" sibTransId="{75572170-07E6-4186-99FE-8112F0F6EEB0}"/>
    <dgm:cxn modelId="{C80664D6-B70D-489F-B0DE-7F7D2E5411F4}" srcId="{DE2624AE-A1E5-4B0D-BC24-8B6D53FC0F20}" destId="{59665555-C0CD-4AEB-8B8C-42C1D0BC3207}" srcOrd="0" destOrd="0" parTransId="{3939E416-0807-4077-85D6-43BE745E2B54}" sibTransId="{8234E3DF-FA95-4BFE-B55E-F900D4C50B5F}"/>
    <dgm:cxn modelId="{96842CD8-6B12-4538-93CB-4DAD17210756}" type="presOf" srcId="{D77E99D5-E13B-40A2-8ED5-98D8C4F63DBA}" destId="{649BDDEC-8C18-4F8F-9240-874A91F1C667}" srcOrd="1" destOrd="0" presId="urn:microsoft.com/office/officeart/2008/layout/HorizontalMultiLevelHierarchy"/>
    <dgm:cxn modelId="{F26ACAD8-202F-444A-AF60-39F7647FD9F9}" srcId="{C036F1EE-B36F-490C-80F4-A72E5DB3EFB4}" destId="{5A0BF5FC-F49F-48BA-A4BD-D19358B500AD}" srcOrd="1" destOrd="0" parTransId="{502F30E3-38F3-46E4-952A-0EC7D6DA3C80}" sibTransId="{7B92019B-13D0-45B9-9112-0F13A86AB66B}"/>
    <dgm:cxn modelId="{EF4064D9-9BAD-467E-BD98-2BE0F1B25703}" srcId="{15B231D8-D27C-4B0D-9651-27C9D5CC7B8A}" destId="{92DE899B-C335-4A72-ADEB-1371E11D9A58}" srcOrd="1" destOrd="0" parTransId="{AFABDD4E-E7B0-48DD-9CDA-FCA58F0E33A8}" sibTransId="{5364887B-6CA1-42D1-949F-F089A3945801}"/>
    <dgm:cxn modelId="{57F59DDC-7C44-48A1-9F8C-F39EDF40F644}" type="presOf" srcId="{FBB3FA4D-3180-4520-A162-D131A6E01CC1}" destId="{9158F545-6D7F-4693-AF02-1370B01E63C3}" srcOrd="1" destOrd="0" presId="urn:microsoft.com/office/officeart/2008/layout/HorizontalMultiLevelHierarchy"/>
    <dgm:cxn modelId="{FC3F31DE-1126-43A8-9E4E-A1809BACDAB3}" type="presOf" srcId="{5871E1D0-ADDC-4328-9BD4-334EF7399430}" destId="{9B8B0943-9ECE-46E6-AE46-89DA301E591B}" srcOrd="0" destOrd="0" presId="urn:microsoft.com/office/officeart/2008/layout/HorizontalMultiLevelHierarchy"/>
    <dgm:cxn modelId="{9A56C3DE-8C76-4DA9-BB7E-FEEDB118B0E5}" srcId="{5A0BF5FC-F49F-48BA-A4BD-D19358B500AD}" destId="{D978611C-95CA-42E7-BA01-E75E8C3DEAB7}" srcOrd="0" destOrd="0" parTransId="{D77E99D5-E13B-40A2-8ED5-98D8C4F63DBA}" sibTransId="{344931FF-3369-42E2-A2DC-31284B41D1A6}"/>
    <dgm:cxn modelId="{423850E0-B1D7-458B-91A6-221DDE72AA40}" type="presOf" srcId="{79D16B26-157B-4F4C-BE83-D96D4ACBE91B}" destId="{EA85A033-95D7-4D50-9D48-3C6708350BDE}" srcOrd="0" destOrd="0" presId="urn:microsoft.com/office/officeart/2008/layout/HorizontalMultiLevelHierarchy"/>
    <dgm:cxn modelId="{7B4C86E2-7D9B-4849-8A81-76149EC5E4F1}" type="presOf" srcId="{14FDBA6C-AA36-4EC4-8E2F-3E872638FD61}" destId="{378E7290-775E-42FA-AE96-623CCEF2F1A4}" srcOrd="0" destOrd="0" presId="urn:microsoft.com/office/officeart/2008/layout/HorizontalMultiLevelHierarchy"/>
    <dgm:cxn modelId="{D546DEE2-7BA3-4654-B9B4-B0C6CCACC63C}" type="presOf" srcId="{4B3ECD7A-D5BE-49D8-B395-B1C37C201BA7}" destId="{3EBA61F1-523A-4169-8549-5F9B75A64780}" srcOrd="1" destOrd="0" presId="urn:microsoft.com/office/officeart/2008/layout/HorizontalMultiLevelHierarchy"/>
    <dgm:cxn modelId="{578F89E3-53D6-4670-A8E8-7ACBB167E31C}" type="presOf" srcId="{2AF06128-BABA-445F-9D47-A032407C47DE}" destId="{CE1443AF-B755-473F-BEA5-66B9B3AC28C5}" srcOrd="0" destOrd="0" presId="urn:microsoft.com/office/officeart/2008/layout/HorizontalMultiLevelHierarchy"/>
    <dgm:cxn modelId="{53E994E4-06EF-4C90-B23D-1C3F417508DB}" type="presOf" srcId="{9937D6D2-EFA8-4DE3-832A-25B9EADBA215}" destId="{58481304-9406-4588-97E0-45C755B83F03}" srcOrd="0" destOrd="0" presId="urn:microsoft.com/office/officeart/2008/layout/HorizontalMultiLevelHierarchy"/>
    <dgm:cxn modelId="{34C9FBE6-EDF2-41DF-AA93-BB3BC73834FF}" type="presOf" srcId="{89879CF2-8242-4A69-9780-CC8120AE5ADC}" destId="{B83B3640-8E41-4C5C-9585-851D4CF7C098}" srcOrd="0" destOrd="0" presId="urn:microsoft.com/office/officeart/2008/layout/HorizontalMultiLevelHierarchy"/>
    <dgm:cxn modelId="{B5C712E7-E34B-4F00-8E89-C6143B1623C6}" type="presOf" srcId="{DC4E94EF-A07C-47B8-9B07-214FB49E4560}" destId="{B44C25CF-FD96-40D8-9F21-19B46AFF5154}" srcOrd="0" destOrd="0" presId="urn:microsoft.com/office/officeart/2008/layout/HorizontalMultiLevelHierarchy"/>
    <dgm:cxn modelId="{F9B60EEA-B048-4E83-9E38-EA17673EBD51}" srcId="{167D776F-CF53-4BC1-ABB5-0E8D0DC75CE5}" destId="{15B231D8-D27C-4B0D-9651-27C9D5CC7B8A}" srcOrd="1" destOrd="0" parTransId="{4B3ECD7A-D5BE-49D8-B395-B1C37C201BA7}" sibTransId="{97B186DA-1982-4A0D-BF1B-0F0223687E22}"/>
    <dgm:cxn modelId="{4389A5EB-74BC-431C-9077-FA1A9F1E27A1}" type="presOf" srcId="{8AC0F0D2-AF82-4789-9A4D-51A19F3D54D3}" destId="{EA4E9BEE-6B57-431A-A227-3CA967A1E97B}" srcOrd="0" destOrd="0" presId="urn:microsoft.com/office/officeart/2008/layout/HorizontalMultiLevelHierarchy"/>
    <dgm:cxn modelId="{B2CEC0EB-A387-45EA-84C1-D487C35AA00E}" type="presOf" srcId="{50422137-8AE9-4F4C-A0F4-C5B3B13EA826}" destId="{71F64883-4EEA-4F02-8B75-1AAB5759E43B}" srcOrd="0" destOrd="0" presId="urn:microsoft.com/office/officeart/2008/layout/HorizontalMultiLevelHierarchy"/>
    <dgm:cxn modelId="{731ACEF3-B6AF-4B74-B3E2-806A785005A6}" srcId="{23BD33F1-5479-4090-8103-DDEABBD1DDBA}" destId="{ECE72CC3-F453-4AC1-A1CB-0C7F372021F1}" srcOrd="1" destOrd="0" parTransId="{5871E1D0-ADDC-4328-9BD4-334EF7399430}" sibTransId="{E5DCA705-559B-4EC3-8811-DFF2C31445D8}"/>
    <dgm:cxn modelId="{F250C4F5-F53A-4E23-9600-E11328612037}" type="presOf" srcId="{03268D7E-64F1-4293-9801-3832585F2EFD}" destId="{CCF996E2-5BD0-4A23-BD72-C60C310934E8}" srcOrd="1" destOrd="0" presId="urn:microsoft.com/office/officeart/2008/layout/HorizontalMultiLevelHierarchy"/>
    <dgm:cxn modelId="{4C8D9AF8-15BA-4A12-B5DB-069EAADB1A8E}" srcId="{DE2624AE-A1E5-4B0D-BC24-8B6D53FC0F20}" destId="{89879CF2-8242-4A69-9780-CC8120AE5ADC}" srcOrd="1" destOrd="0" parTransId="{31D36D20-AB8E-46A6-94F4-C488689E7BAB}" sibTransId="{49F3BCB8-A3D4-4A0B-A053-7132D350CAC3}"/>
    <dgm:cxn modelId="{B1D66DFA-6921-484C-BD1F-7E8AFA8BBD9E}" type="presOf" srcId="{9ED06AD0-99E4-49BF-A709-4631779F3193}" destId="{D29E64A9-225B-441F-AFC1-3770AB89FE91}" srcOrd="1" destOrd="0" presId="urn:microsoft.com/office/officeart/2008/layout/HorizontalMultiLevelHierarchy"/>
    <dgm:cxn modelId="{46F30DFB-94D7-4CD0-B6CA-8DE1524A8238}" srcId="{23BD33F1-5479-4090-8103-DDEABBD1DDBA}" destId="{DC4E94EF-A07C-47B8-9B07-214FB49E4560}" srcOrd="0" destOrd="0" parTransId="{50422137-8AE9-4F4C-A0F4-C5B3B13EA826}" sibTransId="{18C5557B-7B26-4FA6-B793-CB9A0E537E5B}"/>
    <dgm:cxn modelId="{A43294FB-D87B-4A81-8509-C8F387BFE4CA}" type="presOf" srcId="{AFABDD4E-E7B0-48DD-9CDA-FCA58F0E33A8}" destId="{80333E59-D8A7-420F-AE47-0B8B37A139D2}" srcOrd="1" destOrd="0" presId="urn:microsoft.com/office/officeart/2008/layout/HorizontalMultiLevelHierarchy"/>
    <dgm:cxn modelId="{3E41C489-1B09-4333-9DB7-9BFAC67AF7F6}" type="presParOf" srcId="{EA85A033-95D7-4D50-9D48-3C6708350BDE}" destId="{AE6A1A7B-2BEC-4258-B0B9-E60A2AE6D4C3}" srcOrd="0" destOrd="0" presId="urn:microsoft.com/office/officeart/2008/layout/HorizontalMultiLevelHierarchy"/>
    <dgm:cxn modelId="{2776DACB-9265-46E2-9240-E997FF8199C1}" type="presParOf" srcId="{AE6A1A7B-2BEC-4258-B0B9-E60A2AE6D4C3}" destId="{6BB67703-F83C-4337-82E6-A82C8EB54FCA}" srcOrd="0" destOrd="0" presId="urn:microsoft.com/office/officeart/2008/layout/HorizontalMultiLevelHierarchy"/>
    <dgm:cxn modelId="{C7B693F2-73CA-4C95-B889-8C6E22727115}" type="presParOf" srcId="{AE6A1A7B-2BEC-4258-B0B9-E60A2AE6D4C3}" destId="{B1F49061-2744-44E8-91B3-3F13A6CC99AA}" srcOrd="1" destOrd="0" presId="urn:microsoft.com/office/officeart/2008/layout/HorizontalMultiLevelHierarchy"/>
    <dgm:cxn modelId="{7944DF00-7DA5-4FB4-BDB9-74E39B8C4541}" type="presParOf" srcId="{B1F49061-2744-44E8-91B3-3F13A6CC99AA}" destId="{D72792EF-4263-4F44-BBAA-76FABADFCFA2}" srcOrd="0" destOrd="0" presId="urn:microsoft.com/office/officeart/2008/layout/HorizontalMultiLevelHierarchy"/>
    <dgm:cxn modelId="{E76C828C-E5AD-4FF2-9BA1-AE2FB944B66D}" type="presParOf" srcId="{D72792EF-4263-4F44-BBAA-76FABADFCFA2}" destId="{D29E64A9-225B-441F-AFC1-3770AB89FE91}" srcOrd="0" destOrd="0" presId="urn:microsoft.com/office/officeart/2008/layout/HorizontalMultiLevelHierarchy"/>
    <dgm:cxn modelId="{52A06ECC-AE76-41A4-99C2-1184B12C186C}" type="presParOf" srcId="{B1F49061-2744-44E8-91B3-3F13A6CC99AA}" destId="{3EF963BF-B24D-474D-9CB4-D930027107AE}" srcOrd="1" destOrd="0" presId="urn:microsoft.com/office/officeart/2008/layout/HorizontalMultiLevelHierarchy"/>
    <dgm:cxn modelId="{7AD1C53A-BFAD-4407-BB9D-1271452113FE}" type="presParOf" srcId="{3EF963BF-B24D-474D-9CB4-D930027107AE}" destId="{4735E61C-8760-4D8C-8BAA-7CF682ED82EF}" srcOrd="0" destOrd="0" presId="urn:microsoft.com/office/officeart/2008/layout/HorizontalMultiLevelHierarchy"/>
    <dgm:cxn modelId="{93DFF7F2-5C53-4742-BFD4-BC1B5A427350}" type="presParOf" srcId="{3EF963BF-B24D-474D-9CB4-D930027107AE}" destId="{D9195355-EB2E-41CF-B280-009A4C99076B}" srcOrd="1" destOrd="0" presId="urn:microsoft.com/office/officeart/2008/layout/HorizontalMultiLevelHierarchy"/>
    <dgm:cxn modelId="{DC17A347-9DD6-4E32-B993-5A0664DF30CF}" type="presParOf" srcId="{D9195355-EB2E-41CF-B280-009A4C99076B}" destId="{CE1443AF-B755-473F-BEA5-66B9B3AC28C5}" srcOrd="0" destOrd="0" presId="urn:microsoft.com/office/officeart/2008/layout/HorizontalMultiLevelHierarchy"/>
    <dgm:cxn modelId="{B0CC444D-64C6-4A6B-9658-B6625781CDAC}" type="presParOf" srcId="{CE1443AF-B755-473F-BEA5-66B9B3AC28C5}" destId="{2E9EE5E5-AE25-4056-BFF2-6D555BF408C0}" srcOrd="0" destOrd="0" presId="urn:microsoft.com/office/officeart/2008/layout/HorizontalMultiLevelHierarchy"/>
    <dgm:cxn modelId="{03F03BEE-1A94-4195-AC65-1AB8D575C68E}" type="presParOf" srcId="{D9195355-EB2E-41CF-B280-009A4C99076B}" destId="{199B7FE7-EE51-4B50-87BD-6998F5C9472B}" srcOrd="1" destOrd="0" presId="urn:microsoft.com/office/officeart/2008/layout/HorizontalMultiLevelHierarchy"/>
    <dgm:cxn modelId="{13A034E6-D076-4CC4-BE37-D3C3B57837DE}" type="presParOf" srcId="{199B7FE7-EE51-4B50-87BD-6998F5C9472B}" destId="{1D743FE9-A797-4A60-B194-09A3D90EA26B}" srcOrd="0" destOrd="0" presId="urn:microsoft.com/office/officeart/2008/layout/HorizontalMultiLevelHierarchy"/>
    <dgm:cxn modelId="{A0FB0BFB-8B86-45BC-8749-96CE7CA9FCA4}" type="presParOf" srcId="{199B7FE7-EE51-4B50-87BD-6998F5C9472B}" destId="{A52007EF-7D64-427A-A7E8-84AE8C0A74A0}" srcOrd="1" destOrd="0" presId="urn:microsoft.com/office/officeart/2008/layout/HorizontalMultiLevelHierarchy"/>
    <dgm:cxn modelId="{282B2B57-E0B3-42F9-8D99-3E9935AC5D58}" type="presParOf" srcId="{A52007EF-7D64-427A-A7E8-84AE8C0A74A0}" destId="{0D572AD4-BA32-4724-81E0-30D979FB3C1A}" srcOrd="0" destOrd="0" presId="urn:microsoft.com/office/officeart/2008/layout/HorizontalMultiLevelHierarchy"/>
    <dgm:cxn modelId="{356A2537-0F4B-4166-8F64-3A10F6198A89}" type="presParOf" srcId="{0D572AD4-BA32-4724-81E0-30D979FB3C1A}" destId="{96E502EB-7195-4E47-8441-C625AC90C8CB}" srcOrd="0" destOrd="0" presId="urn:microsoft.com/office/officeart/2008/layout/HorizontalMultiLevelHierarchy"/>
    <dgm:cxn modelId="{F1110D66-6E46-4D5D-83E9-7FDE391C010C}" type="presParOf" srcId="{A52007EF-7D64-427A-A7E8-84AE8C0A74A0}" destId="{B39C6D9C-DA5D-4470-9409-D38C395C1693}" srcOrd="1" destOrd="0" presId="urn:microsoft.com/office/officeart/2008/layout/HorizontalMultiLevelHierarchy"/>
    <dgm:cxn modelId="{08EEC720-10AD-4280-B60C-156088565810}" type="presParOf" srcId="{B39C6D9C-DA5D-4470-9409-D38C395C1693}" destId="{58481304-9406-4588-97E0-45C755B83F03}" srcOrd="0" destOrd="0" presId="urn:microsoft.com/office/officeart/2008/layout/HorizontalMultiLevelHierarchy"/>
    <dgm:cxn modelId="{841FBC1F-FAFF-4E05-96C1-CAD0990FBE44}" type="presParOf" srcId="{B39C6D9C-DA5D-4470-9409-D38C395C1693}" destId="{7CF9A76E-EE09-453B-B1DE-D5A6BAB05CA2}" srcOrd="1" destOrd="0" presId="urn:microsoft.com/office/officeart/2008/layout/HorizontalMultiLevelHierarchy"/>
    <dgm:cxn modelId="{1C2F96D3-5D99-40C1-B7BC-AA79FD18DEB9}" type="presParOf" srcId="{A52007EF-7D64-427A-A7E8-84AE8C0A74A0}" destId="{D040EF5F-B3EE-4D51-8463-38888D924BCB}" srcOrd="2" destOrd="0" presId="urn:microsoft.com/office/officeart/2008/layout/HorizontalMultiLevelHierarchy"/>
    <dgm:cxn modelId="{82F0EA39-D010-4C89-828B-222B2C2BAD57}" type="presParOf" srcId="{D040EF5F-B3EE-4D51-8463-38888D924BCB}" destId="{D9BE11D5-9C44-4291-BB6A-B07C012239B1}" srcOrd="0" destOrd="0" presId="urn:microsoft.com/office/officeart/2008/layout/HorizontalMultiLevelHierarchy"/>
    <dgm:cxn modelId="{33F2221C-087E-4A4E-954D-20B201056BC2}" type="presParOf" srcId="{A52007EF-7D64-427A-A7E8-84AE8C0A74A0}" destId="{E3E5C432-C2FE-4FB7-9E4D-620A93D3DCDF}" srcOrd="3" destOrd="0" presId="urn:microsoft.com/office/officeart/2008/layout/HorizontalMultiLevelHierarchy"/>
    <dgm:cxn modelId="{6D990922-309D-4DC4-B3FC-F3F69694794E}" type="presParOf" srcId="{E3E5C432-C2FE-4FB7-9E4D-620A93D3DCDF}" destId="{D72FB55D-E6D0-4BD5-ADAB-CA3BFD58BF91}" srcOrd="0" destOrd="0" presId="urn:microsoft.com/office/officeart/2008/layout/HorizontalMultiLevelHierarchy"/>
    <dgm:cxn modelId="{77F19BFC-0BBB-43E0-A737-90E2364DDD87}" type="presParOf" srcId="{E3E5C432-C2FE-4FB7-9E4D-620A93D3DCDF}" destId="{C137E00A-081C-4E7C-9206-9519BD78DB5A}" srcOrd="1" destOrd="0" presId="urn:microsoft.com/office/officeart/2008/layout/HorizontalMultiLevelHierarchy"/>
    <dgm:cxn modelId="{E3D0AAF2-29C3-40D3-B8C0-B10904D53EE7}" type="presParOf" srcId="{D9195355-EB2E-41CF-B280-009A4C99076B}" destId="{9E1E2380-64DD-4D9F-8069-E2FA3292D5B7}" srcOrd="2" destOrd="0" presId="urn:microsoft.com/office/officeart/2008/layout/HorizontalMultiLevelHierarchy"/>
    <dgm:cxn modelId="{E955D961-3622-4456-B879-38F50996CB79}" type="presParOf" srcId="{9E1E2380-64DD-4D9F-8069-E2FA3292D5B7}" destId="{B284A560-DFFA-4020-B54D-8B1C73355179}" srcOrd="0" destOrd="0" presId="urn:microsoft.com/office/officeart/2008/layout/HorizontalMultiLevelHierarchy"/>
    <dgm:cxn modelId="{A3A39FDF-B086-4AB0-9D8A-433E12DA1C39}" type="presParOf" srcId="{D9195355-EB2E-41CF-B280-009A4C99076B}" destId="{D9FACC1A-18E6-47A0-80A2-B9D1258946AA}" srcOrd="3" destOrd="0" presId="urn:microsoft.com/office/officeart/2008/layout/HorizontalMultiLevelHierarchy"/>
    <dgm:cxn modelId="{CA45E4F9-5E3E-4A8D-8429-7D75BC7FA4C3}" type="presParOf" srcId="{D9FACC1A-18E6-47A0-80A2-B9D1258946AA}" destId="{D461AAA6-62BF-402E-B6FF-64CC8AA0589B}" srcOrd="0" destOrd="0" presId="urn:microsoft.com/office/officeart/2008/layout/HorizontalMultiLevelHierarchy"/>
    <dgm:cxn modelId="{D7309F3E-E8A4-473C-A622-3EB3DFB3038F}" type="presParOf" srcId="{D9FACC1A-18E6-47A0-80A2-B9D1258946AA}" destId="{979DC57B-B00C-45A9-AA4B-59B0D52F4FC9}" srcOrd="1" destOrd="0" presId="urn:microsoft.com/office/officeart/2008/layout/HorizontalMultiLevelHierarchy"/>
    <dgm:cxn modelId="{61358859-BFA3-4841-9A32-F894CFACE845}" type="presParOf" srcId="{979DC57B-B00C-45A9-AA4B-59B0D52F4FC9}" destId="{0339918E-277B-47A0-A338-26A5BD1A0649}" srcOrd="0" destOrd="0" presId="urn:microsoft.com/office/officeart/2008/layout/HorizontalMultiLevelHierarchy"/>
    <dgm:cxn modelId="{D917385E-E165-4679-BA80-867DAC01A191}" type="presParOf" srcId="{0339918E-277B-47A0-A338-26A5BD1A0649}" destId="{649BDDEC-8C18-4F8F-9240-874A91F1C667}" srcOrd="0" destOrd="0" presId="urn:microsoft.com/office/officeart/2008/layout/HorizontalMultiLevelHierarchy"/>
    <dgm:cxn modelId="{D32CCFD0-4D8E-4D45-AD20-B4A08759961C}" type="presParOf" srcId="{979DC57B-B00C-45A9-AA4B-59B0D52F4FC9}" destId="{99D29182-1B19-4D1D-97AB-E583A80DA254}" srcOrd="1" destOrd="0" presId="urn:microsoft.com/office/officeart/2008/layout/HorizontalMultiLevelHierarchy"/>
    <dgm:cxn modelId="{84EC391E-B333-4B90-8ED1-DA3C85A47B91}" type="presParOf" srcId="{99D29182-1B19-4D1D-97AB-E583A80DA254}" destId="{1D40563F-C4D4-4C7D-BE33-FD293D9A3F6B}" srcOrd="0" destOrd="0" presId="urn:microsoft.com/office/officeart/2008/layout/HorizontalMultiLevelHierarchy"/>
    <dgm:cxn modelId="{917E51EB-2F65-4D87-BF9B-34108465166B}" type="presParOf" srcId="{99D29182-1B19-4D1D-97AB-E583A80DA254}" destId="{1F14F893-D846-434A-B8B2-B1A2A3B75EC3}" srcOrd="1" destOrd="0" presId="urn:microsoft.com/office/officeart/2008/layout/HorizontalMultiLevelHierarchy"/>
    <dgm:cxn modelId="{E49848EC-6B9F-4BE7-89B4-B3BB1D038B67}" type="presParOf" srcId="{979DC57B-B00C-45A9-AA4B-59B0D52F4FC9}" destId="{2C9608EA-0B69-46DE-9C6D-B5CBB15267FC}" srcOrd="2" destOrd="0" presId="urn:microsoft.com/office/officeart/2008/layout/HorizontalMultiLevelHierarchy"/>
    <dgm:cxn modelId="{BA4BDC46-0AEE-4400-9F41-D1E9347FC28B}" type="presParOf" srcId="{2C9608EA-0B69-46DE-9C6D-B5CBB15267FC}" destId="{9158F545-6D7F-4693-AF02-1370B01E63C3}" srcOrd="0" destOrd="0" presId="urn:microsoft.com/office/officeart/2008/layout/HorizontalMultiLevelHierarchy"/>
    <dgm:cxn modelId="{09F79E05-A6CE-4C9A-9F5D-D74785C07C92}" type="presParOf" srcId="{979DC57B-B00C-45A9-AA4B-59B0D52F4FC9}" destId="{AE41218B-062B-417F-B8C2-42CFBA69A588}" srcOrd="3" destOrd="0" presId="urn:microsoft.com/office/officeart/2008/layout/HorizontalMultiLevelHierarchy"/>
    <dgm:cxn modelId="{F4BC808F-8338-4E9E-87FB-75F142BAFC93}" type="presParOf" srcId="{AE41218B-062B-417F-B8C2-42CFBA69A588}" destId="{7608345A-7FE5-4720-A7C1-06977566BEDC}" srcOrd="0" destOrd="0" presId="urn:microsoft.com/office/officeart/2008/layout/HorizontalMultiLevelHierarchy"/>
    <dgm:cxn modelId="{358DB68B-1E89-4457-8EC8-2B7734C1CE6A}" type="presParOf" srcId="{AE41218B-062B-417F-B8C2-42CFBA69A588}" destId="{3E3F8A2A-8005-4E4B-91AB-4577F81C0C5C}" srcOrd="1" destOrd="0" presId="urn:microsoft.com/office/officeart/2008/layout/HorizontalMultiLevelHierarchy"/>
    <dgm:cxn modelId="{3CCC4126-8390-4D21-9985-64C83767F0D6}" type="presParOf" srcId="{D9195355-EB2E-41CF-B280-009A4C99076B}" destId="{EA4E9BEE-6B57-431A-A227-3CA967A1E97B}" srcOrd="4" destOrd="0" presId="urn:microsoft.com/office/officeart/2008/layout/HorizontalMultiLevelHierarchy"/>
    <dgm:cxn modelId="{2AB2B18F-EFD1-43A3-AC87-7C8FD02326FA}" type="presParOf" srcId="{EA4E9BEE-6B57-431A-A227-3CA967A1E97B}" destId="{3554FB82-8AD6-4FB0-B0A1-10C191A58644}" srcOrd="0" destOrd="0" presId="urn:microsoft.com/office/officeart/2008/layout/HorizontalMultiLevelHierarchy"/>
    <dgm:cxn modelId="{47CD42AA-C6C5-47AD-9CB0-21BB5251A85F}" type="presParOf" srcId="{D9195355-EB2E-41CF-B280-009A4C99076B}" destId="{911192DB-02A6-4FBD-B9DF-6403E4AFB2EF}" srcOrd="5" destOrd="0" presId="urn:microsoft.com/office/officeart/2008/layout/HorizontalMultiLevelHierarchy"/>
    <dgm:cxn modelId="{08E656E9-B75A-48B0-8218-F754CAF65EA8}" type="presParOf" srcId="{911192DB-02A6-4FBD-B9DF-6403E4AFB2EF}" destId="{2CA7536A-E3B7-46E9-8DDA-92E81589C022}" srcOrd="0" destOrd="0" presId="urn:microsoft.com/office/officeart/2008/layout/HorizontalMultiLevelHierarchy"/>
    <dgm:cxn modelId="{BDB8ECAA-B102-4B16-BE82-ECB4FD1F6221}" type="presParOf" srcId="{911192DB-02A6-4FBD-B9DF-6403E4AFB2EF}" destId="{8E37A9F2-4457-4A5E-838C-E8D6A9914D40}" srcOrd="1" destOrd="0" presId="urn:microsoft.com/office/officeart/2008/layout/HorizontalMultiLevelHierarchy"/>
    <dgm:cxn modelId="{FCABD034-A15A-4EB7-BD67-976172D3BC8F}" type="presParOf" srcId="{8E37A9F2-4457-4A5E-838C-E8D6A9914D40}" destId="{71F64883-4EEA-4F02-8B75-1AAB5759E43B}" srcOrd="0" destOrd="0" presId="urn:microsoft.com/office/officeart/2008/layout/HorizontalMultiLevelHierarchy"/>
    <dgm:cxn modelId="{A10535D3-E174-4035-AD04-157EF2560D39}" type="presParOf" srcId="{71F64883-4EEA-4F02-8B75-1AAB5759E43B}" destId="{A89AC4A4-4905-4506-86EF-0F0B8492DBEC}" srcOrd="0" destOrd="0" presId="urn:microsoft.com/office/officeart/2008/layout/HorizontalMultiLevelHierarchy"/>
    <dgm:cxn modelId="{FB5D4D87-48E1-4AE8-B8D5-AFE62C62AA09}" type="presParOf" srcId="{8E37A9F2-4457-4A5E-838C-E8D6A9914D40}" destId="{FF3D97EC-3449-4135-A065-1813A173668F}" srcOrd="1" destOrd="0" presId="urn:microsoft.com/office/officeart/2008/layout/HorizontalMultiLevelHierarchy"/>
    <dgm:cxn modelId="{70871044-7488-4A73-ABC9-FCC08BD33B53}" type="presParOf" srcId="{FF3D97EC-3449-4135-A065-1813A173668F}" destId="{B44C25CF-FD96-40D8-9F21-19B46AFF5154}" srcOrd="0" destOrd="0" presId="urn:microsoft.com/office/officeart/2008/layout/HorizontalMultiLevelHierarchy"/>
    <dgm:cxn modelId="{88A1D1C0-DD58-4BF2-8F6C-AC374D4E2D99}" type="presParOf" srcId="{FF3D97EC-3449-4135-A065-1813A173668F}" destId="{D5EEA0A8-BC0E-4BBC-BDDC-04CE861BBB47}" srcOrd="1" destOrd="0" presId="urn:microsoft.com/office/officeart/2008/layout/HorizontalMultiLevelHierarchy"/>
    <dgm:cxn modelId="{D1CB4FD3-29E3-4874-B028-47C3C336A37A}" type="presParOf" srcId="{8E37A9F2-4457-4A5E-838C-E8D6A9914D40}" destId="{9B8B0943-9ECE-46E6-AE46-89DA301E591B}" srcOrd="2" destOrd="0" presId="urn:microsoft.com/office/officeart/2008/layout/HorizontalMultiLevelHierarchy"/>
    <dgm:cxn modelId="{37470F62-348B-46DC-ADAE-7781AF501519}" type="presParOf" srcId="{9B8B0943-9ECE-46E6-AE46-89DA301E591B}" destId="{84C37318-3397-4B64-840E-A2B8741DB083}" srcOrd="0" destOrd="0" presId="urn:microsoft.com/office/officeart/2008/layout/HorizontalMultiLevelHierarchy"/>
    <dgm:cxn modelId="{F5F83BE0-B327-47F3-9ACD-7C21054F7503}" type="presParOf" srcId="{8E37A9F2-4457-4A5E-838C-E8D6A9914D40}" destId="{A552A0D9-C554-4DD2-BA82-67AEAF4372A0}" srcOrd="3" destOrd="0" presId="urn:microsoft.com/office/officeart/2008/layout/HorizontalMultiLevelHierarchy"/>
    <dgm:cxn modelId="{18482BA2-3A1B-410E-8A53-CDDB9ADC0374}" type="presParOf" srcId="{A552A0D9-C554-4DD2-BA82-67AEAF4372A0}" destId="{31B5B8CD-1206-48C6-92DA-75056DA5631D}" srcOrd="0" destOrd="0" presId="urn:microsoft.com/office/officeart/2008/layout/HorizontalMultiLevelHierarchy"/>
    <dgm:cxn modelId="{88F7F199-1DD8-4DF2-B46F-E554E2FB8612}" type="presParOf" srcId="{A552A0D9-C554-4DD2-BA82-67AEAF4372A0}" destId="{A64F42BA-3E0E-4301-A559-F43D67A3734E}" srcOrd="1" destOrd="0" presId="urn:microsoft.com/office/officeart/2008/layout/HorizontalMultiLevelHierarchy"/>
    <dgm:cxn modelId="{9F9B69AB-0C4B-42C5-8623-AB1DC6ADE85C}" type="presParOf" srcId="{B1F49061-2744-44E8-91B3-3F13A6CC99AA}" destId="{47C2FD09-08C7-464E-BE78-08EA746271E8}" srcOrd="2" destOrd="0" presId="urn:microsoft.com/office/officeart/2008/layout/HorizontalMultiLevelHierarchy"/>
    <dgm:cxn modelId="{2C80AD70-6337-4C3A-8BE7-8D1EE79D3E7E}" type="presParOf" srcId="{47C2FD09-08C7-464E-BE78-08EA746271E8}" destId="{3EBA61F1-523A-4169-8549-5F9B75A64780}" srcOrd="0" destOrd="0" presId="urn:microsoft.com/office/officeart/2008/layout/HorizontalMultiLevelHierarchy"/>
    <dgm:cxn modelId="{C72A578D-3263-44C5-B0DD-E8E275092368}" type="presParOf" srcId="{B1F49061-2744-44E8-91B3-3F13A6CC99AA}" destId="{A1730E9C-A9B1-41B9-B921-DE69E0D412FE}" srcOrd="3" destOrd="0" presId="urn:microsoft.com/office/officeart/2008/layout/HorizontalMultiLevelHierarchy"/>
    <dgm:cxn modelId="{0518F25C-144E-4007-8D47-86C263DE6E52}" type="presParOf" srcId="{A1730E9C-A9B1-41B9-B921-DE69E0D412FE}" destId="{C1C9A1AA-84B8-4A7B-8241-8675CB61BB20}" srcOrd="0" destOrd="0" presId="urn:microsoft.com/office/officeart/2008/layout/HorizontalMultiLevelHierarchy"/>
    <dgm:cxn modelId="{6B6DA9C8-ED2A-4CBA-9909-7C56FFB1E6CD}" type="presParOf" srcId="{A1730E9C-A9B1-41B9-B921-DE69E0D412FE}" destId="{557B86AF-4302-4F45-8B9D-21281D2F4604}" srcOrd="1" destOrd="0" presId="urn:microsoft.com/office/officeart/2008/layout/HorizontalMultiLevelHierarchy"/>
    <dgm:cxn modelId="{7460F6AF-E781-4404-8AF6-2636B38159FF}" type="presParOf" srcId="{557B86AF-4302-4F45-8B9D-21281D2F4604}" destId="{7D62406E-0406-432D-9E09-1B0D3D3F1715}" srcOrd="0" destOrd="0" presId="urn:microsoft.com/office/officeart/2008/layout/HorizontalMultiLevelHierarchy"/>
    <dgm:cxn modelId="{B942CA80-CA5E-4989-A47F-8CE9F818BC28}" type="presParOf" srcId="{7D62406E-0406-432D-9E09-1B0D3D3F1715}" destId="{CCF996E2-5BD0-4A23-BD72-C60C310934E8}" srcOrd="0" destOrd="0" presId="urn:microsoft.com/office/officeart/2008/layout/HorizontalMultiLevelHierarchy"/>
    <dgm:cxn modelId="{06DEE9EB-DA7E-4FD7-9DAA-7B1D6FCE9889}" type="presParOf" srcId="{557B86AF-4302-4F45-8B9D-21281D2F4604}" destId="{96A53DDE-E574-4CCD-87DA-5C0CD1CDD82C}" srcOrd="1" destOrd="0" presId="urn:microsoft.com/office/officeart/2008/layout/HorizontalMultiLevelHierarchy"/>
    <dgm:cxn modelId="{3A0DD234-95B6-4100-AE0B-CEE91A91C588}" type="presParOf" srcId="{96A53DDE-E574-4CCD-87DA-5C0CD1CDD82C}" destId="{297F0969-E926-45DA-BE9F-488601AC83D8}" srcOrd="0" destOrd="0" presId="urn:microsoft.com/office/officeart/2008/layout/HorizontalMultiLevelHierarchy"/>
    <dgm:cxn modelId="{EA646D10-C5DA-4A78-AA4D-23FA0B50BBC3}" type="presParOf" srcId="{96A53DDE-E574-4CCD-87DA-5C0CD1CDD82C}" destId="{5F353D85-D795-4812-98BC-EF7E4D1D51EC}" srcOrd="1" destOrd="0" presId="urn:microsoft.com/office/officeart/2008/layout/HorizontalMultiLevelHierarchy"/>
    <dgm:cxn modelId="{6346B61D-0958-4196-9D5E-9E3A4DC0822C}" type="presParOf" srcId="{5F353D85-D795-4812-98BC-EF7E4D1D51EC}" destId="{FEEAE6F2-C959-45AD-BA77-01AA1893490B}" srcOrd="0" destOrd="0" presId="urn:microsoft.com/office/officeart/2008/layout/HorizontalMultiLevelHierarchy"/>
    <dgm:cxn modelId="{A3F53593-B786-40CA-B746-72F4319E4883}" type="presParOf" srcId="{FEEAE6F2-C959-45AD-BA77-01AA1893490B}" destId="{72034FFF-BF8D-4B6F-9871-A7529F97A63C}" srcOrd="0" destOrd="0" presId="urn:microsoft.com/office/officeart/2008/layout/HorizontalMultiLevelHierarchy"/>
    <dgm:cxn modelId="{4C872DA7-F6B6-45DC-A229-6F98B8C6A750}" type="presParOf" srcId="{5F353D85-D795-4812-98BC-EF7E4D1D51EC}" destId="{64125B85-F06A-419C-86F7-C2C6AA83728B}" srcOrd="1" destOrd="0" presId="urn:microsoft.com/office/officeart/2008/layout/HorizontalMultiLevelHierarchy"/>
    <dgm:cxn modelId="{CE9E5376-E444-4A77-8561-A948EBBDED33}" type="presParOf" srcId="{64125B85-F06A-419C-86F7-C2C6AA83728B}" destId="{B7DC154E-9B84-4A74-A6F6-B71445307603}" srcOrd="0" destOrd="0" presId="urn:microsoft.com/office/officeart/2008/layout/HorizontalMultiLevelHierarchy"/>
    <dgm:cxn modelId="{2C305C47-2621-4B9B-9A91-265BA2098884}" type="presParOf" srcId="{64125B85-F06A-419C-86F7-C2C6AA83728B}" destId="{C34E2668-ADA7-4A6E-B999-1D555A66147C}" srcOrd="1" destOrd="0" presId="urn:microsoft.com/office/officeart/2008/layout/HorizontalMultiLevelHierarchy"/>
    <dgm:cxn modelId="{04526701-9498-4B09-8A2E-D134012F5CD2}" type="presParOf" srcId="{5F353D85-D795-4812-98BC-EF7E4D1D51EC}" destId="{8DCE28F6-D7F2-42DE-8448-BC44AEBE3F36}" srcOrd="2" destOrd="0" presId="urn:microsoft.com/office/officeart/2008/layout/HorizontalMultiLevelHierarchy"/>
    <dgm:cxn modelId="{73937928-1A5B-4E38-9056-17008A3D2197}" type="presParOf" srcId="{8DCE28F6-D7F2-42DE-8448-BC44AEBE3F36}" destId="{CC32838D-BF41-4D93-BC5C-A9D4C7E75088}" srcOrd="0" destOrd="0" presId="urn:microsoft.com/office/officeart/2008/layout/HorizontalMultiLevelHierarchy"/>
    <dgm:cxn modelId="{36A11919-36D7-4936-8BB4-90504165F398}" type="presParOf" srcId="{5F353D85-D795-4812-98BC-EF7E4D1D51EC}" destId="{EC9D08BF-A7A9-4DD2-8484-F5A35C534131}" srcOrd="3" destOrd="0" presId="urn:microsoft.com/office/officeart/2008/layout/HorizontalMultiLevelHierarchy"/>
    <dgm:cxn modelId="{8E886606-DA1E-4D67-B615-E2B67B7E5C14}" type="presParOf" srcId="{EC9D08BF-A7A9-4DD2-8484-F5A35C534131}" destId="{5722B6D8-165F-44CE-9E9D-B753635B838D}" srcOrd="0" destOrd="0" presId="urn:microsoft.com/office/officeart/2008/layout/HorizontalMultiLevelHierarchy"/>
    <dgm:cxn modelId="{2E0052D2-B521-4E5F-AA9D-16D1CA6F8F88}" type="presParOf" srcId="{EC9D08BF-A7A9-4DD2-8484-F5A35C534131}" destId="{DEC579BD-6D32-4E5D-B52A-A73D7C077F43}" srcOrd="1" destOrd="0" presId="urn:microsoft.com/office/officeart/2008/layout/HorizontalMultiLevelHierarchy"/>
    <dgm:cxn modelId="{7595F0BE-1E12-4542-98BB-FD10628E0EBC}" type="presParOf" srcId="{5F353D85-D795-4812-98BC-EF7E4D1D51EC}" destId="{B7DBEB27-00C5-4768-9AD3-4ADDFF65B774}" srcOrd="4" destOrd="0" presId="urn:microsoft.com/office/officeart/2008/layout/HorizontalMultiLevelHierarchy"/>
    <dgm:cxn modelId="{6E00AC93-EA97-4542-BCAA-ED2FD1C18990}" type="presParOf" srcId="{B7DBEB27-00C5-4768-9AD3-4ADDFF65B774}" destId="{74C40CF2-E191-4AD3-90EC-97FD804A6F2A}" srcOrd="0" destOrd="0" presId="urn:microsoft.com/office/officeart/2008/layout/HorizontalMultiLevelHierarchy"/>
    <dgm:cxn modelId="{1D53DA80-FFF4-4445-AC85-D5659081C3F6}" type="presParOf" srcId="{5F353D85-D795-4812-98BC-EF7E4D1D51EC}" destId="{D99D5C8D-63BA-4C56-A48E-F20A19ABFD85}" srcOrd="5" destOrd="0" presId="urn:microsoft.com/office/officeart/2008/layout/HorizontalMultiLevelHierarchy"/>
    <dgm:cxn modelId="{E71E7077-2246-4FE4-AB8A-BAC79B0EE498}" type="presParOf" srcId="{D99D5C8D-63BA-4C56-A48E-F20A19ABFD85}" destId="{378E7290-775E-42FA-AE96-623CCEF2F1A4}" srcOrd="0" destOrd="0" presId="urn:microsoft.com/office/officeart/2008/layout/HorizontalMultiLevelHierarchy"/>
    <dgm:cxn modelId="{C9BC76D3-720A-4906-B2DF-F9F3DF737CE4}" type="presParOf" srcId="{D99D5C8D-63BA-4C56-A48E-F20A19ABFD85}" destId="{A90AA72A-CDB0-405E-8FC8-C608773F1AF1}" srcOrd="1" destOrd="0" presId="urn:microsoft.com/office/officeart/2008/layout/HorizontalMultiLevelHierarchy"/>
    <dgm:cxn modelId="{DCE789CB-F4E6-4E9C-837B-8CA6CB18B26F}" type="presParOf" srcId="{557B86AF-4302-4F45-8B9D-21281D2F4604}" destId="{C4E111FF-24BF-43AE-BC0F-685CBAA09FB0}" srcOrd="2" destOrd="0" presId="urn:microsoft.com/office/officeart/2008/layout/HorizontalMultiLevelHierarchy"/>
    <dgm:cxn modelId="{F9064F12-061C-486B-8D48-6191EB53ABB2}" type="presParOf" srcId="{C4E111FF-24BF-43AE-BC0F-685CBAA09FB0}" destId="{80333E59-D8A7-420F-AE47-0B8B37A139D2}" srcOrd="0" destOrd="0" presId="urn:microsoft.com/office/officeart/2008/layout/HorizontalMultiLevelHierarchy"/>
    <dgm:cxn modelId="{1FD55B91-F8FD-4662-B01E-1013F649291F}" type="presParOf" srcId="{557B86AF-4302-4F45-8B9D-21281D2F4604}" destId="{0BF84C76-059D-4183-9B61-74FE92267823}" srcOrd="3" destOrd="0" presId="urn:microsoft.com/office/officeart/2008/layout/HorizontalMultiLevelHierarchy"/>
    <dgm:cxn modelId="{17195ADF-2CD6-49F0-8633-D50B3E6436AB}" type="presParOf" srcId="{0BF84C76-059D-4183-9B61-74FE92267823}" destId="{FD53545B-A545-46C8-ACE0-7B187000264D}" srcOrd="0" destOrd="0" presId="urn:microsoft.com/office/officeart/2008/layout/HorizontalMultiLevelHierarchy"/>
    <dgm:cxn modelId="{4882F822-F1C8-4687-AA29-837A96C2A02C}" type="presParOf" srcId="{0BF84C76-059D-4183-9B61-74FE92267823}" destId="{825AFF6E-B862-4648-A237-A30F5FB7C83F}" srcOrd="1" destOrd="0" presId="urn:microsoft.com/office/officeart/2008/layout/HorizontalMultiLevelHierarchy"/>
    <dgm:cxn modelId="{EBB548B8-75B3-4EB3-ABEA-94F8FEAD0CA4}" type="presParOf" srcId="{557B86AF-4302-4F45-8B9D-21281D2F4604}" destId="{69DB5296-E2F5-4BDE-9D96-C5772588CBA8}" srcOrd="4" destOrd="0" presId="urn:microsoft.com/office/officeart/2008/layout/HorizontalMultiLevelHierarchy"/>
    <dgm:cxn modelId="{915BDFD1-302A-462A-9197-DC6C9FCEE6A7}" type="presParOf" srcId="{69DB5296-E2F5-4BDE-9D96-C5772588CBA8}" destId="{59842A01-2360-44AC-B490-E72E10C37B1B}" srcOrd="0" destOrd="0" presId="urn:microsoft.com/office/officeart/2008/layout/HorizontalMultiLevelHierarchy"/>
    <dgm:cxn modelId="{00DC9844-9453-4C9D-8058-E3D2ECB6FC17}" type="presParOf" srcId="{557B86AF-4302-4F45-8B9D-21281D2F4604}" destId="{FACE079C-168D-44D8-ABE3-54EE9E2ECA25}" srcOrd="5" destOrd="0" presId="urn:microsoft.com/office/officeart/2008/layout/HorizontalMultiLevelHierarchy"/>
    <dgm:cxn modelId="{9468D11C-1FB3-48B4-8EA5-55DECC0EB91D}" type="presParOf" srcId="{FACE079C-168D-44D8-ABE3-54EE9E2ECA25}" destId="{F1FBB886-3CED-401D-8142-D25D44EB8342}" srcOrd="0" destOrd="0" presId="urn:microsoft.com/office/officeart/2008/layout/HorizontalMultiLevelHierarchy"/>
    <dgm:cxn modelId="{4328B30F-D49D-4943-B0D7-73BC25B8F3E1}" type="presParOf" srcId="{FACE079C-168D-44D8-ABE3-54EE9E2ECA25}" destId="{DC6FAE81-9EFE-449B-A50B-E4D60072B387}" srcOrd="1" destOrd="0" presId="urn:microsoft.com/office/officeart/2008/layout/HorizontalMultiLevelHierarchy"/>
    <dgm:cxn modelId="{AE221CA4-DDE6-403E-9436-0B21861B781C}" type="presParOf" srcId="{DC6FAE81-9EFE-449B-A50B-E4D60072B387}" destId="{AA607873-74D3-4444-8069-58AE1F8FA984}" srcOrd="0" destOrd="0" presId="urn:microsoft.com/office/officeart/2008/layout/HorizontalMultiLevelHierarchy"/>
    <dgm:cxn modelId="{A9DAEA94-DBE8-4DD0-8663-2CDD29589B93}" type="presParOf" srcId="{AA607873-74D3-4444-8069-58AE1F8FA984}" destId="{40EA5AF9-B743-4717-A034-4EF3233C1134}" srcOrd="0" destOrd="0" presId="urn:microsoft.com/office/officeart/2008/layout/HorizontalMultiLevelHierarchy"/>
    <dgm:cxn modelId="{D16A34DF-37A3-433E-8DEA-D85567CC1D8F}" type="presParOf" srcId="{DC6FAE81-9EFE-449B-A50B-E4D60072B387}" destId="{7BF6A1DC-8C78-4685-80F1-2F06B77E9E22}" srcOrd="1" destOrd="0" presId="urn:microsoft.com/office/officeart/2008/layout/HorizontalMultiLevelHierarchy"/>
    <dgm:cxn modelId="{11ACFFD3-F12E-4CC0-BD24-15FF7E52FB85}" type="presParOf" srcId="{7BF6A1DC-8C78-4685-80F1-2F06B77E9E22}" destId="{A6DBF746-3945-4655-8D47-0D40A299B0CB}" srcOrd="0" destOrd="0" presId="urn:microsoft.com/office/officeart/2008/layout/HorizontalMultiLevelHierarchy"/>
    <dgm:cxn modelId="{8F49441C-D92F-4021-A4EC-529BD6CC1805}" type="presParOf" srcId="{7BF6A1DC-8C78-4685-80F1-2F06B77E9E22}" destId="{1F2349C2-1623-4CAF-95F8-7154771F4A95}" srcOrd="1" destOrd="0" presId="urn:microsoft.com/office/officeart/2008/layout/HorizontalMultiLevelHierarchy"/>
    <dgm:cxn modelId="{44767F9E-4D6E-4E96-9F1F-BE59C94D04BF}" type="presParOf" srcId="{DC6FAE81-9EFE-449B-A50B-E4D60072B387}" destId="{D87E96FD-9C9C-4EE7-BC51-1210363DD065}" srcOrd="2" destOrd="0" presId="urn:microsoft.com/office/officeart/2008/layout/HorizontalMultiLevelHierarchy"/>
    <dgm:cxn modelId="{E6DC8324-9987-4908-A0C6-C2808B93F0A5}" type="presParOf" srcId="{D87E96FD-9C9C-4EE7-BC51-1210363DD065}" destId="{4CD5772C-C10B-4E0C-BD33-FC154569F01F}" srcOrd="0" destOrd="0" presId="urn:microsoft.com/office/officeart/2008/layout/HorizontalMultiLevelHierarchy"/>
    <dgm:cxn modelId="{1CDBBCBE-660A-4546-8FAA-3B42EA36B52B}" type="presParOf" srcId="{DC6FAE81-9EFE-449B-A50B-E4D60072B387}" destId="{E093DA37-0E02-4724-AE5A-737734259600}" srcOrd="3" destOrd="0" presId="urn:microsoft.com/office/officeart/2008/layout/HorizontalMultiLevelHierarchy"/>
    <dgm:cxn modelId="{6100C2A5-5A93-4A44-9EA5-793D635A23F7}" type="presParOf" srcId="{E093DA37-0E02-4724-AE5A-737734259600}" destId="{B83B3640-8E41-4C5C-9585-851D4CF7C098}" srcOrd="0" destOrd="0" presId="urn:microsoft.com/office/officeart/2008/layout/HorizontalMultiLevelHierarchy"/>
    <dgm:cxn modelId="{26BD69E3-1CC7-45F6-8399-8F699595BDCA}" type="presParOf" srcId="{E093DA37-0E02-4724-AE5A-737734259600}" destId="{561F5FAF-FC9E-411C-96BF-5D25288774BC}" srcOrd="1" destOrd="0" presId="urn:microsoft.com/office/officeart/2008/layout/HorizontalMultiLevelHierarchy"/>
  </dgm:cxnLst>
  <dgm:bg>
    <a:noFill/>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4E31D763-C02E-7947-B83C-E552F0A47D80}" type="doc">
      <dgm:prSet loTypeId="urn:microsoft.com/office/officeart/2005/8/layout/cycle6" loCatId="" qsTypeId="urn:microsoft.com/office/officeart/2005/8/quickstyle/simple1" qsCatId="simple" csTypeId="urn:microsoft.com/office/officeart/2005/8/colors/accent1_2" csCatId="accent1" phldr="1"/>
      <dgm:spPr/>
      <dgm:t>
        <a:bodyPr/>
        <a:lstStyle/>
        <a:p>
          <a:endParaRPr lang="fr-FR"/>
        </a:p>
      </dgm:t>
    </dgm:pt>
    <dgm:pt modelId="{2772714E-973D-9A4B-A096-BBDBA9F1B306}">
      <dgm:prSet phldrT="[Texte]"/>
      <dgm:spPr>
        <a:solidFill>
          <a:srgbClr val="20BE60"/>
        </a:solidFill>
      </dgm:spPr>
      <dgm:t>
        <a:bodyPr/>
        <a:lstStyle/>
        <a:p>
          <a:r>
            <a:rPr lang="fr-FR"/>
            <a:t>CEO</a:t>
          </a:r>
        </a:p>
      </dgm:t>
    </dgm:pt>
    <dgm:pt modelId="{9FF255BF-57AD-ED4C-A8E2-396B9483FA8D}" type="parTrans" cxnId="{FAE71E13-DFEC-3E4F-858E-AF091CE04121}">
      <dgm:prSet/>
      <dgm:spPr/>
      <dgm:t>
        <a:bodyPr/>
        <a:lstStyle/>
        <a:p>
          <a:endParaRPr lang="fr-FR"/>
        </a:p>
      </dgm:t>
    </dgm:pt>
    <dgm:pt modelId="{E3BCC67D-96B6-E04D-8B71-D000C3E98B39}" type="sibTrans" cxnId="{FAE71E13-DFEC-3E4F-858E-AF091CE04121}">
      <dgm:prSet/>
      <dgm:spPr/>
      <dgm:t>
        <a:bodyPr/>
        <a:lstStyle/>
        <a:p>
          <a:endParaRPr lang="fr-FR"/>
        </a:p>
      </dgm:t>
    </dgm:pt>
    <dgm:pt modelId="{8D3E0E25-85A3-814F-9093-A3ED78E0B395}">
      <dgm:prSet phldrT="[Texte]"/>
      <dgm:spPr>
        <a:solidFill>
          <a:srgbClr val="20BE60"/>
        </a:solidFill>
      </dgm:spPr>
      <dgm:t>
        <a:bodyPr/>
        <a:lstStyle/>
        <a:p>
          <a:r>
            <a:rPr lang="fr-FR" err="1"/>
            <a:t>Strategy</a:t>
          </a:r>
          <a:endParaRPr lang="fr-FR" i="1"/>
        </a:p>
      </dgm:t>
    </dgm:pt>
    <dgm:pt modelId="{D0E1ED33-D0F6-D246-96E5-54208DB01216}" type="parTrans" cxnId="{5FD08A35-9DAE-1E4A-B660-9FEE8E32D023}">
      <dgm:prSet/>
      <dgm:spPr/>
      <dgm:t>
        <a:bodyPr/>
        <a:lstStyle/>
        <a:p>
          <a:endParaRPr lang="fr-FR"/>
        </a:p>
      </dgm:t>
    </dgm:pt>
    <dgm:pt modelId="{57C98708-2E26-0443-AD4B-247781B28006}" type="sibTrans" cxnId="{5FD08A35-9DAE-1E4A-B660-9FEE8E32D023}">
      <dgm:prSet/>
      <dgm:spPr/>
      <dgm:t>
        <a:bodyPr/>
        <a:lstStyle/>
        <a:p>
          <a:endParaRPr lang="fr-FR"/>
        </a:p>
      </dgm:t>
    </dgm:pt>
    <dgm:pt modelId="{9D62DF0A-067A-CC46-B18D-DC63C4937B06}">
      <dgm:prSet phldrT="[Texte]"/>
      <dgm:spPr>
        <a:solidFill>
          <a:srgbClr val="20BE60"/>
        </a:solidFill>
      </dgm:spPr>
      <dgm:t>
        <a:bodyPr/>
        <a:lstStyle/>
        <a:p>
          <a:r>
            <a:rPr lang="fr-FR"/>
            <a:t>Sales</a:t>
          </a:r>
          <a:endParaRPr lang="fr-FR" i="1"/>
        </a:p>
      </dgm:t>
    </dgm:pt>
    <dgm:pt modelId="{DE956947-D4F9-5D4A-9C35-F54393245626}" type="parTrans" cxnId="{E77E01AC-8DBC-954A-9499-35DEA9DD6E53}">
      <dgm:prSet/>
      <dgm:spPr/>
      <dgm:t>
        <a:bodyPr/>
        <a:lstStyle/>
        <a:p>
          <a:endParaRPr lang="fr-FR"/>
        </a:p>
      </dgm:t>
    </dgm:pt>
    <dgm:pt modelId="{7BA38F8B-18A9-8448-AF44-06F64B505E21}" type="sibTrans" cxnId="{E77E01AC-8DBC-954A-9499-35DEA9DD6E53}">
      <dgm:prSet/>
      <dgm:spPr/>
      <dgm:t>
        <a:bodyPr/>
        <a:lstStyle/>
        <a:p>
          <a:endParaRPr lang="fr-FR"/>
        </a:p>
      </dgm:t>
    </dgm:pt>
    <dgm:pt modelId="{368F6BF0-DFAC-5E40-884D-FCF0BA47A442}">
      <dgm:prSet phldrT="[Texte]"/>
      <dgm:spPr>
        <a:solidFill>
          <a:srgbClr val="104B26"/>
        </a:solidFill>
      </dgm:spPr>
      <dgm:t>
        <a:bodyPr/>
        <a:lstStyle/>
        <a:p>
          <a:r>
            <a:rPr lang="fr-FR" i="0"/>
            <a:t>Marketing</a:t>
          </a:r>
        </a:p>
      </dgm:t>
    </dgm:pt>
    <dgm:pt modelId="{7A723EF3-F605-1947-9610-2A1D71C7B346}" type="parTrans" cxnId="{585BC230-734C-254F-8194-5B35E0962E8E}">
      <dgm:prSet/>
      <dgm:spPr/>
      <dgm:t>
        <a:bodyPr/>
        <a:lstStyle/>
        <a:p>
          <a:endParaRPr lang="fr-FR"/>
        </a:p>
      </dgm:t>
    </dgm:pt>
    <dgm:pt modelId="{187E3784-FAB1-A442-BC23-91CC709C7DC3}" type="sibTrans" cxnId="{585BC230-734C-254F-8194-5B35E0962E8E}">
      <dgm:prSet/>
      <dgm:spPr/>
      <dgm:t>
        <a:bodyPr/>
        <a:lstStyle/>
        <a:p>
          <a:endParaRPr lang="fr-FR"/>
        </a:p>
      </dgm:t>
    </dgm:pt>
    <dgm:pt modelId="{DCD92BC1-B375-A445-8B41-487464F6F0CF}">
      <dgm:prSet phldrT="[Texte]"/>
      <dgm:spPr/>
      <dgm:t>
        <a:bodyPr/>
        <a:lstStyle/>
        <a:p>
          <a:r>
            <a:rPr lang="fr-FR" err="1"/>
            <a:t>Supply</a:t>
          </a:r>
          <a:r>
            <a:rPr lang="fr-FR"/>
            <a:t> Chain</a:t>
          </a:r>
          <a:endParaRPr lang="fr-FR" i="1"/>
        </a:p>
      </dgm:t>
    </dgm:pt>
    <dgm:pt modelId="{D1DC02D9-FC8B-CA4B-AB88-7F7548505B96}" type="parTrans" cxnId="{FA7D8AC9-958C-2249-9278-9F687C4EFCB1}">
      <dgm:prSet/>
      <dgm:spPr/>
      <dgm:t>
        <a:bodyPr/>
        <a:lstStyle/>
        <a:p>
          <a:endParaRPr lang="fr-FR"/>
        </a:p>
      </dgm:t>
    </dgm:pt>
    <dgm:pt modelId="{1109CB82-D968-5849-8F7B-17D203A9126D}" type="sibTrans" cxnId="{FA7D8AC9-958C-2249-9278-9F687C4EFCB1}">
      <dgm:prSet/>
      <dgm:spPr/>
      <dgm:t>
        <a:bodyPr/>
        <a:lstStyle/>
        <a:p>
          <a:endParaRPr lang="fr-FR"/>
        </a:p>
      </dgm:t>
    </dgm:pt>
    <dgm:pt modelId="{9DBF6000-A91B-124F-954C-A8DA8F4613F4}" type="asst">
      <dgm:prSet phldrT="[Texte]"/>
      <dgm:spPr>
        <a:solidFill>
          <a:srgbClr val="20BE60"/>
        </a:solidFill>
      </dgm:spPr>
      <dgm:t>
        <a:bodyPr/>
        <a:lstStyle/>
        <a:p>
          <a:r>
            <a:rPr lang="fr-FR" i="0"/>
            <a:t>Data Team</a:t>
          </a:r>
        </a:p>
      </dgm:t>
    </dgm:pt>
    <dgm:pt modelId="{0974E83F-165E-1F41-91A3-FDF2054E1CB8}" type="sibTrans" cxnId="{44F6C1D7-4279-1C4F-B68F-7D83712DCA5D}">
      <dgm:prSet/>
      <dgm:spPr/>
      <dgm:t>
        <a:bodyPr/>
        <a:lstStyle/>
        <a:p>
          <a:endParaRPr lang="fr-FR"/>
        </a:p>
      </dgm:t>
    </dgm:pt>
    <dgm:pt modelId="{C740A2E3-2CCD-ED45-861E-9CB537D83FBE}" type="parTrans" cxnId="{44F6C1D7-4279-1C4F-B68F-7D83712DCA5D}">
      <dgm:prSet/>
      <dgm:spPr/>
      <dgm:t>
        <a:bodyPr/>
        <a:lstStyle/>
        <a:p>
          <a:endParaRPr lang="fr-FR"/>
        </a:p>
      </dgm:t>
    </dgm:pt>
    <dgm:pt modelId="{66115896-E633-CC4C-9377-C2C13051A61C}" type="pres">
      <dgm:prSet presAssocID="{4E31D763-C02E-7947-B83C-E552F0A47D80}" presName="cycle" presStyleCnt="0">
        <dgm:presLayoutVars>
          <dgm:dir/>
          <dgm:resizeHandles val="exact"/>
        </dgm:presLayoutVars>
      </dgm:prSet>
      <dgm:spPr/>
    </dgm:pt>
    <dgm:pt modelId="{EFE5385E-9ED6-4C41-87B6-041C603EF69F}" type="pres">
      <dgm:prSet presAssocID="{2772714E-973D-9A4B-A096-BBDBA9F1B306}" presName="node" presStyleLbl="node1" presStyleIdx="0" presStyleCnt="5">
        <dgm:presLayoutVars>
          <dgm:bulletEnabled val="1"/>
        </dgm:presLayoutVars>
      </dgm:prSet>
      <dgm:spPr/>
    </dgm:pt>
    <dgm:pt modelId="{60DD6ABD-55BF-834F-A1A7-8799D4EAF111}" type="pres">
      <dgm:prSet presAssocID="{2772714E-973D-9A4B-A096-BBDBA9F1B306}" presName="spNode" presStyleCnt="0"/>
      <dgm:spPr/>
    </dgm:pt>
    <dgm:pt modelId="{2B5A2DFF-1927-2F49-94E0-8C661092F163}" type="pres">
      <dgm:prSet presAssocID="{E3BCC67D-96B6-E04D-8B71-D000C3E98B39}" presName="sibTrans" presStyleLbl="sibTrans1D1" presStyleIdx="0" presStyleCnt="6"/>
      <dgm:spPr/>
    </dgm:pt>
    <dgm:pt modelId="{F7868934-1BDA-8540-8B48-9B6093A28EAB}" type="pres">
      <dgm:prSet presAssocID="{9DBF6000-A91B-124F-954C-A8DA8F4613F4}" presName="node" presStyleLbl="asst0" presStyleIdx="0" presStyleCnt="1">
        <dgm:presLayoutVars>
          <dgm:bulletEnabled val="1"/>
        </dgm:presLayoutVars>
      </dgm:prSet>
      <dgm:spPr/>
    </dgm:pt>
    <dgm:pt modelId="{4696D8F9-AB65-E54B-A7D6-B37036323B07}" type="pres">
      <dgm:prSet presAssocID="{9DBF6000-A91B-124F-954C-A8DA8F4613F4}" presName="spNode" presStyleCnt="0"/>
      <dgm:spPr/>
    </dgm:pt>
    <dgm:pt modelId="{43221334-28A9-2E44-BE7A-C124BC965737}" type="pres">
      <dgm:prSet presAssocID="{0974E83F-165E-1F41-91A3-FDF2054E1CB8}" presName="sibTrans" presStyleLbl="sibTrans1D1" presStyleIdx="1" presStyleCnt="6"/>
      <dgm:spPr/>
    </dgm:pt>
    <dgm:pt modelId="{500CBAAD-84BE-1A40-87A6-3150284EA748}" type="pres">
      <dgm:prSet presAssocID="{8D3E0E25-85A3-814F-9093-A3ED78E0B395}" presName="node" presStyleLbl="node1" presStyleIdx="1" presStyleCnt="5">
        <dgm:presLayoutVars>
          <dgm:bulletEnabled val="1"/>
        </dgm:presLayoutVars>
      </dgm:prSet>
      <dgm:spPr/>
    </dgm:pt>
    <dgm:pt modelId="{012F9C7F-2B4D-0043-975E-D2B7CA7901BF}" type="pres">
      <dgm:prSet presAssocID="{8D3E0E25-85A3-814F-9093-A3ED78E0B395}" presName="spNode" presStyleCnt="0"/>
      <dgm:spPr/>
    </dgm:pt>
    <dgm:pt modelId="{06D82E4D-06FD-6244-B0BE-4F3F1CCC6EA2}" type="pres">
      <dgm:prSet presAssocID="{57C98708-2E26-0443-AD4B-247781B28006}" presName="sibTrans" presStyleLbl="sibTrans1D1" presStyleIdx="2" presStyleCnt="6"/>
      <dgm:spPr/>
    </dgm:pt>
    <dgm:pt modelId="{82640692-37EB-7944-A4C4-490287E35F3F}" type="pres">
      <dgm:prSet presAssocID="{DCD92BC1-B375-A445-8B41-487464F6F0CF}" presName="node" presStyleLbl="node1" presStyleIdx="2" presStyleCnt="5">
        <dgm:presLayoutVars>
          <dgm:bulletEnabled val="1"/>
        </dgm:presLayoutVars>
      </dgm:prSet>
      <dgm:spPr/>
    </dgm:pt>
    <dgm:pt modelId="{34CA336A-83B5-E248-9527-D8C8CB15F051}" type="pres">
      <dgm:prSet presAssocID="{DCD92BC1-B375-A445-8B41-487464F6F0CF}" presName="spNode" presStyleCnt="0"/>
      <dgm:spPr/>
    </dgm:pt>
    <dgm:pt modelId="{1089AFA7-2479-2F49-A7F6-EF33DE1C4BC0}" type="pres">
      <dgm:prSet presAssocID="{1109CB82-D968-5849-8F7B-17D203A9126D}" presName="sibTrans" presStyleLbl="sibTrans1D1" presStyleIdx="3" presStyleCnt="6"/>
      <dgm:spPr/>
    </dgm:pt>
    <dgm:pt modelId="{59934DFA-3F9E-EB47-A09A-239528D9706C}" type="pres">
      <dgm:prSet presAssocID="{9D62DF0A-067A-CC46-B18D-DC63C4937B06}" presName="node" presStyleLbl="node1" presStyleIdx="3" presStyleCnt="5">
        <dgm:presLayoutVars>
          <dgm:bulletEnabled val="1"/>
        </dgm:presLayoutVars>
      </dgm:prSet>
      <dgm:spPr/>
    </dgm:pt>
    <dgm:pt modelId="{87B5DF6B-FAD5-314C-AA25-5208A29D7F76}" type="pres">
      <dgm:prSet presAssocID="{9D62DF0A-067A-CC46-B18D-DC63C4937B06}" presName="spNode" presStyleCnt="0"/>
      <dgm:spPr/>
    </dgm:pt>
    <dgm:pt modelId="{D6E5B313-C249-964E-B4C6-7EB6689A3EFB}" type="pres">
      <dgm:prSet presAssocID="{7BA38F8B-18A9-8448-AF44-06F64B505E21}" presName="sibTrans" presStyleLbl="sibTrans1D1" presStyleIdx="4" presStyleCnt="6"/>
      <dgm:spPr/>
    </dgm:pt>
    <dgm:pt modelId="{98A95401-46E8-D84C-8B78-C3B39DDB2FDE}" type="pres">
      <dgm:prSet presAssocID="{368F6BF0-DFAC-5E40-884D-FCF0BA47A442}" presName="node" presStyleLbl="node1" presStyleIdx="4" presStyleCnt="5">
        <dgm:presLayoutVars>
          <dgm:bulletEnabled val="1"/>
        </dgm:presLayoutVars>
      </dgm:prSet>
      <dgm:spPr/>
    </dgm:pt>
    <dgm:pt modelId="{D8DABFE9-BE16-F64C-8AF7-4968B788B13E}" type="pres">
      <dgm:prSet presAssocID="{368F6BF0-DFAC-5E40-884D-FCF0BA47A442}" presName="spNode" presStyleCnt="0"/>
      <dgm:spPr/>
    </dgm:pt>
    <dgm:pt modelId="{6636D371-FF8C-C64E-82BD-3293BB3A5746}" type="pres">
      <dgm:prSet presAssocID="{187E3784-FAB1-A442-BC23-91CC709C7DC3}" presName="sibTrans" presStyleLbl="sibTrans1D1" presStyleIdx="5" presStyleCnt="6"/>
      <dgm:spPr/>
    </dgm:pt>
  </dgm:ptLst>
  <dgm:cxnLst>
    <dgm:cxn modelId="{1E4DBB04-C191-294F-9CB9-049626FA5834}" type="presOf" srcId="{0974E83F-165E-1F41-91A3-FDF2054E1CB8}" destId="{43221334-28A9-2E44-BE7A-C124BC965737}" srcOrd="0" destOrd="0" presId="urn:microsoft.com/office/officeart/2005/8/layout/cycle6"/>
    <dgm:cxn modelId="{FAE71E13-DFEC-3E4F-858E-AF091CE04121}" srcId="{4E31D763-C02E-7947-B83C-E552F0A47D80}" destId="{2772714E-973D-9A4B-A096-BBDBA9F1B306}" srcOrd="0" destOrd="0" parTransId="{9FF255BF-57AD-ED4C-A8E2-396B9483FA8D}" sibTransId="{E3BCC67D-96B6-E04D-8B71-D000C3E98B39}"/>
    <dgm:cxn modelId="{B823A51A-4935-B045-890F-176CA94170FB}" type="presOf" srcId="{9D62DF0A-067A-CC46-B18D-DC63C4937B06}" destId="{59934DFA-3F9E-EB47-A09A-239528D9706C}" srcOrd="0" destOrd="0" presId="urn:microsoft.com/office/officeart/2005/8/layout/cycle6"/>
    <dgm:cxn modelId="{7F538223-C0DD-2B4A-9BC8-18AE173498DB}" type="presOf" srcId="{2772714E-973D-9A4B-A096-BBDBA9F1B306}" destId="{EFE5385E-9ED6-4C41-87B6-041C603EF69F}" srcOrd="0" destOrd="0" presId="urn:microsoft.com/office/officeart/2005/8/layout/cycle6"/>
    <dgm:cxn modelId="{585BC230-734C-254F-8194-5B35E0962E8E}" srcId="{4E31D763-C02E-7947-B83C-E552F0A47D80}" destId="{368F6BF0-DFAC-5E40-884D-FCF0BA47A442}" srcOrd="5" destOrd="0" parTransId="{7A723EF3-F605-1947-9610-2A1D71C7B346}" sibTransId="{187E3784-FAB1-A442-BC23-91CC709C7DC3}"/>
    <dgm:cxn modelId="{5FD08A35-9DAE-1E4A-B660-9FEE8E32D023}" srcId="{4E31D763-C02E-7947-B83C-E552F0A47D80}" destId="{8D3E0E25-85A3-814F-9093-A3ED78E0B395}" srcOrd="2" destOrd="0" parTransId="{D0E1ED33-D0F6-D246-96E5-54208DB01216}" sibTransId="{57C98708-2E26-0443-AD4B-247781B28006}"/>
    <dgm:cxn modelId="{F9E27937-3945-964A-B042-EBEE251D2D48}" type="presOf" srcId="{9DBF6000-A91B-124F-954C-A8DA8F4613F4}" destId="{F7868934-1BDA-8540-8B48-9B6093A28EAB}" srcOrd="0" destOrd="0" presId="urn:microsoft.com/office/officeart/2005/8/layout/cycle6"/>
    <dgm:cxn modelId="{18A98169-5049-4A4D-82B0-2090A207A43A}" type="presOf" srcId="{8D3E0E25-85A3-814F-9093-A3ED78E0B395}" destId="{500CBAAD-84BE-1A40-87A6-3150284EA748}" srcOrd="0" destOrd="0" presId="urn:microsoft.com/office/officeart/2005/8/layout/cycle6"/>
    <dgm:cxn modelId="{954C3972-F940-9940-A726-B1AD61F70006}" type="presOf" srcId="{368F6BF0-DFAC-5E40-884D-FCF0BA47A442}" destId="{98A95401-46E8-D84C-8B78-C3B39DDB2FDE}" srcOrd="0" destOrd="0" presId="urn:microsoft.com/office/officeart/2005/8/layout/cycle6"/>
    <dgm:cxn modelId="{7B235590-7928-9D47-BC47-BFDFBFAE19A3}" type="presOf" srcId="{DCD92BC1-B375-A445-8B41-487464F6F0CF}" destId="{82640692-37EB-7944-A4C4-490287E35F3F}" srcOrd="0" destOrd="0" presId="urn:microsoft.com/office/officeart/2005/8/layout/cycle6"/>
    <dgm:cxn modelId="{3C188C90-4F0C-B242-A3AF-C8274C8AB30F}" type="presOf" srcId="{7BA38F8B-18A9-8448-AF44-06F64B505E21}" destId="{D6E5B313-C249-964E-B4C6-7EB6689A3EFB}" srcOrd="0" destOrd="0" presId="urn:microsoft.com/office/officeart/2005/8/layout/cycle6"/>
    <dgm:cxn modelId="{9B4A4A9D-B5D7-8F47-A61C-833778BB67F0}" type="presOf" srcId="{187E3784-FAB1-A442-BC23-91CC709C7DC3}" destId="{6636D371-FF8C-C64E-82BD-3293BB3A5746}" srcOrd="0" destOrd="0" presId="urn:microsoft.com/office/officeart/2005/8/layout/cycle6"/>
    <dgm:cxn modelId="{1A61CAA5-0FC9-794F-ABBE-3F8A0C3B05DA}" type="presOf" srcId="{4E31D763-C02E-7947-B83C-E552F0A47D80}" destId="{66115896-E633-CC4C-9377-C2C13051A61C}" srcOrd="0" destOrd="0" presId="urn:microsoft.com/office/officeart/2005/8/layout/cycle6"/>
    <dgm:cxn modelId="{E77E01AC-8DBC-954A-9499-35DEA9DD6E53}" srcId="{4E31D763-C02E-7947-B83C-E552F0A47D80}" destId="{9D62DF0A-067A-CC46-B18D-DC63C4937B06}" srcOrd="4" destOrd="0" parTransId="{DE956947-D4F9-5D4A-9C35-F54393245626}" sibTransId="{7BA38F8B-18A9-8448-AF44-06F64B505E21}"/>
    <dgm:cxn modelId="{FA7D8AC9-958C-2249-9278-9F687C4EFCB1}" srcId="{4E31D763-C02E-7947-B83C-E552F0A47D80}" destId="{DCD92BC1-B375-A445-8B41-487464F6F0CF}" srcOrd="3" destOrd="0" parTransId="{D1DC02D9-FC8B-CA4B-AB88-7F7548505B96}" sibTransId="{1109CB82-D968-5849-8F7B-17D203A9126D}"/>
    <dgm:cxn modelId="{5B5EA6D0-468B-F446-A87C-342A05D3FA94}" type="presOf" srcId="{E3BCC67D-96B6-E04D-8B71-D000C3E98B39}" destId="{2B5A2DFF-1927-2F49-94E0-8C661092F163}" srcOrd="0" destOrd="0" presId="urn:microsoft.com/office/officeart/2005/8/layout/cycle6"/>
    <dgm:cxn modelId="{995889D7-A03E-5B45-89FE-1D47C100DA2A}" type="presOf" srcId="{1109CB82-D968-5849-8F7B-17D203A9126D}" destId="{1089AFA7-2479-2F49-A7F6-EF33DE1C4BC0}" srcOrd="0" destOrd="0" presId="urn:microsoft.com/office/officeart/2005/8/layout/cycle6"/>
    <dgm:cxn modelId="{44F6C1D7-4279-1C4F-B68F-7D83712DCA5D}" srcId="{4E31D763-C02E-7947-B83C-E552F0A47D80}" destId="{9DBF6000-A91B-124F-954C-A8DA8F4613F4}" srcOrd="1" destOrd="0" parTransId="{C740A2E3-2CCD-ED45-861E-9CB537D83FBE}" sibTransId="{0974E83F-165E-1F41-91A3-FDF2054E1CB8}"/>
    <dgm:cxn modelId="{F5DDE6F6-1B5B-8547-B44F-A018B44D3149}" type="presOf" srcId="{57C98708-2E26-0443-AD4B-247781B28006}" destId="{06D82E4D-06FD-6244-B0BE-4F3F1CCC6EA2}" srcOrd="0" destOrd="0" presId="urn:microsoft.com/office/officeart/2005/8/layout/cycle6"/>
    <dgm:cxn modelId="{0455C990-4064-0849-A301-755F145B6895}" type="presParOf" srcId="{66115896-E633-CC4C-9377-C2C13051A61C}" destId="{EFE5385E-9ED6-4C41-87B6-041C603EF69F}" srcOrd="0" destOrd="0" presId="urn:microsoft.com/office/officeart/2005/8/layout/cycle6"/>
    <dgm:cxn modelId="{E8148B45-E586-CB44-87C6-EA1A88A3117F}" type="presParOf" srcId="{66115896-E633-CC4C-9377-C2C13051A61C}" destId="{60DD6ABD-55BF-834F-A1A7-8799D4EAF111}" srcOrd="1" destOrd="0" presId="urn:microsoft.com/office/officeart/2005/8/layout/cycle6"/>
    <dgm:cxn modelId="{14CD7915-6989-C146-878C-BBA85FA63753}" type="presParOf" srcId="{66115896-E633-CC4C-9377-C2C13051A61C}" destId="{2B5A2DFF-1927-2F49-94E0-8C661092F163}" srcOrd="2" destOrd="0" presId="urn:microsoft.com/office/officeart/2005/8/layout/cycle6"/>
    <dgm:cxn modelId="{E1FF672E-E756-0342-8743-F88D291DAC90}" type="presParOf" srcId="{66115896-E633-CC4C-9377-C2C13051A61C}" destId="{F7868934-1BDA-8540-8B48-9B6093A28EAB}" srcOrd="3" destOrd="0" presId="urn:microsoft.com/office/officeart/2005/8/layout/cycle6"/>
    <dgm:cxn modelId="{C26704DE-6D9C-2347-806D-B363BF96282A}" type="presParOf" srcId="{66115896-E633-CC4C-9377-C2C13051A61C}" destId="{4696D8F9-AB65-E54B-A7D6-B37036323B07}" srcOrd="4" destOrd="0" presId="urn:microsoft.com/office/officeart/2005/8/layout/cycle6"/>
    <dgm:cxn modelId="{A23325B3-2EFD-544C-A89D-FAB5567567BA}" type="presParOf" srcId="{66115896-E633-CC4C-9377-C2C13051A61C}" destId="{43221334-28A9-2E44-BE7A-C124BC965737}" srcOrd="5" destOrd="0" presId="urn:microsoft.com/office/officeart/2005/8/layout/cycle6"/>
    <dgm:cxn modelId="{9C92E277-E79E-D342-A4DD-14BCE585920E}" type="presParOf" srcId="{66115896-E633-CC4C-9377-C2C13051A61C}" destId="{500CBAAD-84BE-1A40-87A6-3150284EA748}" srcOrd="6" destOrd="0" presId="urn:microsoft.com/office/officeart/2005/8/layout/cycle6"/>
    <dgm:cxn modelId="{CD8DC3AD-3CF4-814A-89C5-83B39F5A2E5B}" type="presParOf" srcId="{66115896-E633-CC4C-9377-C2C13051A61C}" destId="{012F9C7F-2B4D-0043-975E-D2B7CA7901BF}" srcOrd="7" destOrd="0" presId="urn:microsoft.com/office/officeart/2005/8/layout/cycle6"/>
    <dgm:cxn modelId="{68B61C60-E12F-5448-9C05-C7D2C0EF03A8}" type="presParOf" srcId="{66115896-E633-CC4C-9377-C2C13051A61C}" destId="{06D82E4D-06FD-6244-B0BE-4F3F1CCC6EA2}" srcOrd="8" destOrd="0" presId="urn:microsoft.com/office/officeart/2005/8/layout/cycle6"/>
    <dgm:cxn modelId="{DADBC76C-7D29-314D-823C-83BCD051B931}" type="presParOf" srcId="{66115896-E633-CC4C-9377-C2C13051A61C}" destId="{82640692-37EB-7944-A4C4-490287E35F3F}" srcOrd="9" destOrd="0" presId="urn:microsoft.com/office/officeart/2005/8/layout/cycle6"/>
    <dgm:cxn modelId="{7238B3F9-48A4-B944-B342-AFCF698344F4}" type="presParOf" srcId="{66115896-E633-CC4C-9377-C2C13051A61C}" destId="{34CA336A-83B5-E248-9527-D8C8CB15F051}" srcOrd="10" destOrd="0" presId="urn:microsoft.com/office/officeart/2005/8/layout/cycle6"/>
    <dgm:cxn modelId="{151BE881-1B1B-124A-B545-7C0A30873B4D}" type="presParOf" srcId="{66115896-E633-CC4C-9377-C2C13051A61C}" destId="{1089AFA7-2479-2F49-A7F6-EF33DE1C4BC0}" srcOrd="11" destOrd="0" presId="urn:microsoft.com/office/officeart/2005/8/layout/cycle6"/>
    <dgm:cxn modelId="{4FF294B2-C9C7-B642-B25F-FE49168591BA}" type="presParOf" srcId="{66115896-E633-CC4C-9377-C2C13051A61C}" destId="{59934DFA-3F9E-EB47-A09A-239528D9706C}" srcOrd="12" destOrd="0" presId="urn:microsoft.com/office/officeart/2005/8/layout/cycle6"/>
    <dgm:cxn modelId="{EA514FD1-4DD2-2A4E-87CD-479512434503}" type="presParOf" srcId="{66115896-E633-CC4C-9377-C2C13051A61C}" destId="{87B5DF6B-FAD5-314C-AA25-5208A29D7F76}" srcOrd="13" destOrd="0" presId="urn:microsoft.com/office/officeart/2005/8/layout/cycle6"/>
    <dgm:cxn modelId="{72C2FA00-6DFD-844E-8CA1-F35DD80AD828}" type="presParOf" srcId="{66115896-E633-CC4C-9377-C2C13051A61C}" destId="{D6E5B313-C249-964E-B4C6-7EB6689A3EFB}" srcOrd="14" destOrd="0" presId="urn:microsoft.com/office/officeart/2005/8/layout/cycle6"/>
    <dgm:cxn modelId="{12713E72-FF92-584C-8B31-595ACAE97BAB}" type="presParOf" srcId="{66115896-E633-CC4C-9377-C2C13051A61C}" destId="{98A95401-46E8-D84C-8B78-C3B39DDB2FDE}" srcOrd="15" destOrd="0" presId="urn:microsoft.com/office/officeart/2005/8/layout/cycle6"/>
    <dgm:cxn modelId="{26BA8E06-CCC9-214D-87CF-740310C34614}" type="presParOf" srcId="{66115896-E633-CC4C-9377-C2C13051A61C}" destId="{D8DABFE9-BE16-F64C-8AF7-4968B788B13E}" srcOrd="16" destOrd="0" presId="urn:microsoft.com/office/officeart/2005/8/layout/cycle6"/>
    <dgm:cxn modelId="{C4D38B07-5EA8-424B-81F6-210800B5625D}" type="presParOf" srcId="{66115896-E633-CC4C-9377-C2C13051A61C}" destId="{6636D371-FF8C-C64E-82BD-3293BB3A5746}" srcOrd="17" destOrd="0" presId="urn:microsoft.com/office/officeart/2005/8/layout/cycle6"/>
  </dgm:cxnLst>
  <dgm:bg/>
  <dgm:whole/>
  <dgm:extLst>
    <a:ext uri="http://schemas.microsoft.com/office/drawing/2008/diagram">
      <dsp:dataModelExt xmlns:dsp="http://schemas.microsoft.com/office/drawing/2008/diagram" relId="rId18"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4E31D763-C02E-7947-B83C-E552F0A47D80}" type="doc">
      <dgm:prSet loTypeId="urn:microsoft.com/office/officeart/2005/8/layout/cycle6" loCatId="" qsTypeId="urn:microsoft.com/office/officeart/2005/8/quickstyle/simple1" qsCatId="simple" csTypeId="urn:microsoft.com/office/officeart/2005/8/colors/accent1_2" csCatId="accent1" phldr="1"/>
      <dgm:spPr/>
      <dgm:t>
        <a:bodyPr/>
        <a:lstStyle/>
        <a:p>
          <a:endParaRPr lang="fr-FR"/>
        </a:p>
      </dgm:t>
    </dgm:pt>
    <dgm:pt modelId="{2772714E-973D-9A4B-A096-BBDBA9F1B306}">
      <dgm:prSet phldrT="[Texte]"/>
      <dgm:spPr>
        <a:solidFill>
          <a:schemeClr val="accent1"/>
        </a:solidFill>
      </dgm:spPr>
      <dgm:t>
        <a:bodyPr/>
        <a:lstStyle/>
        <a:p>
          <a:r>
            <a:rPr lang="fr-FR"/>
            <a:t>CEO</a:t>
          </a:r>
        </a:p>
      </dgm:t>
    </dgm:pt>
    <dgm:pt modelId="{9FF255BF-57AD-ED4C-A8E2-396B9483FA8D}" type="parTrans" cxnId="{FAE71E13-DFEC-3E4F-858E-AF091CE04121}">
      <dgm:prSet/>
      <dgm:spPr/>
      <dgm:t>
        <a:bodyPr/>
        <a:lstStyle/>
        <a:p>
          <a:endParaRPr lang="fr-FR"/>
        </a:p>
      </dgm:t>
    </dgm:pt>
    <dgm:pt modelId="{E3BCC67D-96B6-E04D-8B71-D000C3E98B39}" type="sibTrans" cxnId="{FAE71E13-DFEC-3E4F-858E-AF091CE04121}">
      <dgm:prSet/>
      <dgm:spPr/>
      <dgm:t>
        <a:bodyPr/>
        <a:lstStyle/>
        <a:p>
          <a:endParaRPr lang="fr-FR"/>
        </a:p>
      </dgm:t>
    </dgm:pt>
    <dgm:pt modelId="{8D3E0E25-85A3-814F-9093-A3ED78E0B395}">
      <dgm:prSet phldrT="[Texte]"/>
      <dgm:spPr>
        <a:solidFill>
          <a:schemeClr val="accent1"/>
        </a:solidFill>
      </dgm:spPr>
      <dgm:t>
        <a:bodyPr/>
        <a:lstStyle/>
        <a:p>
          <a:r>
            <a:rPr lang="fr-FR" err="1"/>
            <a:t>Strategy</a:t>
          </a:r>
          <a:endParaRPr lang="fr-FR" i="1"/>
        </a:p>
      </dgm:t>
    </dgm:pt>
    <dgm:pt modelId="{D0E1ED33-D0F6-D246-96E5-54208DB01216}" type="parTrans" cxnId="{5FD08A35-9DAE-1E4A-B660-9FEE8E32D023}">
      <dgm:prSet/>
      <dgm:spPr/>
      <dgm:t>
        <a:bodyPr/>
        <a:lstStyle/>
        <a:p>
          <a:endParaRPr lang="fr-FR"/>
        </a:p>
      </dgm:t>
    </dgm:pt>
    <dgm:pt modelId="{57C98708-2E26-0443-AD4B-247781B28006}" type="sibTrans" cxnId="{5FD08A35-9DAE-1E4A-B660-9FEE8E32D023}">
      <dgm:prSet/>
      <dgm:spPr/>
      <dgm:t>
        <a:bodyPr/>
        <a:lstStyle/>
        <a:p>
          <a:endParaRPr lang="fr-FR"/>
        </a:p>
      </dgm:t>
    </dgm:pt>
    <dgm:pt modelId="{9D62DF0A-067A-CC46-B18D-DC63C4937B06}">
      <dgm:prSet phldrT="[Texte]"/>
      <dgm:spPr>
        <a:solidFill>
          <a:schemeClr val="accent1"/>
        </a:solidFill>
      </dgm:spPr>
      <dgm:t>
        <a:bodyPr/>
        <a:lstStyle/>
        <a:p>
          <a:r>
            <a:rPr lang="fr-FR"/>
            <a:t>Sales</a:t>
          </a:r>
          <a:endParaRPr lang="fr-FR" i="1"/>
        </a:p>
      </dgm:t>
    </dgm:pt>
    <dgm:pt modelId="{DE956947-D4F9-5D4A-9C35-F54393245626}" type="parTrans" cxnId="{E77E01AC-8DBC-954A-9499-35DEA9DD6E53}">
      <dgm:prSet/>
      <dgm:spPr/>
      <dgm:t>
        <a:bodyPr/>
        <a:lstStyle/>
        <a:p>
          <a:endParaRPr lang="fr-FR"/>
        </a:p>
      </dgm:t>
    </dgm:pt>
    <dgm:pt modelId="{7BA38F8B-18A9-8448-AF44-06F64B505E21}" type="sibTrans" cxnId="{E77E01AC-8DBC-954A-9499-35DEA9DD6E53}">
      <dgm:prSet/>
      <dgm:spPr/>
      <dgm:t>
        <a:bodyPr/>
        <a:lstStyle/>
        <a:p>
          <a:endParaRPr lang="fr-FR"/>
        </a:p>
      </dgm:t>
    </dgm:pt>
    <dgm:pt modelId="{368F6BF0-DFAC-5E40-884D-FCF0BA47A442}">
      <dgm:prSet phldrT="[Texte]"/>
      <dgm:spPr>
        <a:solidFill>
          <a:srgbClr val="20BE60"/>
        </a:solidFill>
      </dgm:spPr>
      <dgm:t>
        <a:bodyPr/>
        <a:lstStyle/>
        <a:p>
          <a:r>
            <a:rPr lang="fr-FR" i="0"/>
            <a:t>Marketing</a:t>
          </a:r>
        </a:p>
      </dgm:t>
    </dgm:pt>
    <dgm:pt modelId="{7A723EF3-F605-1947-9610-2A1D71C7B346}" type="parTrans" cxnId="{585BC230-734C-254F-8194-5B35E0962E8E}">
      <dgm:prSet/>
      <dgm:spPr/>
      <dgm:t>
        <a:bodyPr/>
        <a:lstStyle/>
        <a:p>
          <a:endParaRPr lang="fr-FR"/>
        </a:p>
      </dgm:t>
    </dgm:pt>
    <dgm:pt modelId="{187E3784-FAB1-A442-BC23-91CC709C7DC3}" type="sibTrans" cxnId="{585BC230-734C-254F-8194-5B35E0962E8E}">
      <dgm:prSet/>
      <dgm:spPr/>
      <dgm:t>
        <a:bodyPr/>
        <a:lstStyle/>
        <a:p>
          <a:endParaRPr lang="fr-FR"/>
        </a:p>
      </dgm:t>
    </dgm:pt>
    <dgm:pt modelId="{DCD92BC1-B375-A445-8B41-487464F6F0CF}">
      <dgm:prSet phldrT="[Texte]"/>
      <dgm:spPr/>
      <dgm:t>
        <a:bodyPr/>
        <a:lstStyle/>
        <a:p>
          <a:r>
            <a:rPr lang="fr-FR" err="1"/>
            <a:t>Supply</a:t>
          </a:r>
          <a:r>
            <a:rPr lang="fr-FR"/>
            <a:t> Chain</a:t>
          </a:r>
          <a:endParaRPr lang="fr-FR" i="1"/>
        </a:p>
      </dgm:t>
    </dgm:pt>
    <dgm:pt modelId="{D1DC02D9-FC8B-CA4B-AB88-7F7548505B96}" type="parTrans" cxnId="{FA7D8AC9-958C-2249-9278-9F687C4EFCB1}">
      <dgm:prSet/>
      <dgm:spPr/>
      <dgm:t>
        <a:bodyPr/>
        <a:lstStyle/>
        <a:p>
          <a:endParaRPr lang="fr-FR"/>
        </a:p>
      </dgm:t>
    </dgm:pt>
    <dgm:pt modelId="{1109CB82-D968-5849-8F7B-17D203A9126D}" type="sibTrans" cxnId="{FA7D8AC9-958C-2249-9278-9F687C4EFCB1}">
      <dgm:prSet/>
      <dgm:spPr/>
      <dgm:t>
        <a:bodyPr/>
        <a:lstStyle/>
        <a:p>
          <a:endParaRPr lang="fr-FR"/>
        </a:p>
      </dgm:t>
    </dgm:pt>
    <dgm:pt modelId="{9DBF6000-A91B-124F-954C-A8DA8F4613F4}" type="asst">
      <dgm:prSet phldrT="[Texte]"/>
      <dgm:spPr>
        <a:solidFill>
          <a:srgbClr val="20BE60"/>
        </a:solidFill>
      </dgm:spPr>
      <dgm:t>
        <a:bodyPr/>
        <a:lstStyle/>
        <a:p>
          <a:r>
            <a:rPr lang="fr-FR" i="0"/>
            <a:t>Data Team</a:t>
          </a:r>
        </a:p>
      </dgm:t>
    </dgm:pt>
    <dgm:pt modelId="{0974E83F-165E-1F41-91A3-FDF2054E1CB8}" type="sibTrans" cxnId="{44F6C1D7-4279-1C4F-B68F-7D83712DCA5D}">
      <dgm:prSet/>
      <dgm:spPr/>
      <dgm:t>
        <a:bodyPr/>
        <a:lstStyle/>
        <a:p>
          <a:endParaRPr lang="fr-FR"/>
        </a:p>
      </dgm:t>
    </dgm:pt>
    <dgm:pt modelId="{C740A2E3-2CCD-ED45-861E-9CB537D83FBE}" type="parTrans" cxnId="{44F6C1D7-4279-1C4F-B68F-7D83712DCA5D}">
      <dgm:prSet/>
      <dgm:spPr/>
      <dgm:t>
        <a:bodyPr/>
        <a:lstStyle/>
        <a:p>
          <a:endParaRPr lang="fr-FR"/>
        </a:p>
      </dgm:t>
    </dgm:pt>
    <dgm:pt modelId="{66115896-E633-CC4C-9377-C2C13051A61C}" type="pres">
      <dgm:prSet presAssocID="{4E31D763-C02E-7947-B83C-E552F0A47D80}" presName="cycle" presStyleCnt="0">
        <dgm:presLayoutVars>
          <dgm:dir/>
          <dgm:resizeHandles val="exact"/>
        </dgm:presLayoutVars>
      </dgm:prSet>
      <dgm:spPr/>
    </dgm:pt>
    <dgm:pt modelId="{EFE5385E-9ED6-4C41-87B6-041C603EF69F}" type="pres">
      <dgm:prSet presAssocID="{2772714E-973D-9A4B-A096-BBDBA9F1B306}" presName="node" presStyleLbl="node1" presStyleIdx="0" presStyleCnt="5">
        <dgm:presLayoutVars>
          <dgm:bulletEnabled val="1"/>
        </dgm:presLayoutVars>
      </dgm:prSet>
      <dgm:spPr/>
    </dgm:pt>
    <dgm:pt modelId="{60DD6ABD-55BF-834F-A1A7-8799D4EAF111}" type="pres">
      <dgm:prSet presAssocID="{2772714E-973D-9A4B-A096-BBDBA9F1B306}" presName="spNode" presStyleCnt="0"/>
      <dgm:spPr/>
    </dgm:pt>
    <dgm:pt modelId="{2B5A2DFF-1927-2F49-94E0-8C661092F163}" type="pres">
      <dgm:prSet presAssocID="{E3BCC67D-96B6-E04D-8B71-D000C3E98B39}" presName="sibTrans" presStyleLbl="sibTrans1D1" presStyleIdx="0" presStyleCnt="6"/>
      <dgm:spPr/>
    </dgm:pt>
    <dgm:pt modelId="{F7868934-1BDA-8540-8B48-9B6093A28EAB}" type="pres">
      <dgm:prSet presAssocID="{9DBF6000-A91B-124F-954C-A8DA8F4613F4}" presName="node" presStyleLbl="asst0" presStyleIdx="0" presStyleCnt="1">
        <dgm:presLayoutVars>
          <dgm:bulletEnabled val="1"/>
        </dgm:presLayoutVars>
      </dgm:prSet>
      <dgm:spPr/>
    </dgm:pt>
    <dgm:pt modelId="{4696D8F9-AB65-E54B-A7D6-B37036323B07}" type="pres">
      <dgm:prSet presAssocID="{9DBF6000-A91B-124F-954C-A8DA8F4613F4}" presName="spNode" presStyleCnt="0"/>
      <dgm:spPr/>
    </dgm:pt>
    <dgm:pt modelId="{43221334-28A9-2E44-BE7A-C124BC965737}" type="pres">
      <dgm:prSet presAssocID="{0974E83F-165E-1F41-91A3-FDF2054E1CB8}" presName="sibTrans" presStyleLbl="sibTrans1D1" presStyleIdx="1" presStyleCnt="6"/>
      <dgm:spPr/>
    </dgm:pt>
    <dgm:pt modelId="{500CBAAD-84BE-1A40-87A6-3150284EA748}" type="pres">
      <dgm:prSet presAssocID="{8D3E0E25-85A3-814F-9093-A3ED78E0B395}" presName="node" presStyleLbl="node1" presStyleIdx="1" presStyleCnt="5">
        <dgm:presLayoutVars>
          <dgm:bulletEnabled val="1"/>
        </dgm:presLayoutVars>
      </dgm:prSet>
      <dgm:spPr/>
    </dgm:pt>
    <dgm:pt modelId="{012F9C7F-2B4D-0043-975E-D2B7CA7901BF}" type="pres">
      <dgm:prSet presAssocID="{8D3E0E25-85A3-814F-9093-A3ED78E0B395}" presName="spNode" presStyleCnt="0"/>
      <dgm:spPr/>
    </dgm:pt>
    <dgm:pt modelId="{06D82E4D-06FD-6244-B0BE-4F3F1CCC6EA2}" type="pres">
      <dgm:prSet presAssocID="{57C98708-2E26-0443-AD4B-247781B28006}" presName="sibTrans" presStyleLbl="sibTrans1D1" presStyleIdx="2" presStyleCnt="6"/>
      <dgm:spPr/>
    </dgm:pt>
    <dgm:pt modelId="{82640692-37EB-7944-A4C4-490287E35F3F}" type="pres">
      <dgm:prSet presAssocID="{DCD92BC1-B375-A445-8B41-487464F6F0CF}" presName="node" presStyleLbl="node1" presStyleIdx="2" presStyleCnt="5">
        <dgm:presLayoutVars>
          <dgm:bulletEnabled val="1"/>
        </dgm:presLayoutVars>
      </dgm:prSet>
      <dgm:spPr/>
    </dgm:pt>
    <dgm:pt modelId="{34CA336A-83B5-E248-9527-D8C8CB15F051}" type="pres">
      <dgm:prSet presAssocID="{DCD92BC1-B375-A445-8B41-487464F6F0CF}" presName="spNode" presStyleCnt="0"/>
      <dgm:spPr/>
    </dgm:pt>
    <dgm:pt modelId="{1089AFA7-2479-2F49-A7F6-EF33DE1C4BC0}" type="pres">
      <dgm:prSet presAssocID="{1109CB82-D968-5849-8F7B-17D203A9126D}" presName="sibTrans" presStyleLbl="sibTrans1D1" presStyleIdx="3" presStyleCnt="6"/>
      <dgm:spPr/>
    </dgm:pt>
    <dgm:pt modelId="{59934DFA-3F9E-EB47-A09A-239528D9706C}" type="pres">
      <dgm:prSet presAssocID="{9D62DF0A-067A-CC46-B18D-DC63C4937B06}" presName="node" presStyleLbl="node1" presStyleIdx="3" presStyleCnt="5">
        <dgm:presLayoutVars>
          <dgm:bulletEnabled val="1"/>
        </dgm:presLayoutVars>
      </dgm:prSet>
      <dgm:spPr/>
    </dgm:pt>
    <dgm:pt modelId="{87B5DF6B-FAD5-314C-AA25-5208A29D7F76}" type="pres">
      <dgm:prSet presAssocID="{9D62DF0A-067A-CC46-B18D-DC63C4937B06}" presName="spNode" presStyleCnt="0"/>
      <dgm:spPr/>
    </dgm:pt>
    <dgm:pt modelId="{D6E5B313-C249-964E-B4C6-7EB6689A3EFB}" type="pres">
      <dgm:prSet presAssocID="{7BA38F8B-18A9-8448-AF44-06F64B505E21}" presName="sibTrans" presStyleLbl="sibTrans1D1" presStyleIdx="4" presStyleCnt="6"/>
      <dgm:spPr/>
    </dgm:pt>
    <dgm:pt modelId="{98A95401-46E8-D84C-8B78-C3B39DDB2FDE}" type="pres">
      <dgm:prSet presAssocID="{368F6BF0-DFAC-5E40-884D-FCF0BA47A442}" presName="node" presStyleLbl="node1" presStyleIdx="4" presStyleCnt="5">
        <dgm:presLayoutVars>
          <dgm:bulletEnabled val="1"/>
        </dgm:presLayoutVars>
      </dgm:prSet>
      <dgm:spPr/>
    </dgm:pt>
    <dgm:pt modelId="{D8DABFE9-BE16-F64C-8AF7-4968B788B13E}" type="pres">
      <dgm:prSet presAssocID="{368F6BF0-DFAC-5E40-884D-FCF0BA47A442}" presName="spNode" presStyleCnt="0"/>
      <dgm:spPr/>
    </dgm:pt>
    <dgm:pt modelId="{6636D371-FF8C-C64E-82BD-3293BB3A5746}" type="pres">
      <dgm:prSet presAssocID="{187E3784-FAB1-A442-BC23-91CC709C7DC3}" presName="sibTrans" presStyleLbl="sibTrans1D1" presStyleIdx="5" presStyleCnt="6"/>
      <dgm:spPr/>
    </dgm:pt>
  </dgm:ptLst>
  <dgm:cxnLst>
    <dgm:cxn modelId="{1E4DBB04-C191-294F-9CB9-049626FA5834}" type="presOf" srcId="{0974E83F-165E-1F41-91A3-FDF2054E1CB8}" destId="{43221334-28A9-2E44-BE7A-C124BC965737}" srcOrd="0" destOrd="0" presId="urn:microsoft.com/office/officeart/2005/8/layout/cycle6"/>
    <dgm:cxn modelId="{FAE71E13-DFEC-3E4F-858E-AF091CE04121}" srcId="{4E31D763-C02E-7947-B83C-E552F0A47D80}" destId="{2772714E-973D-9A4B-A096-BBDBA9F1B306}" srcOrd="0" destOrd="0" parTransId="{9FF255BF-57AD-ED4C-A8E2-396B9483FA8D}" sibTransId="{E3BCC67D-96B6-E04D-8B71-D000C3E98B39}"/>
    <dgm:cxn modelId="{B823A51A-4935-B045-890F-176CA94170FB}" type="presOf" srcId="{9D62DF0A-067A-CC46-B18D-DC63C4937B06}" destId="{59934DFA-3F9E-EB47-A09A-239528D9706C}" srcOrd="0" destOrd="0" presId="urn:microsoft.com/office/officeart/2005/8/layout/cycle6"/>
    <dgm:cxn modelId="{7F538223-C0DD-2B4A-9BC8-18AE173498DB}" type="presOf" srcId="{2772714E-973D-9A4B-A096-BBDBA9F1B306}" destId="{EFE5385E-9ED6-4C41-87B6-041C603EF69F}" srcOrd="0" destOrd="0" presId="urn:microsoft.com/office/officeart/2005/8/layout/cycle6"/>
    <dgm:cxn modelId="{585BC230-734C-254F-8194-5B35E0962E8E}" srcId="{4E31D763-C02E-7947-B83C-E552F0A47D80}" destId="{368F6BF0-DFAC-5E40-884D-FCF0BA47A442}" srcOrd="5" destOrd="0" parTransId="{7A723EF3-F605-1947-9610-2A1D71C7B346}" sibTransId="{187E3784-FAB1-A442-BC23-91CC709C7DC3}"/>
    <dgm:cxn modelId="{5FD08A35-9DAE-1E4A-B660-9FEE8E32D023}" srcId="{4E31D763-C02E-7947-B83C-E552F0A47D80}" destId="{8D3E0E25-85A3-814F-9093-A3ED78E0B395}" srcOrd="2" destOrd="0" parTransId="{D0E1ED33-D0F6-D246-96E5-54208DB01216}" sibTransId="{57C98708-2E26-0443-AD4B-247781B28006}"/>
    <dgm:cxn modelId="{F9E27937-3945-964A-B042-EBEE251D2D48}" type="presOf" srcId="{9DBF6000-A91B-124F-954C-A8DA8F4613F4}" destId="{F7868934-1BDA-8540-8B48-9B6093A28EAB}" srcOrd="0" destOrd="0" presId="urn:microsoft.com/office/officeart/2005/8/layout/cycle6"/>
    <dgm:cxn modelId="{18A98169-5049-4A4D-82B0-2090A207A43A}" type="presOf" srcId="{8D3E0E25-85A3-814F-9093-A3ED78E0B395}" destId="{500CBAAD-84BE-1A40-87A6-3150284EA748}" srcOrd="0" destOrd="0" presId="urn:microsoft.com/office/officeart/2005/8/layout/cycle6"/>
    <dgm:cxn modelId="{954C3972-F940-9940-A726-B1AD61F70006}" type="presOf" srcId="{368F6BF0-DFAC-5E40-884D-FCF0BA47A442}" destId="{98A95401-46E8-D84C-8B78-C3B39DDB2FDE}" srcOrd="0" destOrd="0" presId="urn:microsoft.com/office/officeart/2005/8/layout/cycle6"/>
    <dgm:cxn modelId="{7B235590-7928-9D47-BC47-BFDFBFAE19A3}" type="presOf" srcId="{DCD92BC1-B375-A445-8B41-487464F6F0CF}" destId="{82640692-37EB-7944-A4C4-490287E35F3F}" srcOrd="0" destOrd="0" presId="urn:microsoft.com/office/officeart/2005/8/layout/cycle6"/>
    <dgm:cxn modelId="{3C188C90-4F0C-B242-A3AF-C8274C8AB30F}" type="presOf" srcId="{7BA38F8B-18A9-8448-AF44-06F64B505E21}" destId="{D6E5B313-C249-964E-B4C6-7EB6689A3EFB}" srcOrd="0" destOrd="0" presId="urn:microsoft.com/office/officeart/2005/8/layout/cycle6"/>
    <dgm:cxn modelId="{9B4A4A9D-B5D7-8F47-A61C-833778BB67F0}" type="presOf" srcId="{187E3784-FAB1-A442-BC23-91CC709C7DC3}" destId="{6636D371-FF8C-C64E-82BD-3293BB3A5746}" srcOrd="0" destOrd="0" presId="urn:microsoft.com/office/officeart/2005/8/layout/cycle6"/>
    <dgm:cxn modelId="{1A61CAA5-0FC9-794F-ABBE-3F8A0C3B05DA}" type="presOf" srcId="{4E31D763-C02E-7947-B83C-E552F0A47D80}" destId="{66115896-E633-CC4C-9377-C2C13051A61C}" srcOrd="0" destOrd="0" presId="urn:microsoft.com/office/officeart/2005/8/layout/cycle6"/>
    <dgm:cxn modelId="{E77E01AC-8DBC-954A-9499-35DEA9DD6E53}" srcId="{4E31D763-C02E-7947-B83C-E552F0A47D80}" destId="{9D62DF0A-067A-CC46-B18D-DC63C4937B06}" srcOrd="4" destOrd="0" parTransId="{DE956947-D4F9-5D4A-9C35-F54393245626}" sibTransId="{7BA38F8B-18A9-8448-AF44-06F64B505E21}"/>
    <dgm:cxn modelId="{FA7D8AC9-958C-2249-9278-9F687C4EFCB1}" srcId="{4E31D763-C02E-7947-B83C-E552F0A47D80}" destId="{DCD92BC1-B375-A445-8B41-487464F6F0CF}" srcOrd="3" destOrd="0" parTransId="{D1DC02D9-FC8B-CA4B-AB88-7F7548505B96}" sibTransId="{1109CB82-D968-5849-8F7B-17D203A9126D}"/>
    <dgm:cxn modelId="{5B5EA6D0-468B-F446-A87C-342A05D3FA94}" type="presOf" srcId="{E3BCC67D-96B6-E04D-8B71-D000C3E98B39}" destId="{2B5A2DFF-1927-2F49-94E0-8C661092F163}" srcOrd="0" destOrd="0" presId="urn:microsoft.com/office/officeart/2005/8/layout/cycle6"/>
    <dgm:cxn modelId="{995889D7-A03E-5B45-89FE-1D47C100DA2A}" type="presOf" srcId="{1109CB82-D968-5849-8F7B-17D203A9126D}" destId="{1089AFA7-2479-2F49-A7F6-EF33DE1C4BC0}" srcOrd="0" destOrd="0" presId="urn:microsoft.com/office/officeart/2005/8/layout/cycle6"/>
    <dgm:cxn modelId="{44F6C1D7-4279-1C4F-B68F-7D83712DCA5D}" srcId="{4E31D763-C02E-7947-B83C-E552F0A47D80}" destId="{9DBF6000-A91B-124F-954C-A8DA8F4613F4}" srcOrd="1" destOrd="0" parTransId="{C740A2E3-2CCD-ED45-861E-9CB537D83FBE}" sibTransId="{0974E83F-165E-1F41-91A3-FDF2054E1CB8}"/>
    <dgm:cxn modelId="{F5DDE6F6-1B5B-8547-B44F-A018B44D3149}" type="presOf" srcId="{57C98708-2E26-0443-AD4B-247781B28006}" destId="{06D82E4D-06FD-6244-B0BE-4F3F1CCC6EA2}" srcOrd="0" destOrd="0" presId="urn:microsoft.com/office/officeart/2005/8/layout/cycle6"/>
    <dgm:cxn modelId="{0455C990-4064-0849-A301-755F145B6895}" type="presParOf" srcId="{66115896-E633-CC4C-9377-C2C13051A61C}" destId="{EFE5385E-9ED6-4C41-87B6-041C603EF69F}" srcOrd="0" destOrd="0" presId="urn:microsoft.com/office/officeart/2005/8/layout/cycle6"/>
    <dgm:cxn modelId="{E8148B45-E586-CB44-87C6-EA1A88A3117F}" type="presParOf" srcId="{66115896-E633-CC4C-9377-C2C13051A61C}" destId="{60DD6ABD-55BF-834F-A1A7-8799D4EAF111}" srcOrd="1" destOrd="0" presId="urn:microsoft.com/office/officeart/2005/8/layout/cycle6"/>
    <dgm:cxn modelId="{14CD7915-6989-C146-878C-BBA85FA63753}" type="presParOf" srcId="{66115896-E633-CC4C-9377-C2C13051A61C}" destId="{2B5A2DFF-1927-2F49-94E0-8C661092F163}" srcOrd="2" destOrd="0" presId="urn:microsoft.com/office/officeart/2005/8/layout/cycle6"/>
    <dgm:cxn modelId="{E1FF672E-E756-0342-8743-F88D291DAC90}" type="presParOf" srcId="{66115896-E633-CC4C-9377-C2C13051A61C}" destId="{F7868934-1BDA-8540-8B48-9B6093A28EAB}" srcOrd="3" destOrd="0" presId="urn:microsoft.com/office/officeart/2005/8/layout/cycle6"/>
    <dgm:cxn modelId="{C26704DE-6D9C-2347-806D-B363BF96282A}" type="presParOf" srcId="{66115896-E633-CC4C-9377-C2C13051A61C}" destId="{4696D8F9-AB65-E54B-A7D6-B37036323B07}" srcOrd="4" destOrd="0" presId="urn:microsoft.com/office/officeart/2005/8/layout/cycle6"/>
    <dgm:cxn modelId="{A23325B3-2EFD-544C-A89D-FAB5567567BA}" type="presParOf" srcId="{66115896-E633-CC4C-9377-C2C13051A61C}" destId="{43221334-28A9-2E44-BE7A-C124BC965737}" srcOrd="5" destOrd="0" presId="urn:microsoft.com/office/officeart/2005/8/layout/cycle6"/>
    <dgm:cxn modelId="{9C92E277-E79E-D342-A4DD-14BCE585920E}" type="presParOf" srcId="{66115896-E633-CC4C-9377-C2C13051A61C}" destId="{500CBAAD-84BE-1A40-87A6-3150284EA748}" srcOrd="6" destOrd="0" presId="urn:microsoft.com/office/officeart/2005/8/layout/cycle6"/>
    <dgm:cxn modelId="{CD8DC3AD-3CF4-814A-89C5-83B39F5A2E5B}" type="presParOf" srcId="{66115896-E633-CC4C-9377-C2C13051A61C}" destId="{012F9C7F-2B4D-0043-975E-D2B7CA7901BF}" srcOrd="7" destOrd="0" presId="urn:microsoft.com/office/officeart/2005/8/layout/cycle6"/>
    <dgm:cxn modelId="{68B61C60-E12F-5448-9C05-C7D2C0EF03A8}" type="presParOf" srcId="{66115896-E633-CC4C-9377-C2C13051A61C}" destId="{06D82E4D-06FD-6244-B0BE-4F3F1CCC6EA2}" srcOrd="8" destOrd="0" presId="urn:microsoft.com/office/officeart/2005/8/layout/cycle6"/>
    <dgm:cxn modelId="{DADBC76C-7D29-314D-823C-83BCD051B931}" type="presParOf" srcId="{66115896-E633-CC4C-9377-C2C13051A61C}" destId="{82640692-37EB-7944-A4C4-490287E35F3F}" srcOrd="9" destOrd="0" presId="urn:microsoft.com/office/officeart/2005/8/layout/cycle6"/>
    <dgm:cxn modelId="{7238B3F9-48A4-B944-B342-AFCF698344F4}" type="presParOf" srcId="{66115896-E633-CC4C-9377-C2C13051A61C}" destId="{34CA336A-83B5-E248-9527-D8C8CB15F051}" srcOrd="10" destOrd="0" presId="urn:microsoft.com/office/officeart/2005/8/layout/cycle6"/>
    <dgm:cxn modelId="{151BE881-1B1B-124A-B545-7C0A30873B4D}" type="presParOf" srcId="{66115896-E633-CC4C-9377-C2C13051A61C}" destId="{1089AFA7-2479-2F49-A7F6-EF33DE1C4BC0}" srcOrd="11" destOrd="0" presId="urn:microsoft.com/office/officeart/2005/8/layout/cycle6"/>
    <dgm:cxn modelId="{4FF294B2-C9C7-B642-B25F-FE49168591BA}" type="presParOf" srcId="{66115896-E633-CC4C-9377-C2C13051A61C}" destId="{59934DFA-3F9E-EB47-A09A-239528D9706C}" srcOrd="12" destOrd="0" presId="urn:microsoft.com/office/officeart/2005/8/layout/cycle6"/>
    <dgm:cxn modelId="{EA514FD1-4DD2-2A4E-87CD-479512434503}" type="presParOf" srcId="{66115896-E633-CC4C-9377-C2C13051A61C}" destId="{87B5DF6B-FAD5-314C-AA25-5208A29D7F76}" srcOrd="13" destOrd="0" presId="urn:microsoft.com/office/officeart/2005/8/layout/cycle6"/>
    <dgm:cxn modelId="{72C2FA00-6DFD-844E-8CA1-F35DD80AD828}" type="presParOf" srcId="{66115896-E633-CC4C-9377-C2C13051A61C}" destId="{D6E5B313-C249-964E-B4C6-7EB6689A3EFB}" srcOrd="14" destOrd="0" presId="urn:microsoft.com/office/officeart/2005/8/layout/cycle6"/>
    <dgm:cxn modelId="{12713E72-FF92-584C-8B31-595ACAE97BAB}" type="presParOf" srcId="{66115896-E633-CC4C-9377-C2C13051A61C}" destId="{98A95401-46E8-D84C-8B78-C3B39DDB2FDE}" srcOrd="15" destOrd="0" presId="urn:microsoft.com/office/officeart/2005/8/layout/cycle6"/>
    <dgm:cxn modelId="{26BA8E06-CCC9-214D-87CF-740310C34614}" type="presParOf" srcId="{66115896-E633-CC4C-9377-C2C13051A61C}" destId="{D8DABFE9-BE16-F64C-8AF7-4968B788B13E}" srcOrd="16" destOrd="0" presId="urn:microsoft.com/office/officeart/2005/8/layout/cycle6"/>
    <dgm:cxn modelId="{C4D38B07-5EA8-424B-81F6-210800B5625D}" type="presParOf" srcId="{66115896-E633-CC4C-9377-C2C13051A61C}" destId="{6636D371-FF8C-C64E-82BD-3293BB3A5746}" srcOrd="17" destOrd="0" presId="urn:microsoft.com/office/officeart/2005/8/layout/cycle6"/>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4E31D763-C02E-7947-B83C-E552F0A47D80}" type="doc">
      <dgm:prSet loTypeId="urn:microsoft.com/office/officeart/2005/8/layout/cycle6" loCatId="" qsTypeId="urn:microsoft.com/office/officeart/2005/8/quickstyle/simple1" qsCatId="simple" csTypeId="urn:microsoft.com/office/officeart/2005/8/colors/accent1_2" csCatId="accent1" phldr="1"/>
      <dgm:spPr/>
      <dgm:t>
        <a:bodyPr/>
        <a:lstStyle/>
        <a:p>
          <a:endParaRPr lang="fr-FR"/>
        </a:p>
      </dgm:t>
    </dgm:pt>
    <dgm:pt modelId="{2772714E-973D-9A4B-A096-BBDBA9F1B306}">
      <dgm:prSet phldrT="[Texte]"/>
      <dgm:spPr>
        <a:solidFill>
          <a:srgbClr val="20BE60"/>
        </a:solidFill>
        <a:ln>
          <a:noFill/>
        </a:ln>
      </dgm:spPr>
      <dgm:t>
        <a:bodyPr/>
        <a:lstStyle/>
        <a:p>
          <a:r>
            <a:rPr lang="fr-FR"/>
            <a:t>CEO</a:t>
          </a:r>
        </a:p>
      </dgm:t>
    </dgm:pt>
    <dgm:pt modelId="{9FF255BF-57AD-ED4C-A8E2-396B9483FA8D}" type="parTrans" cxnId="{FAE71E13-DFEC-3E4F-858E-AF091CE04121}">
      <dgm:prSet/>
      <dgm:spPr/>
      <dgm:t>
        <a:bodyPr/>
        <a:lstStyle/>
        <a:p>
          <a:endParaRPr lang="fr-FR"/>
        </a:p>
      </dgm:t>
    </dgm:pt>
    <dgm:pt modelId="{E3BCC67D-96B6-E04D-8B71-D000C3E98B39}" type="sibTrans" cxnId="{FAE71E13-DFEC-3E4F-858E-AF091CE04121}">
      <dgm:prSet/>
      <dgm:spPr/>
      <dgm:t>
        <a:bodyPr/>
        <a:lstStyle/>
        <a:p>
          <a:endParaRPr lang="fr-FR"/>
        </a:p>
      </dgm:t>
    </dgm:pt>
    <dgm:pt modelId="{8D3E0E25-85A3-814F-9093-A3ED78E0B395}">
      <dgm:prSet phldrT="[Texte]"/>
      <dgm:spPr>
        <a:solidFill>
          <a:srgbClr val="20BE60"/>
        </a:solidFill>
      </dgm:spPr>
      <dgm:t>
        <a:bodyPr/>
        <a:lstStyle/>
        <a:p>
          <a:r>
            <a:rPr lang="fr-FR" err="1"/>
            <a:t>Strategy</a:t>
          </a:r>
          <a:endParaRPr lang="fr-FR" i="1"/>
        </a:p>
      </dgm:t>
    </dgm:pt>
    <dgm:pt modelId="{D0E1ED33-D0F6-D246-96E5-54208DB01216}" type="parTrans" cxnId="{5FD08A35-9DAE-1E4A-B660-9FEE8E32D023}">
      <dgm:prSet/>
      <dgm:spPr/>
      <dgm:t>
        <a:bodyPr/>
        <a:lstStyle/>
        <a:p>
          <a:endParaRPr lang="fr-FR"/>
        </a:p>
      </dgm:t>
    </dgm:pt>
    <dgm:pt modelId="{57C98708-2E26-0443-AD4B-247781B28006}" type="sibTrans" cxnId="{5FD08A35-9DAE-1E4A-B660-9FEE8E32D023}">
      <dgm:prSet/>
      <dgm:spPr/>
      <dgm:t>
        <a:bodyPr/>
        <a:lstStyle/>
        <a:p>
          <a:endParaRPr lang="fr-FR"/>
        </a:p>
      </dgm:t>
    </dgm:pt>
    <dgm:pt modelId="{9D62DF0A-067A-CC46-B18D-DC63C4937B06}">
      <dgm:prSet phldrT="[Texte]"/>
      <dgm:spPr>
        <a:solidFill>
          <a:schemeClr val="accent1"/>
        </a:solidFill>
      </dgm:spPr>
      <dgm:t>
        <a:bodyPr/>
        <a:lstStyle/>
        <a:p>
          <a:r>
            <a:rPr lang="fr-FR"/>
            <a:t>Sales</a:t>
          </a:r>
          <a:endParaRPr lang="fr-FR" i="1"/>
        </a:p>
      </dgm:t>
    </dgm:pt>
    <dgm:pt modelId="{DE956947-D4F9-5D4A-9C35-F54393245626}" type="parTrans" cxnId="{E77E01AC-8DBC-954A-9499-35DEA9DD6E53}">
      <dgm:prSet/>
      <dgm:spPr/>
      <dgm:t>
        <a:bodyPr/>
        <a:lstStyle/>
        <a:p>
          <a:endParaRPr lang="fr-FR"/>
        </a:p>
      </dgm:t>
    </dgm:pt>
    <dgm:pt modelId="{7BA38F8B-18A9-8448-AF44-06F64B505E21}" type="sibTrans" cxnId="{E77E01AC-8DBC-954A-9499-35DEA9DD6E53}">
      <dgm:prSet/>
      <dgm:spPr/>
      <dgm:t>
        <a:bodyPr/>
        <a:lstStyle/>
        <a:p>
          <a:endParaRPr lang="fr-FR"/>
        </a:p>
      </dgm:t>
    </dgm:pt>
    <dgm:pt modelId="{368F6BF0-DFAC-5E40-884D-FCF0BA47A442}">
      <dgm:prSet phldrT="[Texte]"/>
      <dgm:spPr>
        <a:solidFill>
          <a:srgbClr val="20BE60"/>
        </a:solidFill>
      </dgm:spPr>
      <dgm:t>
        <a:bodyPr/>
        <a:lstStyle/>
        <a:p>
          <a:r>
            <a:rPr lang="fr-FR" i="0"/>
            <a:t>Marketing</a:t>
          </a:r>
        </a:p>
      </dgm:t>
    </dgm:pt>
    <dgm:pt modelId="{7A723EF3-F605-1947-9610-2A1D71C7B346}" type="parTrans" cxnId="{585BC230-734C-254F-8194-5B35E0962E8E}">
      <dgm:prSet/>
      <dgm:spPr/>
      <dgm:t>
        <a:bodyPr/>
        <a:lstStyle/>
        <a:p>
          <a:endParaRPr lang="fr-FR"/>
        </a:p>
      </dgm:t>
    </dgm:pt>
    <dgm:pt modelId="{187E3784-FAB1-A442-BC23-91CC709C7DC3}" type="sibTrans" cxnId="{585BC230-734C-254F-8194-5B35E0962E8E}">
      <dgm:prSet/>
      <dgm:spPr/>
      <dgm:t>
        <a:bodyPr/>
        <a:lstStyle/>
        <a:p>
          <a:endParaRPr lang="fr-FR"/>
        </a:p>
      </dgm:t>
    </dgm:pt>
    <dgm:pt modelId="{DCD92BC1-B375-A445-8B41-487464F6F0CF}">
      <dgm:prSet phldrT="[Texte]"/>
      <dgm:spPr>
        <a:solidFill>
          <a:srgbClr val="20BE60"/>
        </a:solidFill>
      </dgm:spPr>
      <dgm:t>
        <a:bodyPr/>
        <a:lstStyle/>
        <a:p>
          <a:r>
            <a:rPr lang="fr-FR" err="1"/>
            <a:t>Supply</a:t>
          </a:r>
          <a:r>
            <a:rPr lang="fr-FR"/>
            <a:t> Chain</a:t>
          </a:r>
          <a:endParaRPr lang="fr-FR" i="1"/>
        </a:p>
      </dgm:t>
    </dgm:pt>
    <dgm:pt modelId="{D1DC02D9-FC8B-CA4B-AB88-7F7548505B96}" type="parTrans" cxnId="{FA7D8AC9-958C-2249-9278-9F687C4EFCB1}">
      <dgm:prSet/>
      <dgm:spPr/>
      <dgm:t>
        <a:bodyPr/>
        <a:lstStyle/>
        <a:p>
          <a:endParaRPr lang="fr-FR"/>
        </a:p>
      </dgm:t>
    </dgm:pt>
    <dgm:pt modelId="{1109CB82-D968-5849-8F7B-17D203A9126D}" type="sibTrans" cxnId="{FA7D8AC9-958C-2249-9278-9F687C4EFCB1}">
      <dgm:prSet/>
      <dgm:spPr/>
      <dgm:t>
        <a:bodyPr/>
        <a:lstStyle/>
        <a:p>
          <a:endParaRPr lang="fr-FR"/>
        </a:p>
      </dgm:t>
    </dgm:pt>
    <dgm:pt modelId="{9DBF6000-A91B-124F-954C-A8DA8F4613F4}" type="asst">
      <dgm:prSet phldrT="[Texte]"/>
      <dgm:spPr>
        <a:solidFill>
          <a:schemeClr val="accent1"/>
        </a:solidFill>
      </dgm:spPr>
      <dgm:t>
        <a:bodyPr/>
        <a:lstStyle/>
        <a:p>
          <a:r>
            <a:rPr lang="fr-FR" i="0"/>
            <a:t>Data Team</a:t>
          </a:r>
        </a:p>
      </dgm:t>
    </dgm:pt>
    <dgm:pt modelId="{0974E83F-165E-1F41-91A3-FDF2054E1CB8}" type="sibTrans" cxnId="{44F6C1D7-4279-1C4F-B68F-7D83712DCA5D}">
      <dgm:prSet/>
      <dgm:spPr/>
      <dgm:t>
        <a:bodyPr/>
        <a:lstStyle/>
        <a:p>
          <a:endParaRPr lang="fr-FR"/>
        </a:p>
      </dgm:t>
    </dgm:pt>
    <dgm:pt modelId="{C740A2E3-2CCD-ED45-861E-9CB537D83FBE}" type="parTrans" cxnId="{44F6C1D7-4279-1C4F-B68F-7D83712DCA5D}">
      <dgm:prSet/>
      <dgm:spPr/>
      <dgm:t>
        <a:bodyPr/>
        <a:lstStyle/>
        <a:p>
          <a:endParaRPr lang="fr-FR"/>
        </a:p>
      </dgm:t>
    </dgm:pt>
    <dgm:pt modelId="{66115896-E633-CC4C-9377-C2C13051A61C}" type="pres">
      <dgm:prSet presAssocID="{4E31D763-C02E-7947-B83C-E552F0A47D80}" presName="cycle" presStyleCnt="0">
        <dgm:presLayoutVars>
          <dgm:dir/>
          <dgm:resizeHandles val="exact"/>
        </dgm:presLayoutVars>
      </dgm:prSet>
      <dgm:spPr/>
    </dgm:pt>
    <dgm:pt modelId="{EFE5385E-9ED6-4C41-87B6-041C603EF69F}" type="pres">
      <dgm:prSet presAssocID="{2772714E-973D-9A4B-A096-BBDBA9F1B306}" presName="node" presStyleLbl="node1" presStyleIdx="0" presStyleCnt="5">
        <dgm:presLayoutVars>
          <dgm:bulletEnabled val="1"/>
        </dgm:presLayoutVars>
      </dgm:prSet>
      <dgm:spPr/>
    </dgm:pt>
    <dgm:pt modelId="{60DD6ABD-55BF-834F-A1A7-8799D4EAF111}" type="pres">
      <dgm:prSet presAssocID="{2772714E-973D-9A4B-A096-BBDBA9F1B306}" presName="spNode" presStyleCnt="0"/>
      <dgm:spPr/>
    </dgm:pt>
    <dgm:pt modelId="{2B5A2DFF-1927-2F49-94E0-8C661092F163}" type="pres">
      <dgm:prSet presAssocID="{E3BCC67D-96B6-E04D-8B71-D000C3E98B39}" presName="sibTrans" presStyleLbl="sibTrans1D1" presStyleIdx="0" presStyleCnt="6"/>
      <dgm:spPr/>
    </dgm:pt>
    <dgm:pt modelId="{F7868934-1BDA-8540-8B48-9B6093A28EAB}" type="pres">
      <dgm:prSet presAssocID="{9DBF6000-A91B-124F-954C-A8DA8F4613F4}" presName="node" presStyleLbl="asst0" presStyleIdx="0" presStyleCnt="1">
        <dgm:presLayoutVars>
          <dgm:bulletEnabled val="1"/>
        </dgm:presLayoutVars>
      </dgm:prSet>
      <dgm:spPr/>
    </dgm:pt>
    <dgm:pt modelId="{4696D8F9-AB65-E54B-A7D6-B37036323B07}" type="pres">
      <dgm:prSet presAssocID="{9DBF6000-A91B-124F-954C-A8DA8F4613F4}" presName="spNode" presStyleCnt="0"/>
      <dgm:spPr/>
    </dgm:pt>
    <dgm:pt modelId="{43221334-28A9-2E44-BE7A-C124BC965737}" type="pres">
      <dgm:prSet presAssocID="{0974E83F-165E-1F41-91A3-FDF2054E1CB8}" presName="sibTrans" presStyleLbl="sibTrans1D1" presStyleIdx="1" presStyleCnt="6"/>
      <dgm:spPr/>
    </dgm:pt>
    <dgm:pt modelId="{500CBAAD-84BE-1A40-87A6-3150284EA748}" type="pres">
      <dgm:prSet presAssocID="{8D3E0E25-85A3-814F-9093-A3ED78E0B395}" presName="node" presStyleLbl="node1" presStyleIdx="1" presStyleCnt="5">
        <dgm:presLayoutVars>
          <dgm:bulletEnabled val="1"/>
        </dgm:presLayoutVars>
      </dgm:prSet>
      <dgm:spPr/>
    </dgm:pt>
    <dgm:pt modelId="{012F9C7F-2B4D-0043-975E-D2B7CA7901BF}" type="pres">
      <dgm:prSet presAssocID="{8D3E0E25-85A3-814F-9093-A3ED78E0B395}" presName="spNode" presStyleCnt="0"/>
      <dgm:spPr/>
    </dgm:pt>
    <dgm:pt modelId="{06D82E4D-06FD-6244-B0BE-4F3F1CCC6EA2}" type="pres">
      <dgm:prSet presAssocID="{57C98708-2E26-0443-AD4B-247781B28006}" presName="sibTrans" presStyleLbl="sibTrans1D1" presStyleIdx="2" presStyleCnt="6"/>
      <dgm:spPr/>
    </dgm:pt>
    <dgm:pt modelId="{82640692-37EB-7944-A4C4-490287E35F3F}" type="pres">
      <dgm:prSet presAssocID="{DCD92BC1-B375-A445-8B41-487464F6F0CF}" presName="node" presStyleLbl="node1" presStyleIdx="2" presStyleCnt="5">
        <dgm:presLayoutVars>
          <dgm:bulletEnabled val="1"/>
        </dgm:presLayoutVars>
      </dgm:prSet>
      <dgm:spPr/>
    </dgm:pt>
    <dgm:pt modelId="{34CA336A-83B5-E248-9527-D8C8CB15F051}" type="pres">
      <dgm:prSet presAssocID="{DCD92BC1-B375-A445-8B41-487464F6F0CF}" presName="spNode" presStyleCnt="0"/>
      <dgm:spPr/>
    </dgm:pt>
    <dgm:pt modelId="{1089AFA7-2479-2F49-A7F6-EF33DE1C4BC0}" type="pres">
      <dgm:prSet presAssocID="{1109CB82-D968-5849-8F7B-17D203A9126D}" presName="sibTrans" presStyleLbl="sibTrans1D1" presStyleIdx="3" presStyleCnt="6"/>
      <dgm:spPr/>
    </dgm:pt>
    <dgm:pt modelId="{59934DFA-3F9E-EB47-A09A-239528D9706C}" type="pres">
      <dgm:prSet presAssocID="{9D62DF0A-067A-CC46-B18D-DC63C4937B06}" presName="node" presStyleLbl="node1" presStyleIdx="3" presStyleCnt="5">
        <dgm:presLayoutVars>
          <dgm:bulletEnabled val="1"/>
        </dgm:presLayoutVars>
      </dgm:prSet>
      <dgm:spPr/>
    </dgm:pt>
    <dgm:pt modelId="{87B5DF6B-FAD5-314C-AA25-5208A29D7F76}" type="pres">
      <dgm:prSet presAssocID="{9D62DF0A-067A-CC46-B18D-DC63C4937B06}" presName="spNode" presStyleCnt="0"/>
      <dgm:spPr/>
    </dgm:pt>
    <dgm:pt modelId="{D6E5B313-C249-964E-B4C6-7EB6689A3EFB}" type="pres">
      <dgm:prSet presAssocID="{7BA38F8B-18A9-8448-AF44-06F64B505E21}" presName="sibTrans" presStyleLbl="sibTrans1D1" presStyleIdx="4" presStyleCnt="6"/>
      <dgm:spPr/>
    </dgm:pt>
    <dgm:pt modelId="{98A95401-46E8-D84C-8B78-C3B39DDB2FDE}" type="pres">
      <dgm:prSet presAssocID="{368F6BF0-DFAC-5E40-884D-FCF0BA47A442}" presName="node" presStyleLbl="node1" presStyleIdx="4" presStyleCnt="5">
        <dgm:presLayoutVars>
          <dgm:bulletEnabled val="1"/>
        </dgm:presLayoutVars>
      </dgm:prSet>
      <dgm:spPr/>
    </dgm:pt>
    <dgm:pt modelId="{D8DABFE9-BE16-F64C-8AF7-4968B788B13E}" type="pres">
      <dgm:prSet presAssocID="{368F6BF0-DFAC-5E40-884D-FCF0BA47A442}" presName="spNode" presStyleCnt="0"/>
      <dgm:spPr/>
    </dgm:pt>
    <dgm:pt modelId="{6636D371-FF8C-C64E-82BD-3293BB3A5746}" type="pres">
      <dgm:prSet presAssocID="{187E3784-FAB1-A442-BC23-91CC709C7DC3}" presName="sibTrans" presStyleLbl="sibTrans1D1" presStyleIdx="5" presStyleCnt="6"/>
      <dgm:spPr/>
    </dgm:pt>
  </dgm:ptLst>
  <dgm:cxnLst>
    <dgm:cxn modelId="{1E4DBB04-C191-294F-9CB9-049626FA5834}" type="presOf" srcId="{0974E83F-165E-1F41-91A3-FDF2054E1CB8}" destId="{43221334-28A9-2E44-BE7A-C124BC965737}" srcOrd="0" destOrd="0" presId="urn:microsoft.com/office/officeart/2005/8/layout/cycle6"/>
    <dgm:cxn modelId="{FAE71E13-DFEC-3E4F-858E-AF091CE04121}" srcId="{4E31D763-C02E-7947-B83C-E552F0A47D80}" destId="{2772714E-973D-9A4B-A096-BBDBA9F1B306}" srcOrd="0" destOrd="0" parTransId="{9FF255BF-57AD-ED4C-A8E2-396B9483FA8D}" sibTransId="{E3BCC67D-96B6-E04D-8B71-D000C3E98B39}"/>
    <dgm:cxn modelId="{B823A51A-4935-B045-890F-176CA94170FB}" type="presOf" srcId="{9D62DF0A-067A-CC46-B18D-DC63C4937B06}" destId="{59934DFA-3F9E-EB47-A09A-239528D9706C}" srcOrd="0" destOrd="0" presId="urn:microsoft.com/office/officeart/2005/8/layout/cycle6"/>
    <dgm:cxn modelId="{7F538223-C0DD-2B4A-9BC8-18AE173498DB}" type="presOf" srcId="{2772714E-973D-9A4B-A096-BBDBA9F1B306}" destId="{EFE5385E-9ED6-4C41-87B6-041C603EF69F}" srcOrd="0" destOrd="0" presId="urn:microsoft.com/office/officeart/2005/8/layout/cycle6"/>
    <dgm:cxn modelId="{585BC230-734C-254F-8194-5B35E0962E8E}" srcId="{4E31D763-C02E-7947-B83C-E552F0A47D80}" destId="{368F6BF0-DFAC-5E40-884D-FCF0BA47A442}" srcOrd="5" destOrd="0" parTransId="{7A723EF3-F605-1947-9610-2A1D71C7B346}" sibTransId="{187E3784-FAB1-A442-BC23-91CC709C7DC3}"/>
    <dgm:cxn modelId="{5FD08A35-9DAE-1E4A-B660-9FEE8E32D023}" srcId="{4E31D763-C02E-7947-B83C-E552F0A47D80}" destId="{8D3E0E25-85A3-814F-9093-A3ED78E0B395}" srcOrd="2" destOrd="0" parTransId="{D0E1ED33-D0F6-D246-96E5-54208DB01216}" sibTransId="{57C98708-2E26-0443-AD4B-247781B28006}"/>
    <dgm:cxn modelId="{F9E27937-3945-964A-B042-EBEE251D2D48}" type="presOf" srcId="{9DBF6000-A91B-124F-954C-A8DA8F4613F4}" destId="{F7868934-1BDA-8540-8B48-9B6093A28EAB}" srcOrd="0" destOrd="0" presId="urn:microsoft.com/office/officeart/2005/8/layout/cycle6"/>
    <dgm:cxn modelId="{18A98169-5049-4A4D-82B0-2090A207A43A}" type="presOf" srcId="{8D3E0E25-85A3-814F-9093-A3ED78E0B395}" destId="{500CBAAD-84BE-1A40-87A6-3150284EA748}" srcOrd="0" destOrd="0" presId="urn:microsoft.com/office/officeart/2005/8/layout/cycle6"/>
    <dgm:cxn modelId="{954C3972-F940-9940-A726-B1AD61F70006}" type="presOf" srcId="{368F6BF0-DFAC-5E40-884D-FCF0BA47A442}" destId="{98A95401-46E8-D84C-8B78-C3B39DDB2FDE}" srcOrd="0" destOrd="0" presId="urn:microsoft.com/office/officeart/2005/8/layout/cycle6"/>
    <dgm:cxn modelId="{7B235590-7928-9D47-BC47-BFDFBFAE19A3}" type="presOf" srcId="{DCD92BC1-B375-A445-8B41-487464F6F0CF}" destId="{82640692-37EB-7944-A4C4-490287E35F3F}" srcOrd="0" destOrd="0" presId="urn:microsoft.com/office/officeart/2005/8/layout/cycle6"/>
    <dgm:cxn modelId="{3C188C90-4F0C-B242-A3AF-C8274C8AB30F}" type="presOf" srcId="{7BA38F8B-18A9-8448-AF44-06F64B505E21}" destId="{D6E5B313-C249-964E-B4C6-7EB6689A3EFB}" srcOrd="0" destOrd="0" presId="urn:microsoft.com/office/officeart/2005/8/layout/cycle6"/>
    <dgm:cxn modelId="{9B4A4A9D-B5D7-8F47-A61C-833778BB67F0}" type="presOf" srcId="{187E3784-FAB1-A442-BC23-91CC709C7DC3}" destId="{6636D371-FF8C-C64E-82BD-3293BB3A5746}" srcOrd="0" destOrd="0" presId="urn:microsoft.com/office/officeart/2005/8/layout/cycle6"/>
    <dgm:cxn modelId="{1A61CAA5-0FC9-794F-ABBE-3F8A0C3B05DA}" type="presOf" srcId="{4E31D763-C02E-7947-B83C-E552F0A47D80}" destId="{66115896-E633-CC4C-9377-C2C13051A61C}" srcOrd="0" destOrd="0" presId="urn:microsoft.com/office/officeart/2005/8/layout/cycle6"/>
    <dgm:cxn modelId="{E77E01AC-8DBC-954A-9499-35DEA9DD6E53}" srcId="{4E31D763-C02E-7947-B83C-E552F0A47D80}" destId="{9D62DF0A-067A-CC46-B18D-DC63C4937B06}" srcOrd="4" destOrd="0" parTransId="{DE956947-D4F9-5D4A-9C35-F54393245626}" sibTransId="{7BA38F8B-18A9-8448-AF44-06F64B505E21}"/>
    <dgm:cxn modelId="{FA7D8AC9-958C-2249-9278-9F687C4EFCB1}" srcId="{4E31D763-C02E-7947-B83C-E552F0A47D80}" destId="{DCD92BC1-B375-A445-8B41-487464F6F0CF}" srcOrd="3" destOrd="0" parTransId="{D1DC02D9-FC8B-CA4B-AB88-7F7548505B96}" sibTransId="{1109CB82-D968-5849-8F7B-17D203A9126D}"/>
    <dgm:cxn modelId="{5B5EA6D0-468B-F446-A87C-342A05D3FA94}" type="presOf" srcId="{E3BCC67D-96B6-E04D-8B71-D000C3E98B39}" destId="{2B5A2DFF-1927-2F49-94E0-8C661092F163}" srcOrd="0" destOrd="0" presId="urn:microsoft.com/office/officeart/2005/8/layout/cycle6"/>
    <dgm:cxn modelId="{995889D7-A03E-5B45-89FE-1D47C100DA2A}" type="presOf" srcId="{1109CB82-D968-5849-8F7B-17D203A9126D}" destId="{1089AFA7-2479-2F49-A7F6-EF33DE1C4BC0}" srcOrd="0" destOrd="0" presId="urn:microsoft.com/office/officeart/2005/8/layout/cycle6"/>
    <dgm:cxn modelId="{44F6C1D7-4279-1C4F-B68F-7D83712DCA5D}" srcId="{4E31D763-C02E-7947-B83C-E552F0A47D80}" destId="{9DBF6000-A91B-124F-954C-A8DA8F4613F4}" srcOrd="1" destOrd="0" parTransId="{C740A2E3-2CCD-ED45-861E-9CB537D83FBE}" sibTransId="{0974E83F-165E-1F41-91A3-FDF2054E1CB8}"/>
    <dgm:cxn modelId="{F5DDE6F6-1B5B-8547-B44F-A018B44D3149}" type="presOf" srcId="{57C98708-2E26-0443-AD4B-247781B28006}" destId="{06D82E4D-06FD-6244-B0BE-4F3F1CCC6EA2}" srcOrd="0" destOrd="0" presId="urn:microsoft.com/office/officeart/2005/8/layout/cycle6"/>
    <dgm:cxn modelId="{0455C990-4064-0849-A301-755F145B6895}" type="presParOf" srcId="{66115896-E633-CC4C-9377-C2C13051A61C}" destId="{EFE5385E-9ED6-4C41-87B6-041C603EF69F}" srcOrd="0" destOrd="0" presId="urn:microsoft.com/office/officeart/2005/8/layout/cycle6"/>
    <dgm:cxn modelId="{E8148B45-E586-CB44-87C6-EA1A88A3117F}" type="presParOf" srcId="{66115896-E633-CC4C-9377-C2C13051A61C}" destId="{60DD6ABD-55BF-834F-A1A7-8799D4EAF111}" srcOrd="1" destOrd="0" presId="urn:microsoft.com/office/officeart/2005/8/layout/cycle6"/>
    <dgm:cxn modelId="{14CD7915-6989-C146-878C-BBA85FA63753}" type="presParOf" srcId="{66115896-E633-CC4C-9377-C2C13051A61C}" destId="{2B5A2DFF-1927-2F49-94E0-8C661092F163}" srcOrd="2" destOrd="0" presId="urn:microsoft.com/office/officeart/2005/8/layout/cycle6"/>
    <dgm:cxn modelId="{E1FF672E-E756-0342-8743-F88D291DAC90}" type="presParOf" srcId="{66115896-E633-CC4C-9377-C2C13051A61C}" destId="{F7868934-1BDA-8540-8B48-9B6093A28EAB}" srcOrd="3" destOrd="0" presId="urn:microsoft.com/office/officeart/2005/8/layout/cycle6"/>
    <dgm:cxn modelId="{C26704DE-6D9C-2347-806D-B363BF96282A}" type="presParOf" srcId="{66115896-E633-CC4C-9377-C2C13051A61C}" destId="{4696D8F9-AB65-E54B-A7D6-B37036323B07}" srcOrd="4" destOrd="0" presId="urn:microsoft.com/office/officeart/2005/8/layout/cycle6"/>
    <dgm:cxn modelId="{A23325B3-2EFD-544C-A89D-FAB5567567BA}" type="presParOf" srcId="{66115896-E633-CC4C-9377-C2C13051A61C}" destId="{43221334-28A9-2E44-BE7A-C124BC965737}" srcOrd="5" destOrd="0" presId="urn:microsoft.com/office/officeart/2005/8/layout/cycle6"/>
    <dgm:cxn modelId="{9C92E277-E79E-D342-A4DD-14BCE585920E}" type="presParOf" srcId="{66115896-E633-CC4C-9377-C2C13051A61C}" destId="{500CBAAD-84BE-1A40-87A6-3150284EA748}" srcOrd="6" destOrd="0" presId="urn:microsoft.com/office/officeart/2005/8/layout/cycle6"/>
    <dgm:cxn modelId="{CD8DC3AD-3CF4-814A-89C5-83B39F5A2E5B}" type="presParOf" srcId="{66115896-E633-CC4C-9377-C2C13051A61C}" destId="{012F9C7F-2B4D-0043-975E-D2B7CA7901BF}" srcOrd="7" destOrd="0" presId="urn:microsoft.com/office/officeart/2005/8/layout/cycle6"/>
    <dgm:cxn modelId="{68B61C60-E12F-5448-9C05-C7D2C0EF03A8}" type="presParOf" srcId="{66115896-E633-CC4C-9377-C2C13051A61C}" destId="{06D82E4D-06FD-6244-B0BE-4F3F1CCC6EA2}" srcOrd="8" destOrd="0" presId="urn:microsoft.com/office/officeart/2005/8/layout/cycle6"/>
    <dgm:cxn modelId="{DADBC76C-7D29-314D-823C-83BCD051B931}" type="presParOf" srcId="{66115896-E633-CC4C-9377-C2C13051A61C}" destId="{82640692-37EB-7944-A4C4-490287E35F3F}" srcOrd="9" destOrd="0" presId="urn:microsoft.com/office/officeart/2005/8/layout/cycle6"/>
    <dgm:cxn modelId="{7238B3F9-48A4-B944-B342-AFCF698344F4}" type="presParOf" srcId="{66115896-E633-CC4C-9377-C2C13051A61C}" destId="{34CA336A-83B5-E248-9527-D8C8CB15F051}" srcOrd="10" destOrd="0" presId="urn:microsoft.com/office/officeart/2005/8/layout/cycle6"/>
    <dgm:cxn modelId="{151BE881-1B1B-124A-B545-7C0A30873B4D}" type="presParOf" srcId="{66115896-E633-CC4C-9377-C2C13051A61C}" destId="{1089AFA7-2479-2F49-A7F6-EF33DE1C4BC0}" srcOrd="11" destOrd="0" presId="urn:microsoft.com/office/officeart/2005/8/layout/cycle6"/>
    <dgm:cxn modelId="{4FF294B2-C9C7-B642-B25F-FE49168591BA}" type="presParOf" srcId="{66115896-E633-CC4C-9377-C2C13051A61C}" destId="{59934DFA-3F9E-EB47-A09A-239528D9706C}" srcOrd="12" destOrd="0" presId="urn:microsoft.com/office/officeart/2005/8/layout/cycle6"/>
    <dgm:cxn modelId="{EA514FD1-4DD2-2A4E-87CD-479512434503}" type="presParOf" srcId="{66115896-E633-CC4C-9377-C2C13051A61C}" destId="{87B5DF6B-FAD5-314C-AA25-5208A29D7F76}" srcOrd="13" destOrd="0" presId="urn:microsoft.com/office/officeart/2005/8/layout/cycle6"/>
    <dgm:cxn modelId="{72C2FA00-6DFD-844E-8CA1-F35DD80AD828}" type="presParOf" srcId="{66115896-E633-CC4C-9377-C2C13051A61C}" destId="{D6E5B313-C249-964E-B4C6-7EB6689A3EFB}" srcOrd="14" destOrd="0" presId="urn:microsoft.com/office/officeart/2005/8/layout/cycle6"/>
    <dgm:cxn modelId="{12713E72-FF92-584C-8B31-595ACAE97BAB}" type="presParOf" srcId="{66115896-E633-CC4C-9377-C2C13051A61C}" destId="{98A95401-46E8-D84C-8B78-C3B39DDB2FDE}" srcOrd="15" destOrd="0" presId="urn:microsoft.com/office/officeart/2005/8/layout/cycle6"/>
    <dgm:cxn modelId="{26BA8E06-CCC9-214D-87CF-740310C34614}" type="presParOf" srcId="{66115896-E633-CC4C-9377-C2C13051A61C}" destId="{D8DABFE9-BE16-F64C-8AF7-4968B788B13E}" srcOrd="16" destOrd="0" presId="urn:microsoft.com/office/officeart/2005/8/layout/cycle6"/>
    <dgm:cxn modelId="{C4D38B07-5EA8-424B-81F6-210800B5625D}" type="presParOf" srcId="{66115896-E633-CC4C-9377-C2C13051A61C}" destId="{6636D371-FF8C-C64E-82BD-3293BB3A5746}" srcOrd="17" destOrd="0" presId="urn:microsoft.com/office/officeart/2005/8/layout/cycle6"/>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02F27592-237D-BA46-8CF5-F7BBDAD35D82}" type="doc">
      <dgm:prSet loTypeId="urn:microsoft.com/office/officeart/2005/8/layout/hChevron3" loCatId="" qsTypeId="urn:microsoft.com/office/officeart/2005/8/quickstyle/simple1" qsCatId="simple" csTypeId="urn:microsoft.com/office/officeart/2005/8/colors/accent1_2" csCatId="accent1" phldr="1"/>
      <dgm:spPr/>
    </dgm:pt>
    <dgm:pt modelId="{EA776D02-3A85-2C46-84DA-A1C9A1D50DF4}">
      <dgm:prSet phldrT="[Texte]"/>
      <dgm:spPr>
        <a:solidFill>
          <a:schemeClr val="bg1"/>
        </a:solidFill>
        <a:ln>
          <a:solidFill>
            <a:srgbClr val="104B26"/>
          </a:solidFill>
        </a:ln>
      </dgm:spPr>
      <dgm:t>
        <a:bodyPr/>
        <a:lstStyle/>
        <a:p>
          <a:endParaRPr lang="fr-FR">
            <a:solidFill>
              <a:schemeClr val="accent1"/>
            </a:solidFill>
          </a:endParaRPr>
        </a:p>
      </dgm:t>
    </dgm:pt>
    <dgm:pt modelId="{6C797743-ADB8-C849-9862-37C4E9581B04}" type="parTrans" cxnId="{3EA5D414-1B13-8944-8864-99A3A41C349D}">
      <dgm:prSet/>
      <dgm:spPr/>
      <dgm:t>
        <a:bodyPr/>
        <a:lstStyle/>
        <a:p>
          <a:endParaRPr lang="fr-FR"/>
        </a:p>
      </dgm:t>
    </dgm:pt>
    <dgm:pt modelId="{B67FED5E-087A-1E4E-AC8F-7EB571B333FC}" type="sibTrans" cxnId="{3EA5D414-1B13-8944-8864-99A3A41C349D}">
      <dgm:prSet/>
      <dgm:spPr/>
      <dgm:t>
        <a:bodyPr/>
        <a:lstStyle/>
        <a:p>
          <a:endParaRPr lang="fr-FR"/>
        </a:p>
      </dgm:t>
    </dgm:pt>
    <dgm:pt modelId="{E935436C-9A47-154F-B0FF-6E57A813744E}">
      <dgm:prSet phldrT="[Texte]"/>
      <dgm:spPr>
        <a:solidFill>
          <a:schemeClr val="bg1"/>
        </a:solidFill>
        <a:ln>
          <a:solidFill>
            <a:srgbClr val="104B26"/>
          </a:solidFill>
        </a:ln>
      </dgm:spPr>
      <dgm:t>
        <a:bodyPr/>
        <a:lstStyle/>
        <a:p>
          <a:endParaRPr lang="fr-FR">
            <a:solidFill>
              <a:schemeClr val="accent1"/>
            </a:solidFill>
          </a:endParaRPr>
        </a:p>
      </dgm:t>
    </dgm:pt>
    <dgm:pt modelId="{E29AA256-CD76-1C44-932C-0C539F0E2A67}" type="parTrans" cxnId="{80FD0F9F-CAC0-1346-A1C9-2A1B63E5FB49}">
      <dgm:prSet/>
      <dgm:spPr/>
      <dgm:t>
        <a:bodyPr/>
        <a:lstStyle/>
        <a:p>
          <a:endParaRPr lang="fr-FR"/>
        </a:p>
      </dgm:t>
    </dgm:pt>
    <dgm:pt modelId="{3123C815-FA60-AF47-A1FB-F40BB240659B}" type="sibTrans" cxnId="{80FD0F9F-CAC0-1346-A1C9-2A1B63E5FB49}">
      <dgm:prSet/>
      <dgm:spPr/>
      <dgm:t>
        <a:bodyPr/>
        <a:lstStyle/>
        <a:p>
          <a:endParaRPr lang="fr-FR"/>
        </a:p>
      </dgm:t>
    </dgm:pt>
    <dgm:pt modelId="{665408A0-B3EB-AC46-A39A-63E3F32E8680}">
      <dgm:prSet phldrT="[Texte]"/>
      <dgm:spPr>
        <a:solidFill>
          <a:schemeClr val="bg1"/>
        </a:solidFill>
        <a:ln>
          <a:solidFill>
            <a:srgbClr val="104B26"/>
          </a:solidFill>
        </a:ln>
      </dgm:spPr>
      <dgm:t>
        <a:bodyPr/>
        <a:lstStyle/>
        <a:p>
          <a:endParaRPr lang="fr-FR">
            <a:solidFill>
              <a:schemeClr val="accent1"/>
            </a:solidFill>
          </a:endParaRPr>
        </a:p>
      </dgm:t>
    </dgm:pt>
    <dgm:pt modelId="{7DF183FA-B728-3E48-8000-BCE90C7BC4E1}" type="parTrans" cxnId="{A0D0A738-934A-5146-87F5-305E20D51BB2}">
      <dgm:prSet/>
      <dgm:spPr/>
      <dgm:t>
        <a:bodyPr/>
        <a:lstStyle/>
        <a:p>
          <a:endParaRPr lang="fr-FR"/>
        </a:p>
      </dgm:t>
    </dgm:pt>
    <dgm:pt modelId="{CAEACC25-6BFF-3449-8AA1-5107713EB41A}" type="sibTrans" cxnId="{A0D0A738-934A-5146-87F5-305E20D51BB2}">
      <dgm:prSet/>
      <dgm:spPr/>
      <dgm:t>
        <a:bodyPr/>
        <a:lstStyle/>
        <a:p>
          <a:endParaRPr lang="fr-FR"/>
        </a:p>
      </dgm:t>
    </dgm:pt>
    <dgm:pt modelId="{042A6647-B7CE-6543-BD77-7A68F354F73A}" type="pres">
      <dgm:prSet presAssocID="{02F27592-237D-BA46-8CF5-F7BBDAD35D82}" presName="Name0" presStyleCnt="0">
        <dgm:presLayoutVars>
          <dgm:dir/>
          <dgm:resizeHandles val="exact"/>
        </dgm:presLayoutVars>
      </dgm:prSet>
      <dgm:spPr/>
    </dgm:pt>
    <dgm:pt modelId="{24C000F8-8E39-1F4C-96E1-50B41E28ABF4}" type="pres">
      <dgm:prSet presAssocID="{EA776D02-3A85-2C46-84DA-A1C9A1D50DF4}" presName="parTxOnly" presStyleLbl="node1" presStyleIdx="0" presStyleCnt="3">
        <dgm:presLayoutVars>
          <dgm:bulletEnabled val="1"/>
        </dgm:presLayoutVars>
      </dgm:prSet>
      <dgm:spPr/>
    </dgm:pt>
    <dgm:pt modelId="{A31CF936-386A-1A45-B886-3A377B5D43D7}" type="pres">
      <dgm:prSet presAssocID="{B67FED5E-087A-1E4E-AC8F-7EB571B333FC}" presName="parSpace" presStyleCnt="0"/>
      <dgm:spPr/>
    </dgm:pt>
    <dgm:pt modelId="{2FC5D6DE-CF96-3B4E-9C6C-F9232D3E9B23}" type="pres">
      <dgm:prSet presAssocID="{E935436C-9A47-154F-B0FF-6E57A813744E}" presName="parTxOnly" presStyleLbl="node1" presStyleIdx="1" presStyleCnt="3">
        <dgm:presLayoutVars>
          <dgm:bulletEnabled val="1"/>
        </dgm:presLayoutVars>
      </dgm:prSet>
      <dgm:spPr/>
    </dgm:pt>
    <dgm:pt modelId="{DEF769F8-1757-244C-AE1B-467166286621}" type="pres">
      <dgm:prSet presAssocID="{3123C815-FA60-AF47-A1FB-F40BB240659B}" presName="parSpace" presStyleCnt="0"/>
      <dgm:spPr/>
    </dgm:pt>
    <dgm:pt modelId="{1F51B6B9-F343-8D47-B74F-F11847E54798}" type="pres">
      <dgm:prSet presAssocID="{665408A0-B3EB-AC46-A39A-63E3F32E8680}" presName="parTxOnly" presStyleLbl="node1" presStyleIdx="2" presStyleCnt="3" custScaleY="99987">
        <dgm:presLayoutVars>
          <dgm:bulletEnabled val="1"/>
        </dgm:presLayoutVars>
      </dgm:prSet>
      <dgm:spPr/>
    </dgm:pt>
  </dgm:ptLst>
  <dgm:cxnLst>
    <dgm:cxn modelId="{34F9AF03-931B-414A-9E34-641012C03616}" type="presOf" srcId="{665408A0-B3EB-AC46-A39A-63E3F32E8680}" destId="{1F51B6B9-F343-8D47-B74F-F11847E54798}" srcOrd="0" destOrd="0" presId="urn:microsoft.com/office/officeart/2005/8/layout/hChevron3"/>
    <dgm:cxn modelId="{3EA5D414-1B13-8944-8864-99A3A41C349D}" srcId="{02F27592-237D-BA46-8CF5-F7BBDAD35D82}" destId="{EA776D02-3A85-2C46-84DA-A1C9A1D50DF4}" srcOrd="0" destOrd="0" parTransId="{6C797743-ADB8-C849-9862-37C4E9581B04}" sibTransId="{B67FED5E-087A-1E4E-AC8F-7EB571B333FC}"/>
    <dgm:cxn modelId="{BC1BE717-E8BF-2C46-B129-CF3D63E03857}" type="presOf" srcId="{02F27592-237D-BA46-8CF5-F7BBDAD35D82}" destId="{042A6647-B7CE-6543-BD77-7A68F354F73A}" srcOrd="0" destOrd="0" presId="urn:microsoft.com/office/officeart/2005/8/layout/hChevron3"/>
    <dgm:cxn modelId="{27220018-D1F7-BB48-8502-CA4D0300B46E}" type="presOf" srcId="{EA776D02-3A85-2C46-84DA-A1C9A1D50DF4}" destId="{24C000F8-8E39-1F4C-96E1-50B41E28ABF4}" srcOrd="0" destOrd="0" presId="urn:microsoft.com/office/officeart/2005/8/layout/hChevron3"/>
    <dgm:cxn modelId="{A0D0A738-934A-5146-87F5-305E20D51BB2}" srcId="{02F27592-237D-BA46-8CF5-F7BBDAD35D82}" destId="{665408A0-B3EB-AC46-A39A-63E3F32E8680}" srcOrd="2" destOrd="0" parTransId="{7DF183FA-B728-3E48-8000-BCE90C7BC4E1}" sibTransId="{CAEACC25-6BFF-3449-8AA1-5107713EB41A}"/>
    <dgm:cxn modelId="{80FD0F9F-CAC0-1346-A1C9-2A1B63E5FB49}" srcId="{02F27592-237D-BA46-8CF5-F7BBDAD35D82}" destId="{E935436C-9A47-154F-B0FF-6E57A813744E}" srcOrd="1" destOrd="0" parTransId="{E29AA256-CD76-1C44-932C-0C539F0E2A67}" sibTransId="{3123C815-FA60-AF47-A1FB-F40BB240659B}"/>
    <dgm:cxn modelId="{A1B145B7-7F59-E44A-9943-8B9210FABCD4}" type="presOf" srcId="{E935436C-9A47-154F-B0FF-6E57A813744E}" destId="{2FC5D6DE-CF96-3B4E-9C6C-F9232D3E9B23}" srcOrd="0" destOrd="0" presId="urn:microsoft.com/office/officeart/2005/8/layout/hChevron3"/>
    <dgm:cxn modelId="{6F8FE0F8-7EB3-C144-9B9E-8BE48EB0B763}" type="presParOf" srcId="{042A6647-B7CE-6543-BD77-7A68F354F73A}" destId="{24C000F8-8E39-1F4C-96E1-50B41E28ABF4}" srcOrd="0" destOrd="0" presId="urn:microsoft.com/office/officeart/2005/8/layout/hChevron3"/>
    <dgm:cxn modelId="{D2636D46-BBFB-954C-A234-24C9C0DF4F9C}" type="presParOf" srcId="{042A6647-B7CE-6543-BD77-7A68F354F73A}" destId="{A31CF936-386A-1A45-B886-3A377B5D43D7}" srcOrd="1" destOrd="0" presId="urn:microsoft.com/office/officeart/2005/8/layout/hChevron3"/>
    <dgm:cxn modelId="{186E23BF-3238-6147-929D-D2D45305BB91}" type="presParOf" srcId="{042A6647-B7CE-6543-BD77-7A68F354F73A}" destId="{2FC5D6DE-CF96-3B4E-9C6C-F9232D3E9B23}" srcOrd="2" destOrd="0" presId="urn:microsoft.com/office/officeart/2005/8/layout/hChevron3"/>
    <dgm:cxn modelId="{3C0297AF-1573-E040-AAEB-2C0597DB8DE9}" type="presParOf" srcId="{042A6647-B7CE-6543-BD77-7A68F354F73A}" destId="{DEF769F8-1757-244C-AE1B-467166286621}" srcOrd="3" destOrd="0" presId="urn:microsoft.com/office/officeart/2005/8/layout/hChevron3"/>
    <dgm:cxn modelId="{DA7B9805-DCA7-2B47-A46F-E991E33A936F}" type="presParOf" srcId="{042A6647-B7CE-6543-BD77-7A68F354F73A}" destId="{1F51B6B9-F343-8D47-B74F-F11847E54798}" srcOrd="4" destOrd="0" presId="urn:microsoft.com/office/officeart/2005/8/layout/hChevron3"/>
  </dgm:cxnLst>
  <dgm:bg/>
  <dgm:whole/>
  <dgm:extLst>
    <a:ext uri="http://schemas.microsoft.com/office/drawing/2008/diagram">
      <dsp:dataModelExt xmlns:dsp="http://schemas.microsoft.com/office/drawing/2008/diagram" relId="rId33"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D699D5E-8B64-6342-8AD8-31BC7386E6E5}">
      <dsp:nvSpPr>
        <dsp:cNvPr id="0" name=""/>
        <dsp:cNvSpPr/>
      </dsp:nvSpPr>
      <dsp:spPr>
        <a:xfrm>
          <a:off x="412699" y="391"/>
          <a:ext cx="1031749" cy="619049"/>
        </a:xfrm>
        <a:prstGeom prst="rect">
          <a:avLst/>
        </a:prstGeom>
        <a:solidFill>
          <a:srgbClr val="104B26">
            <a:alpha val="90000"/>
          </a:srgbClr>
        </a:solidFill>
        <a:ln w="10795" cap="flat" cmpd="sng" algn="ctr">
          <a:solidFill>
            <a:schemeClr val="accent1">
              <a:shade val="50000"/>
            </a:schemeClr>
          </a:solidFill>
          <a:prstDash val="solid"/>
        </a:ln>
        <a:effectLst/>
      </dsp:spPr>
      <dsp:style>
        <a:lnRef idx="2">
          <a:schemeClr val="accent1">
            <a:shade val="50000"/>
          </a:schemeClr>
        </a:lnRef>
        <a:fillRef idx="1">
          <a:schemeClr val="accent1"/>
        </a:fillRef>
        <a:effectRef idx="0">
          <a:schemeClr val="accent1"/>
        </a:effectRef>
        <a:fontRef idx="minor">
          <a:schemeClr val="lt1"/>
        </a:fontRef>
      </dsp:style>
      <dsp:txBody>
        <a:bodyPr rot="0" spcFirstLastPara="0" vertOverflow="overflow" horzOverflow="overflow" vert="horz" wrap="square" lIns="68580" tIns="68580" rIns="68580" bIns="68580" numCol="1" spcCol="1270" rtlCol="0" fromWordArt="0" anchor="ctr" anchorCtr="0" forceAA="0" compatLnSpc="1">
          <a:prstTxWarp prst="textNoShape">
            <a:avLst/>
          </a:prstTxWarp>
          <a:noAutofit/>
        </a:bodyPr>
        <a:lstStyle/>
        <a:p>
          <a:pPr marL="0" lvl="0" indent="0" algn="ctr" defTabSz="800100" rtl="0" eaLnBrk="1" latinLnBrk="0" hangingPunct="1">
            <a:lnSpc>
              <a:spcPct val="90000"/>
            </a:lnSpc>
            <a:spcBef>
              <a:spcPct val="0"/>
            </a:spcBef>
            <a:spcAft>
              <a:spcPct val="35000"/>
            </a:spcAft>
            <a:buNone/>
          </a:pPr>
          <a:r>
            <a:rPr lang="fr-FR" sz="1800" kern="1200">
              <a:solidFill>
                <a:prstClr val="white"/>
              </a:solidFill>
              <a:latin typeface="Henderson BCG Sans"/>
              <a:ea typeface="+mn-ea"/>
              <a:cs typeface="+mn-cs"/>
            </a:rPr>
            <a:t>CEO</a:t>
          </a:r>
        </a:p>
      </dsp:txBody>
      <dsp:txXfrm>
        <a:off x="412699" y="391"/>
        <a:ext cx="1031749" cy="619049"/>
      </dsp:txXfrm>
    </dsp:sp>
    <dsp:sp modelId="{B4A9A31F-45F5-764B-94F7-E2C9F989AEF2}">
      <dsp:nvSpPr>
        <dsp:cNvPr id="0" name=""/>
        <dsp:cNvSpPr/>
      </dsp:nvSpPr>
      <dsp:spPr>
        <a:xfrm>
          <a:off x="1547624" y="391"/>
          <a:ext cx="1031749" cy="619049"/>
        </a:xfrm>
        <a:prstGeom prst="rect">
          <a:avLst/>
        </a:prstGeom>
        <a:solidFill>
          <a:srgbClr val="20BE60">
            <a:alpha val="90000"/>
          </a:srgbClr>
        </a:solidFill>
        <a:ln w="10795" cap="flat" cmpd="sng" algn="ctr">
          <a:solidFill>
            <a:prstClr val="white">
              <a:hueOff val="0"/>
              <a:satOff val="0"/>
              <a:lumOff val="0"/>
              <a:alphaOff val="0"/>
            </a:prstClr>
          </a:solidFill>
          <a:prstDash val="solid"/>
        </a:ln>
        <a:effectLst/>
      </dsp:spPr>
      <dsp:style>
        <a:lnRef idx="2">
          <a:schemeClr val="accent1">
            <a:shade val="50000"/>
          </a:schemeClr>
        </a:lnRef>
        <a:fillRef idx="1">
          <a:schemeClr val="accent1"/>
        </a:fillRef>
        <a:effectRef idx="0">
          <a:schemeClr val="accent1"/>
        </a:effectRef>
        <a:fontRef idx="minor">
          <a:schemeClr val="lt1"/>
        </a:fontRef>
      </dsp:style>
      <dsp:txBody>
        <a:bodyPr rot="0" spcFirstLastPara="0" vertOverflow="overflow" horzOverflow="overflow" vert="horz" wrap="square" lIns="68580" tIns="68580" rIns="68580" bIns="68580" numCol="1" spcCol="1270" rtlCol="0" fromWordArt="0" anchor="ctr" anchorCtr="0" forceAA="0" compatLnSpc="1">
          <a:prstTxWarp prst="textNoShape">
            <a:avLst/>
          </a:prstTxWarp>
          <a:noAutofit/>
        </a:bodyPr>
        <a:lstStyle/>
        <a:p>
          <a:pPr marL="0" lvl="0" indent="0" algn="ctr" defTabSz="800100">
            <a:lnSpc>
              <a:spcPct val="90000"/>
            </a:lnSpc>
            <a:spcBef>
              <a:spcPct val="0"/>
            </a:spcBef>
            <a:spcAft>
              <a:spcPct val="35000"/>
            </a:spcAft>
            <a:buNone/>
          </a:pPr>
          <a:r>
            <a:rPr lang="fr-FR" sz="1800" kern="1200">
              <a:solidFill>
                <a:prstClr val="white"/>
              </a:solidFill>
              <a:latin typeface="Henderson BCG Sans"/>
              <a:ea typeface="+mn-ea"/>
              <a:cs typeface="+mn-cs"/>
            </a:rPr>
            <a:t>Data Team</a:t>
          </a:r>
        </a:p>
      </dsp:txBody>
      <dsp:txXfrm>
        <a:off x="1547624" y="391"/>
        <a:ext cx="1031749" cy="619049"/>
      </dsp:txXfrm>
    </dsp:sp>
    <dsp:sp modelId="{D8763E68-EC8F-164B-8435-C8461261AC07}">
      <dsp:nvSpPr>
        <dsp:cNvPr id="0" name=""/>
        <dsp:cNvSpPr/>
      </dsp:nvSpPr>
      <dsp:spPr>
        <a:xfrm>
          <a:off x="2682549" y="391"/>
          <a:ext cx="1031749" cy="619049"/>
        </a:xfrm>
        <a:prstGeom prst="rect">
          <a:avLst/>
        </a:prstGeom>
        <a:solidFill>
          <a:srgbClr val="00F26D">
            <a:alpha val="90000"/>
          </a:srgb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fr-FR" sz="1700" kern="1200" err="1"/>
            <a:t>Strategy</a:t>
          </a:r>
          <a:endParaRPr lang="fr-FR" sz="1700" i="1" kern="1200"/>
        </a:p>
      </dsp:txBody>
      <dsp:txXfrm>
        <a:off x="2682549" y="391"/>
        <a:ext cx="1031749" cy="619049"/>
      </dsp:txXfrm>
    </dsp:sp>
    <dsp:sp modelId="{39C753AA-5DE6-8745-A878-44815AD5AAC1}">
      <dsp:nvSpPr>
        <dsp:cNvPr id="0" name=""/>
        <dsp:cNvSpPr/>
      </dsp:nvSpPr>
      <dsp:spPr>
        <a:xfrm>
          <a:off x="412699" y="722615"/>
          <a:ext cx="1031749" cy="619049"/>
        </a:xfrm>
        <a:prstGeom prst="rect">
          <a:avLst/>
        </a:prstGeom>
        <a:solidFill>
          <a:srgbClr val="104B26"/>
        </a:solidFill>
        <a:ln w="10795" cap="flat" cmpd="sng" algn="ctr">
          <a:solidFill>
            <a:schemeClr val="accent1">
              <a:shade val="50000"/>
            </a:schemeClr>
          </a:solidFill>
          <a:prstDash val="solid"/>
        </a:ln>
        <a:effectLst/>
      </dsp:spPr>
      <dsp:style>
        <a:lnRef idx="2">
          <a:schemeClr val="accent1">
            <a:shade val="50000"/>
          </a:schemeClr>
        </a:lnRef>
        <a:fillRef idx="1">
          <a:schemeClr val="accent1"/>
        </a:fillRef>
        <a:effectRef idx="0">
          <a:schemeClr val="accent1"/>
        </a:effectRef>
        <a:fontRef idx="minor">
          <a:schemeClr val="lt1"/>
        </a:fontRef>
      </dsp:style>
      <dsp:txBody>
        <a:bodyPr rot="0" spcFirstLastPara="0" vertOverflow="overflow" horzOverflow="overflow" vert="horz" wrap="square" lIns="68580" tIns="68580" rIns="68580" bIns="68580" numCol="1" spcCol="1270" rtlCol="0" fromWordArt="0" anchor="ctr" anchorCtr="0" forceAA="0" compatLnSpc="1">
          <a:prstTxWarp prst="textNoShape">
            <a:avLst/>
          </a:prstTxWarp>
          <a:noAutofit/>
        </a:bodyPr>
        <a:lstStyle/>
        <a:p>
          <a:pPr marL="0" lvl="0" indent="0" algn="ctr" defTabSz="800100">
            <a:lnSpc>
              <a:spcPct val="90000"/>
            </a:lnSpc>
            <a:spcBef>
              <a:spcPct val="0"/>
            </a:spcBef>
            <a:spcAft>
              <a:spcPct val="35000"/>
            </a:spcAft>
            <a:buNone/>
          </a:pPr>
          <a:r>
            <a:rPr lang="fr-FR" sz="1800" kern="1200" err="1">
              <a:solidFill>
                <a:prstClr val="white"/>
              </a:solidFill>
              <a:latin typeface="Henderson BCG Sans"/>
              <a:ea typeface="+mn-ea"/>
              <a:cs typeface="+mn-cs"/>
            </a:rPr>
            <a:t>Supply</a:t>
          </a:r>
          <a:r>
            <a:rPr lang="fr-FR" sz="1700" kern="1200"/>
            <a:t> Chain</a:t>
          </a:r>
          <a:endParaRPr lang="fr-FR" sz="1700" i="1" kern="1200"/>
        </a:p>
      </dsp:txBody>
      <dsp:txXfrm>
        <a:off x="412699" y="722615"/>
        <a:ext cx="1031749" cy="619049"/>
      </dsp:txXfrm>
    </dsp:sp>
    <dsp:sp modelId="{62AF65E2-402A-1E45-B315-9AD04A423A40}">
      <dsp:nvSpPr>
        <dsp:cNvPr id="0" name=""/>
        <dsp:cNvSpPr/>
      </dsp:nvSpPr>
      <dsp:spPr>
        <a:xfrm>
          <a:off x="1547624" y="722615"/>
          <a:ext cx="1031749" cy="619049"/>
        </a:xfrm>
        <a:prstGeom prst="rect">
          <a:avLst/>
        </a:prstGeom>
        <a:solidFill>
          <a:srgbClr val="20BE60">
            <a:alpha val="90000"/>
          </a:srgb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fr-FR" sz="1700" kern="1200"/>
            <a:t>Sales</a:t>
          </a:r>
          <a:endParaRPr lang="fr-FR" sz="1700" i="1" kern="1200"/>
        </a:p>
      </dsp:txBody>
      <dsp:txXfrm>
        <a:off x="1547624" y="722615"/>
        <a:ext cx="1031749" cy="619049"/>
      </dsp:txXfrm>
    </dsp:sp>
    <dsp:sp modelId="{92F48367-E6EA-7145-AE55-6FCF737268C9}">
      <dsp:nvSpPr>
        <dsp:cNvPr id="0" name=""/>
        <dsp:cNvSpPr/>
      </dsp:nvSpPr>
      <dsp:spPr>
        <a:xfrm>
          <a:off x="2682549" y="722615"/>
          <a:ext cx="1031749" cy="619049"/>
        </a:xfrm>
        <a:prstGeom prst="rect">
          <a:avLst/>
        </a:prstGeom>
        <a:solidFill>
          <a:srgbClr val="00F26D">
            <a:alpha val="90000"/>
          </a:srgb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fr-FR" sz="1700" i="0" kern="1200"/>
            <a:t>Marketing</a:t>
          </a:r>
        </a:p>
      </dsp:txBody>
      <dsp:txXfrm>
        <a:off x="2682549" y="722615"/>
        <a:ext cx="1031749" cy="61904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7168F34-4FFA-D44B-B72B-EF9734723A89}">
      <dsp:nvSpPr>
        <dsp:cNvPr id="0" name=""/>
        <dsp:cNvSpPr/>
      </dsp:nvSpPr>
      <dsp:spPr>
        <a:xfrm>
          <a:off x="2766969" y="1444581"/>
          <a:ext cx="450195" cy="1710189"/>
        </a:xfrm>
        <a:custGeom>
          <a:avLst/>
          <a:gdLst/>
          <a:ahLst/>
          <a:cxnLst/>
          <a:rect l="0" t="0" r="0" b="0"/>
          <a:pathLst>
            <a:path>
              <a:moveTo>
                <a:pt x="0" y="0"/>
              </a:moveTo>
              <a:lnTo>
                <a:pt x="0" y="1710189"/>
              </a:lnTo>
              <a:lnTo>
                <a:pt x="450195" y="1710189"/>
              </a:lnTo>
            </a:path>
          </a:pathLst>
        </a:custGeom>
        <a:noFill/>
        <a:ln w="10795"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4929D6C-2FF4-3749-B93A-6BB8D65DB5FE}">
      <dsp:nvSpPr>
        <dsp:cNvPr id="0" name=""/>
        <dsp:cNvSpPr/>
      </dsp:nvSpPr>
      <dsp:spPr>
        <a:xfrm>
          <a:off x="2766969" y="1444581"/>
          <a:ext cx="464138" cy="1025975"/>
        </a:xfrm>
        <a:custGeom>
          <a:avLst/>
          <a:gdLst/>
          <a:ahLst/>
          <a:cxnLst/>
          <a:rect l="0" t="0" r="0" b="0"/>
          <a:pathLst>
            <a:path>
              <a:moveTo>
                <a:pt x="0" y="0"/>
              </a:moveTo>
              <a:lnTo>
                <a:pt x="0" y="1025975"/>
              </a:lnTo>
              <a:lnTo>
                <a:pt x="464138" y="1025975"/>
              </a:lnTo>
            </a:path>
          </a:pathLst>
        </a:custGeom>
        <a:noFill/>
        <a:ln w="10795"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3993257-039C-814E-86BE-F2DECB0449C5}">
      <dsp:nvSpPr>
        <dsp:cNvPr id="0" name=""/>
        <dsp:cNvSpPr/>
      </dsp:nvSpPr>
      <dsp:spPr>
        <a:xfrm>
          <a:off x="2996723" y="608801"/>
          <a:ext cx="3072069" cy="339996"/>
        </a:xfrm>
        <a:custGeom>
          <a:avLst/>
          <a:gdLst/>
          <a:ahLst/>
          <a:cxnLst/>
          <a:rect l="0" t="0" r="0" b="0"/>
          <a:pathLst>
            <a:path>
              <a:moveTo>
                <a:pt x="3072069" y="0"/>
              </a:moveTo>
              <a:lnTo>
                <a:pt x="3072069" y="339996"/>
              </a:lnTo>
              <a:lnTo>
                <a:pt x="0" y="339996"/>
              </a:lnTo>
            </a:path>
          </a:pathLst>
        </a:cu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2D67BAF-D7E2-264D-BAFA-EC352EEB524C}">
      <dsp:nvSpPr>
        <dsp:cNvPr id="0" name=""/>
        <dsp:cNvSpPr/>
      </dsp:nvSpPr>
      <dsp:spPr>
        <a:xfrm>
          <a:off x="7552624" y="2380021"/>
          <a:ext cx="500282" cy="422893"/>
        </a:xfrm>
        <a:custGeom>
          <a:avLst/>
          <a:gdLst/>
          <a:ahLst/>
          <a:cxnLst/>
          <a:rect l="0" t="0" r="0" b="0"/>
          <a:pathLst>
            <a:path>
              <a:moveTo>
                <a:pt x="0" y="0"/>
              </a:moveTo>
              <a:lnTo>
                <a:pt x="0" y="422893"/>
              </a:lnTo>
              <a:lnTo>
                <a:pt x="500282" y="422893"/>
              </a:lnTo>
            </a:path>
          </a:pathLst>
        </a:custGeom>
        <a:noFill/>
        <a:ln w="10795"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CABD24BD-BB19-024B-BB4A-C05ED21703C2}">
      <dsp:nvSpPr>
        <dsp:cNvPr id="0" name=""/>
        <dsp:cNvSpPr/>
      </dsp:nvSpPr>
      <dsp:spPr>
        <a:xfrm>
          <a:off x="7552624" y="2380021"/>
          <a:ext cx="535579" cy="2025757"/>
        </a:xfrm>
        <a:custGeom>
          <a:avLst/>
          <a:gdLst/>
          <a:ahLst/>
          <a:cxnLst/>
          <a:rect l="0" t="0" r="0" b="0"/>
          <a:pathLst>
            <a:path>
              <a:moveTo>
                <a:pt x="0" y="0"/>
              </a:moveTo>
              <a:lnTo>
                <a:pt x="0" y="2025757"/>
              </a:lnTo>
              <a:lnTo>
                <a:pt x="535579" y="2025757"/>
              </a:lnTo>
            </a:path>
          </a:pathLst>
        </a:custGeom>
        <a:noFill/>
        <a:ln w="10795"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BED0DC1-3193-7A4B-B93B-2EE7B7470BB8}">
      <dsp:nvSpPr>
        <dsp:cNvPr id="0" name=""/>
        <dsp:cNvSpPr/>
      </dsp:nvSpPr>
      <dsp:spPr>
        <a:xfrm>
          <a:off x="7552624" y="2380021"/>
          <a:ext cx="535579" cy="1167205"/>
        </a:xfrm>
        <a:custGeom>
          <a:avLst/>
          <a:gdLst/>
          <a:ahLst/>
          <a:cxnLst/>
          <a:rect l="0" t="0" r="0" b="0"/>
          <a:pathLst>
            <a:path>
              <a:moveTo>
                <a:pt x="0" y="0"/>
              </a:moveTo>
              <a:lnTo>
                <a:pt x="0" y="1167205"/>
              </a:lnTo>
              <a:lnTo>
                <a:pt x="535579" y="1167205"/>
              </a:lnTo>
            </a:path>
          </a:pathLst>
        </a:custGeom>
        <a:noFill/>
        <a:ln w="10795"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34B6C41-73A7-3141-B1E4-333876E8CE54}">
      <dsp:nvSpPr>
        <dsp:cNvPr id="0" name=""/>
        <dsp:cNvSpPr/>
      </dsp:nvSpPr>
      <dsp:spPr>
        <a:xfrm>
          <a:off x="6068792" y="608801"/>
          <a:ext cx="1483832" cy="1166605"/>
        </a:xfrm>
        <a:custGeom>
          <a:avLst/>
          <a:gdLst/>
          <a:ahLst/>
          <a:cxnLst/>
          <a:rect l="0" t="0" r="0" b="0"/>
          <a:pathLst>
            <a:path>
              <a:moveTo>
                <a:pt x="0" y="0"/>
              </a:moveTo>
              <a:lnTo>
                <a:pt x="0" y="1039636"/>
              </a:lnTo>
              <a:lnTo>
                <a:pt x="1483832" y="1039636"/>
              </a:lnTo>
              <a:lnTo>
                <a:pt x="1483832" y="1166605"/>
              </a:lnTo>
            </a:path>
          </a:pathLst>
        </a:cu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8C4A437-C2BA-884D-8EB4-9B6CF8DB2D75}">
      <dsp:nvSpPr>
        <dsp:cNvPr id="0" name=""/>
        <dsp:cNvSpPr/>
      </dsp:nvSpPr>
      <dsp:spPr>
        <a:xfrm>
          <a:off x="6023072" y="608801"/>
          <a:ext cx="91440" cy="1166605"/>
        </a:xfrm>
        <a:custGeom>
          <a:avLst/>
          <a:gdLst/>
          <a:ahLst/>
          <a:cxnLst/>
          <a:rect l="0" t="0" r="0" b="0"/>
          <a:pathLst>
            <a:path>
              <a:moveTo>
                <a:pt x="45720" y="0"/>
              </a:moveTo>
              <a:lnTo>
                <a:pt x="45720" y="1039636"/>
              </a:lnTo>
              <a:lnTo>
                <a:pt x="72927" y="1039636"/>
              </a:lnTo>
              <a:lnTo>
                <a:pt x="72927" y="1166605"/>
              </a:lnTo>
            </a:path>
          </a:pathLst>
        </a:cu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EC3A007-B972-2D48-B89F-37819799B5BD}">
      <dsp:nvSpPr>
        <dsp:cNvPr id="0" name=""/>
        <dsp:cNvSpPr/>
      </dsp:nvSpPr>
      <dsp:spPr>
        <a:xfrm>
          <a:off x="4626279" y="608801"/>
          <a:ext cx="1442512" cy="1166605"/>
        </a:xfrm>
        <a:custGeom>
          <a:avLst/>
          <a:gdLst/>
          <a:ahLst/>
          <a:cxnLst/>
          <a:rect l="0" t="0" r="0" b="0"/>
          <a:pathLst>
            <a:path>
              <a:moveTo>
                <a:pt x="1442512" y="0"/>
              </a:moveTo>
              <a:lnTo>
                <a:pt x="1442512" y="1039636"/>
              </a:lnTo>
              <a:lnTo>
                <a:pt x="0" y="1039636"/>
              </a:lnTo>
              <a:lnTo>
                <a:pt x="0" y="1166605"/>
              </a:lnTo>
            </a:path>
          </a:pathLst>
        </a:cu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1F354D1-A656-2040-9962-57753BA0D32F}">
      <dsp:nvSpPr>
        <dsp:cNvPr id="0" name=""/>
        <dsp:cNvSpPr/>
      </dsp:nvSpPr>
      <dsp:spPr>
        <a:xfrm>
          <a:off x="5766485" y="4187"/>
          <a:ext cx="604614" cy="604614"/>
        </a:xfrm>
        <a:prstGeom prst="arc">
          <a:avLst>
            <a:gd name="adj1" fmla="val 13200000"/>
            <a:gd name="adj2" fmla="val 19200000"/>
          </a:avLst>
        </a:pr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E6039AD-BFFF-3542-9EE5-5A1197BC392F}">
      <dsp:nvSpPr>
        <dsp:cNvPr id="0" name=""/>
        <dsp:cNvSpPr/>
      </dsp:nvSpPr>
      <dsp:spPr>
        <a:xfrm>
          <a:off x="5766485" y="4187"/>
          <a:ext cx="604614" cy="604614"/>
        </a:xfrm>
        <a:prstGeom prst="arc">
          <a:avLst>
            <a:gd name="adj1" fmla="val 2400000"/>
            <a:gd name="adj2" fmla="val 8400000"/>
          </a:avLst>
        </a:pr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CE0A816C-48B0-854D-A133-94168AF51294}">
      <dsp:nvSpPr>
        <dsp:cNvPr id="0" name=""/>
        <dsp:cNvSpPr/>
      </dsp:nvSpPr>
      <dsp:spPr>
        <a:xfrm>
          <a:off x="5464178" y="113017"/>
          <a:ext cx="1209228" cy="386953"/>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fr-FR" sz="1000" kern="1200"/>
            <a:t>CEO</a:t>
          </a:r>
        </a:p>
      </dsp:txBody>
      <dsp:txXfrm>
        <a:off x="5464178" y="113017"/>
        <a:ext cx="1209228" cy="386953"/>
      </dsp:txXfrm>
    </dsp:sp>
    <dsp:sp modelId="{BE3EDBDB-4068-AD44-BCE3-E0CCFA782D65}">
      <dsp:nvSpPr>
        <dsp:cNvPr id="0" name=""/>
        <dsp:cNvSpPr/>
      </dsp:nvSpPr>
      <dsp:spPr>
        <a:xfrm>
          <a:off x="4323972" y="1775407"/>
          <a:ext cx="604614" cy="604614"/>
        </a:xfrm>
        <a:prstGeom prst="arc">
          <a:avLst>
            <a:gd name="adj1" fmla="val 13200000"/>
            <a:gd name="adj2" fmla="val 19200000"/>
          </a:avLst>
        </a:pr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D37E8DD-7288-CC40-95C4-F1303EEECC3D}">
      <dsp:nvSpPr>
        <dsp:cNvPr id="0" name=""/>
        <dsp:cNvSpPr/>
      </dsp:nvSpPr>
      <dsp:spPr>
        <a:xfrm>
          <a:off x="4323972" y="1775407"/>
          <a:ext cx="604614" cy="604614"/>
        </a:xfrm>
        <a:prstGeom prst="arc">
          <a:avLst>
            <a:gd name="adj1" fmla="val 2400000"/>
            <a:gd name="adj2" fmla="val 8400000"/>
          </a:avLst>
        </a:pr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39603A9-4207-7240-8F09-55285DCBCD80}">
      <dsp:nvSpPr>
        <dsp:cNvPr id="0" name=""/>
        <dsp:cNvSpPr/>
      </dsp:nvSpPr>
      <dsp:spPr>
        <a:xfrm>
          <a:off x="4021665" y="1884237"/>
          <a:ext cx="1209228" cy="386953"/>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fr-FR" sz="1000" kern="1200"/>
            <a:t>Head of </a:t>
          </a:r>
          <a:r>
            <a:rPr lang="fr-FR" sz="1000" kern="1200" err="1"/>
            <a:t>Strategy</a:t>
          </a:r>
          <a:r>
            <a:rPr lang="fr-FR" sz="1000" kern="1200"/>
            <a:t> – </a:t>
          </a:r>
          <a:r>
            <a:rPr lang="fr-FR" sz="1000" i="1" kern="1200"/>
            <a:t>Laurent Stacks</a:t>
          </a:r>
        </a:p>
      </dsp:txBody>
      <dsp:txXfrm>
        <a:off x="4021665" y="1884237"/>
        <a:ext cx="1209228" cy="386953"/>
      </dsp:txXfrm>
    </dsp:sp>
    <dsp:sp modelId="{60622461-AA2A-2846-999F-E080E763448D}">
      <dsp:nvSpPr>
        <dsp:cNvPr id="0" name=""/>
        <dsp:cNvSpPr/>
      </dsp:nvSpPr>
      <dsp:spPr>
        <a:xfrm>
          <a:off x="5793692" y="1775407"/>
          <a:ext cx="604614" cy="604614"/>
        </a:xfrm>
        <a:prstGeom prst="arc">
          <a:avLst>
            <a:gd name="adj1" fmla="val 13200000"/>
            <a:gd name="adj2" fmla="val 19200000"/>
          </a:avLst>
        </a:pr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7058610-08AC-6447-87BD-045C772D12AF}">
      <dsp:nvSpPr>
        <dsp:cNvPr id="0" name=""/>
        <dsp:cNvSpPr/>
      </dsp:nvSpPr>
      <dsp:spPr>
        <a:xfrm>
          <a:off x="5793692" y="1775407"/>
          <a:ext cx="604614" cy="604614"/>
        </a:xfrm>
        <a:prstGeom prst="arc">
          <a:avLst>
            <a:gd name="adj1" fmla="val 2400000"/>
            <a:gd name="adj2" fmla="val 8400000"/>
          </a:avLst>
        </a:pr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CE4D7E3A-9DA7-8A4A-9618-2DB648078BAE}">
      <dsp:nvSpPr>
        <dsp:cNvPr id="0" name=""/>
        <dsp:cNvSpPr/>
      </dsp:nvSpPr>
      <dsp:spPr>
        <a:xfrm>
          <a:off x="5491385" y="1884237"/>
          <a:ext cx="1209228" cy="386953"/>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fr-FR" sz="1000" kern="1200" err="1"/>
            <a:t>Supply</a:t>
          </a:r>
          <a:r>
            <a:rPr lang="fr-FR" sz="1000" kern="1200"/>
            <a:t> </a:t>
          </a:r>
          <a:r>
            <a:rPr lang="fr-FR" sz="1000" kern="1200" err="1"/>
            <a:t>Director</a:t>
          </a:r>
          <a:r>
            <a:rPr lang="fr-FR" sz="1000" kern="1200"/>
            <a:t> - </a:t>
          </a:r>
          <a:r>
            <a:rPr lang="fr-FR" sz="1000" i="1" kern="1200"/>
            <a:t>Tom Hammer</a:t>
          </a:r>
        </a:p>
      </dsp:txBody>
      <dsp:txXfrm>
        <a:off x="5491385" y="1884237"/>
        <a:ext cx="1209228" cy="386953"/>
      </dsp:txXfrm>
    </dsp:sp>
    <dsp:sp modelId="{059D912F-191E-C74F-A5B6-74B41C558BB6}">
      <dsp:nvSpPr>
        <dsp:cNvPr id="0" name=""/>
        <dsp:cNvSpPr/>
      </dsp:nvSpPr>
      <dsp:spPr>
        <a:xfrm>
          <a:off x="7250317" y="1775407"/>
          <a:ext cx="604614" cy="604614"/>
        </a:xfrm>
        <a:prstGeom prst="arc">
          <a:avLst>
            <a:gd name="adj1" fmla="val 13200000"/>
            <a:gd name="adj2" fmla="val 19200000"/>
          </a:avLst>
        </a:pr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38F2141-43EB-1342-8F52-93F783BAD1CB}">
      <dsp:nvSpPr>
        <dsp:cNvPr id="0" name=""/>
        <dsp:cNvSpPr/>
      </dsp:nvSpPr>
      <dsp:spPr>
        <a:xfrm>
          <a:off x="7250317" y="1775407"/>
          <a:ext cx="604614" cy="604614"/>
        </a:xfrm>
        <a:prstGeom prst="arc">
          <a:avLst>
            <a:gd name="adj1" fmla="val 2400000"/>
            <a:gd name="adj2" fmla="val 8400000"/>
          </a:avLst>
        </a:pr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4D195E9-A2A1-F043-97F7-B47E894012A3}">
      <dsp:nvSpPr>
        <dsp:cNvPr id="0" name=""/>
        <dsp:cNvSpPr/>
      </dsp:nvSpPr>
      <dsp:spPr>
        <a:xfrm>
          <a:off x="6948010" y="1884237"/>
          <a:ext cx="1209228" cy="386953"/>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fr-FR" sz="1000" kern="1200"/>
            <a:t>Head of Sales – </a:t>
          </a:r>
          <a:r>
            <a:rPr lang="fr-FR" sz="1000" i="1" kern="1200"/>
            <a:t>Daniel Alfredo</a:t>
          </a:r>
        </a:p>
      </dsp:txBody>
      <dsp:txXfrm>
        <a:off x="6948010" y="1884237"/>
        <a:ext cx="1209228" cy="386953"/>
      </dsp:txXfrm>
    </dsp:sp>
    <dsp:sp modelId="{239E4CE9-F1B3-064A-956E-00024CDFB85E}">
      <dsp:nvSpPr>
        <dsp:cNvPr id="0" name=""/>
        <dsp:cNvSpPr/>
      </dsp:nvSpPr>
      <dsp:spPr>
        <a:xfrm>
          <a:off x="8015650" y="3438396"/>
          <a:ext cx="604614" cy="604614"/>
        </a:xfrm>
        <a:prstGeom prst="arc">
          <a:avLst>
            <a:gd name="adj1" fmla="val 13200000"/>
            <a:gd name="adj2" fmla="val 19200000"/>
          </a:avLst>
        </a:pr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9D7A3FD-0F03-6640-9CE6-614B221EDDA9}">
      <dsp:nvSpPr>
        <dsp:cNvPr id="0" name=""/>
        <dsp:cNvSpPr/>
      </dsp:nvSpPr>
      <dsp:spPr>
        <a:xfrm>
          <a:off x="8015650" y="3438396"/>
          <a:ext cx="604614" cy="604614"/>
        </a:xfrm>
        <a:prstGeom prst="arc">
          <a:avLst>
            <a:gd name="adj1" fmla="val 2400000"/>
            <a:gd name="adj2" fmla="val 8400000"/>
          </a:avLst>
        </a:pr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F9AF30B-A2CC-8046-8557-F66CDB4616DB}">
      <dsp:nvSpPr>
        <dsp:cNvPr id="0" name=""/>
        <dsp:cNvSpPr/>
      </dsp:nvSpPr>
      <dsp:spPr>
        <a:xfrm>
          <a:off x="7713343" y="3547226"/>
          <a:ext cx="1209228" cy="386953"/>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fr-FR" sz="1000" i="1" kern="1200"/>
            <a:t>Commercial </a:t>
          </a:r>
          <a:r>
            <a:rPr lang="fr-FR" sz="1000" i="1" kern="1200" err="1"/>
            <a:t>Director</a:t>
          </a:r>
          <a:r>
            <a:rPr lang="fr-FR" sz="1000" i="1" kern="1200"/>
            <a:t> - Laure McKenzie</a:t>
          </a:r>
        </a:p>
      </dsp:txBody>
      <dsp:txXfrm>
        <a:off x="7713343" y="3547226"/>
        <a:ext cx="1209228" cy="386953"/>
      </dsp:txXfrm>
    </dsp:sp>
    <dsp:sp modelId="{B5C3D547-8EE1-1F45-ABC8-15FDC52FA85B}">
      <dsp:nvSpPr>
        <dsp:cNvPr id="0" name=""/>
        <dsp:cNvSpPr/>
      </dsp:nvSpPr>
      <dsp:spPr>
        <a:xfrm>
          <a:off x="8015650" y="4296948"/>
          <a:ext cx="604614" cy="604614"/>
        </a:xfrm>
        <a:prstGeom prst="arc">
          <a:avLst>
            <a:gd name="adj1" fmla="val 13200000"/>
            <a:gd name="adj2" fmla="val 19200000"/>
          </a:avLst>
        </a:pr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A5182EE-894E-5F4A-A892-D00BB333DFD8}">
      <dsp:nvSpPr>
        <dsp:cNvPr id="0" name=""/>
        <dsp:cNvSpPr/>
      </dsp:nvSpPr>
      <dsp:spPr>
        <a:xfrm>
          <a:off x="8015650" y="4296948"/>
          <a:ext cx="604614" cy="604614"/>
        </a:xfrm>
        <a:prstGeom prst="arc">
          <a:avLst>
            <a:gd name="adj1" fmla="val 2400000"/>
            <a:gd name="adj2" fmla="val 8400000"/>
          </a:avLst>
        </a:pr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C9FF72F-0085-BC48-BAC9-449C8B5A5736}">
      <dsp:nvSpPr>
        <dsp:cNvPr id="0" name=""/>
        <dsp:cNvSpPr/>
      </dsp:nvSpPr>
      <dsp:spPr>
        <a:xfrm>
          <a:off x="7713343" y="4405778"/>
          <a:ext cx="1209228" cy="386953"/>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fr-FR" sz="1000" kern="1200"/>
            <a:t>Key </a:t>
          </a:r>
          <a:r>
            <a:rPr lang="fr-FR" sz="1000" kern="1200" err="1"/>
            <a:t>Account</a:t>
          </a:r>
          <a:r>
            <a:rPr lang="fr-FR" sz="1000" kern="1200"/>
            <a:t> Manager </a:t>
          </a:r>
          <a:r>
            <a:rPr lang="fr-FR" sz="1000" i="1" kern="1200"/>
            <a:t>- Laura Hervé</a:t>
          </a:r>
        </a:p>
      </dsp:txBody>
      <dsp:txXfrm>
        <a:off x="7713343" y="4405778"/>
        <a:ext cx="1209228" cy="386953"/>
      </dsp:txXfrm>
    </dsp:sp>
    <dsp:sp modelId="{0487B565-26AA-4A4C-9098-2601BC3A3AE5}">
      <dsp:nvSpPr>
        <dsp:cNvPr id="0" name=""/>
        <dsp:cNvSpPr/>
      </dsp:nvSpPr>
      <dsp:spPr>
        <a:xfrm>
          <a:off x="7980352" y="2694084"/>
          <a:ext cx="604614" cy="604614"/>
        </a:xfrm>
        <a:prstGeom prst="arc">
          <a:avLst>
            <a:gd name="adj1" fmla="val 13200000"/>
            <a:gd name="adj2" fmla="val 19200000"/>
          </a:avLst>
        </a:pr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8DAE2CA-5F7F-D546-B240-2103C4CA8930}">
      <dsp:nvSpPr>
        <dsp:cNvPr id="0" name=""/>
        <dsp:cNvSpPr/>
      </dsp:nvSpPr>
      <dsp:spPr>
        <a:xfrm>
          <a:off x="7980352" y="2694084"/>
          <a:ext cx="604614" cy="604614"/>
        </a:xfrm>
        <a:prstGeom prst="arc">
          <a:avLst>
            <a:gd name="adj1" fmla="val 2400000"/>
            <a:gd name="adj2" fmla="val 8400000"/>
          </a:avLst>
        </a:pr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C7AAECD-3287-3347-85F8-8A0254EDEF09}">
      <dsp:nvSpPr>
        <dsp:cNvPr id="0" name=""/>
        <dsp:cNvSpPr/>
      </dsp:nvSpPr>
      <dsp:spPr>
        <a:xfrm>
          <a:off x="7678045" y="2802914"/>
          <a:ext cx="1209228" cy="386953"/>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fr-FR" sz="1000" kern="1200"/>
            <a:t>Sales Manager - </a:t>
          </a:r>
          <a:r>
            <a:rPr lang="fr-FR" sz="1000" i="1" kern="1200"/>
            <a:t>Henri Dubois</a:t>
          </a:r>
        </a:p>
      </dsp:txBody>
      <dsp:txXfrm>
        <a:off x="7678045" y="2802914"/>
        <a:ext cx="1209228" cy="386953"/>
      </dsp:txXfrm>
    </dsp:sp>
    <dsp:sp modelId="{A929F802-CB94-4D4A-B6D3-EA17F7B7182F}">
      <dsp:nvSpPr>
        <dsp:cNvPr id="0" name=""/>
        <dsp:cNvSpPr/>
      </dsp:nvSpPr>
      <dsp:spPr>
        <a:xfrm>
          <a:off x="2464662" y="839967"/>
          <a:ext cx="604614" cy="604614"/>
        </a:xfrm>
        <a:prstGeom prst="arc">
          <a:avLst>
            <a:gd name="adj1" fmla="val 13200000"/>
            <a:gd name="adj2" fmla="val 19200000"/>
          </a:avLst>
        </a:pr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6E55231-B618-114B-A3E4-204D741834AA}">
      <dsp:nvSpPr>
        <dsp:cNvPr id="0" name=""/>
        <dsp:cNvSpPr/>
      </dsp:nvSpPr>
      <dsp:spPr>
        <a:xfrm>
          <a:off x="2464662" y="839967"/>
          <a:ext cx="604614" cy="604614"/>
        </a:xfrm>
        <a:prstGeom prst="arc">
          <a:avLst>
            <a:gd name="adj1" fmla="val 2400000"/>
            <a:gd name="adj2" fmla="val 8400000"/>
          </a:avLst>
        </a:pr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92F6587-BC9D-B148-BD56-699A7DF9E014}">
      <dsp:nvSpPr>
        <dsp:cNvPr id="0" name=""/>
        <dsp:cNvSpPr/>
      </dsp:nvSpPr>
      <dsp:spPr>
        <a:xfrm>
          <a:off x="2162355" y="948797"/>
          <a:ext cx="1209228" cy="386953"/>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fr-FR" sz="1000" kern="1200"/>
            <a:t>CDO – </a:t>
          </a:r>
          <a:r>
            <a:rPr lang="fr-FR" sz="1000" i="1" kern="1200"/>
            <a:t>Charlotte </a:t>
          </a:r>
          <a:r>
            <a:rPr lang="fr-FR" sz="1000" i="1" kern="1200" err="1"/>
            <a:t>Davelle</a:t>
          </a:r>
          <a:endParaRPr lang="fr-FR" sz="1000" i="1" kern="1200"/>
        </a:p>
      </dsp:txBody>
      <dsp:txXfrm>
        <a:off x="2162355" y="948797"/>
        <a:ext cx="1209228" cy="386953"/>
      </dsp:txXfrm>
    </dsp:sp>
    <dsp:sp modelId="{479C4819-CA36-D340-86FC-DEB1D5B2FADA}">
      <dsp:nvSpPr>
        <dsp:cNvPr id="0" name=""/>
        <dsp:cNvSpPr/>
      </dsp:nvSpPr>
      <dsp:spPr>
        <a:xfrm>
          <a:off x="3158554" y="2361726"/>
          <a:ext cx="604614" cy="604614"/>
        </a:xfrm>
        <a:prstGeom prst="arc">
          <a:avLst>
            <a:gd name="adj1" fmla="val 13200000"/>
            <a:gd name="adj2" fmla="val 19200000"/>
          </a:avLst>
        </a:pr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A1D511F-1B5A-2F49-A53F-7613DCE3DF5C}">
      <dsp:nvSpPr>
        <dsp:cNvPr id="0" name=""/>
        <dsp:cNvSpPr/>
      </dsp:nvSpPr>
      <dsp:spPr>
        <a:xfrm>
          <a:off x="3158554" y="2361726"/>
          <a:ext cx="604614" cy="604614"/>
        </a:xfrm>
        <a:prstGeom prst="arc">
          <a:avLst>
            <a:gd name="adj1" fmla="val 2400000"/>
            <a:gd name="adj2" fmla="val 8400000"/>
          </a:avLst>
        </a:pr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C1A32D8-4372-F348-A22B-AF9C117DEDA9}">
      <dsp:nvSpPr>
        <dsp:cNvPr id="0" name=""/>
        <dsp:cNvSpPr/>
      </dsp:nvSpPr>
      <dsp:spPr>
        <a:xfrm>
          <a:off x="2856247" y="2470556"/>
          <a:ext cx="1209228" cy="386953"/>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fr-FR" sz="1000" kern="1200"/>
            <a:t>Data Manager - </a:t>
          </a:r>
          <a:r>
            <a:rPr lang="fr-FR" sz="1000" i="1" kern="1200"/>
            <a:t>Richard Martin</a:t>
          </a:r>
        </a:p>
      </dsp:txBody>
      <dsp:txXfrm>
        <a:off x="2856247" y="2470556"/>
        <a:ext cx="1209228" cy="386953"/>
      </dsp:txXfrm>
    </dsp:sp>
    <dsp:sp modelId="{24DEFF6E-515B-8C49-9709-5E29BD11D92C}">
      <dsp:nvSpPr>
        <dsp:cNvPr id="0" name=""/>
        <dsp:cNvSpPr/>
      </dsp:nvSpPr>
      <dsp:spPr>
        <a:xfrm>
          <a:off x="3144611" y="3045940"/>
          <a:ext cx="604614" cy="604614"/>
        </a:xfrm>
        <a:prstGeom prst="arc">
          <a:avLst>
            <a:gd name="adj1" fmla="val 13200000"/>
            <a:gd name="adj2" fmla="val 19200000"/>
          </a:avLst>
        </a:pr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EC65586-B054-B947-9FC7-CDC78B9456A8}">
      <dsp:nvSpPr>
        <dsp:cNvPr id="0" name=""/>
        <dsp:cNvSpPr/>
      </dsp:nvSpPr>
      <dsp:spPr>
        <a:xfrm>
          <a:off x="3144611" y="3045940"/>
          <a:ext cx="604614" cy="604614"/>
        </a:xfrm>
        <a:prstGeom prst="arc">
          <a:avLst>
            <a:gd name="adj1" fmla="val 2400000"/>
            <a:gd name="adj2" fmla="val 8400000"/>
          </a:avLst>
        </a:pr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FE2DB13-DF7C-964D-83A5-E0F2F9D88B03}">
      <dsp:nvSpPr>
        <dsp:cNvPr id="0" name=""/>
        <dsp:cNvSpPr/>
      </dsp:nvSpPr>
      <dsp:spPr>
        <a:xfrm>
          <a:off x="2842304" y="3154771"/>
          <a:ext cx="1209228" cy="386953"/>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fr-FR" sz="1000" kern="1200"/>
            <a:t>Data </a:t>
          </a:r>
          <a:r>
            <a:rPr lang="fr-FR" sz="1000" kern="1200" err="1"/>
            <a:t>Engineer</a:t>
          </a:r>
          <a:r>
            <a:rPr lang="fr-FR" sz="1000" kern="1200"/>
            <a:t> </a:t>
          </a:r>
          <a:r>
            <a:rPr lang="fr-FR" sz="1000" i="1" kern="1200"/>
            <a:t>- Julie Clément</a:t>
          </a:r>
        </a:p>
      </dsp:txBody>
      <dsp:txXfrm>
        <a:off x="2842304" y="3154771"/>
        <a:ext cx="1209228" cy="386953"/>
      </dsp:txXfrm>
    </dsp:sp>
    <dsp:sp modelId="{CF95BC30-298C-8D4C-A538-1540892E67FA}">
      <dsp:nvSpPr>
        <dsp:cNvPr id="0" name=""/>
        <dsp:cNvSpPr/>
      </dsp:nvSpPr>
      <dsp:spPr>
        <a:xfrm>
          <a:off x="7229651" y="4187"/>
          <a:ext cx="604614" cy="604614"/>
        </a:xfrm>
        <a:prstGeom prst="arc">
          <a:avLst>
            <a:gd name="adj1" fmla="val 13200000"/>
            <a:gd name="adj2" fmla="val 19200000"/>
          </a:avLst>
        </a:pr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D42C6AC-7388-6543-BE45-F5AF47DB1F62}">
      <dsp:nvSpPr>
        <dsp:cNvPr id="0" name=""/>
        <dsp:cNvSpPr/>
      </dsp:nvSpPr>
      <dsp:spPr>
        <a:xfrm>
          <a:off x="7229651" y="4187"/>
          <a:ext cx="604614" cy="604614"/>
        </a:xfrm>
        <a:prstGeom prst="arc">
          <a:avLst>
            <a:gd name="adj1" fmla="val 2400000"/>
            <a:gd name="adj2" fmla="val 8400000"/>
          </a:avLst>
        </a:pr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1A472CB-D92E-0B44-B308-709A962B8A93}">
      <dsp:nvSpPr>
        <dsp:cNvPr id="0" name=""/>
        <dsp:cNvSpPr/>
      </dsp:nvSpPr>
      <dsp:spPr>
        <a:xfrm>
          <a:off x="6927344" y="113017"/>
          <a:ext cx="1209228" cy="386953"/>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fr-FR" sz="1000" i="1" kern="1200"/>
            <a:t>Fernando Suarez</a:t>
          </a:r>
        </a:p>
      </dsp:txBody>
      <dsp:txXfrm>
        <a:off x="6927344" y="113017"/>
        <a:ext cx="1209228" cy="38695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87E96FD-9C9C-4EE7-BC51-1210363DD065}">
      <dsp:nvSpPr>
        <dsp:cNvPr id="0" name=""/>
        <dsp:cNvSpPr/>
      </dsp:nvSpPr>
      <dsp:spPr>
        <a:xfrm>
          <a:off x="5381387" y="5451921"/>
          <a:ext cx="288919" cy="275266"/>
        </a:xfrm>
        <a:custGeom>
          <a:avLst/>
          <a:gdLst/>
          <a:ahLst/>
          <a:cxnLst/>
          <a:rect l="0" t="0" r="0" b="0"/>
          <a:pathLst>
            <a:path>
              <a:moveTo>
                <a:pt x="0" y="0"/>
              </a:moveTo>
              <a:lnTo>
                <a:pt x="144459" y="0"/>
              </a:lnTo>
              <a:lnTo>
                <a:pt x="144459" y="275266"/>
              </a:lnTo>
              <a:lnTo>
                <a:pt x="288919" y="275266"/>
              </a:lnTo>
            </a:path>
          </a:pathLst>
        </a:custGeom>
        <a:noFill/>
        <a:ln w="28575" cap="flat" cmpd="sng" algn="ctr">
          <a:solidFill>
            <a:srgbClr val="20BE60"/>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fr-FR" sz="500" kern="1200"/>
        </a:p>
      </dsp:txBody>
      <dsp:txXfrm>
        <a:off x="5515870" y="5579578"/>
        <a:ext cx="19952" cy="19952"/>
      </dsp:txXfrm>
    </dsp:sp>
    <dsp:sp modelId="{AA607873-74D3-4444-8069-58AE1F8FA984}">
      <dsp:nvSpPr>
        <dsp:cNvPr id="0" name=""/>
        <dsp:cNvSpPr/>
      </dsp:nvSpPr>
      <dsp:spPr>
        <a:xfrm>
          <a:off x="5381387" y="5176655"/>
          <a:ext cx="288919" cy="275266"/>
        </a:xfrm>
        <a:custGeom>
          <a:avLst/>
          <a:gdLst/>
          <a:ahLst/>
          <a:cxnLst/>
          <a:rect l="0" t="0" r="0" b="0"/>
          <a:pathLst>
            <a:path>
              <a:moveTo>
                <a:pt x="0" y="275266"/>
              </a:moveTo>
              <a:lnTo>
                <a:pt x="144459" y="275266"/>
              </a:lnTo>
              <a:lnTo>
                <a:pt x="144459" y="0"/>
              </a:lnTo>
              <a:lnTo>
                <a:pt x="288919" y="0"/>
              </a:lnTo>
            </a:path>
          </a:pathLst>
        </a:custGeom>
        <a:noFill/>
        <a:ln w="28575" cap="flat" cmpd="sng" algn="ctr">
          <a:solidFill>
            <a:srgbClr val="20BE60"/>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fr-FR" sz="500" kern="1200"/>
        </a:p>
      </dsp:txBody>
      <dsp:txXfrm>
        <a:off x="5515870" y="5304311"/>
        <a:ext cx="19952" cy="19952"/>
      </dsp:txXfrm>
    </dsp:sp>
    <dsp:sp modelId="{69DB5296-E2F5-4BDE-9D96-C5772588CBA8}">
      <dsp:nvSpPr>
        <dsp:cNvPr id="0" name=""/>
        <dsp:cNvSpPr/>
      </dsp:nvSpPr>
      <dsp:spPr>
        <a:xfrm>
          <a:off x="3647867" y="4763755"/>
          <a:ext cx="288919" cy="688166"/>
        </a:xfrm>
        <a:custGeom>
          <a:avLst/>
          <a:gdLst/>
          <a:ahLst/>
          <a:cxnLst/>
          <a:rect l="0" t="0" r="0" b="0"/>
          <a:pathLst>
            <a:path>
              <a:moveTo>
                <a:pt x="0" y="0"/>
              </a:moveTo>
              <a:lnTo>
                <a:pt x="144459" y="0"/>
              </a:lnTo>
              <a:lnTo>
                <a:pt x="144459" y="688166"/>
              </a:lnTo>
              <a:lnTo>
                <a:pt x="288919" y="688166"/>
              </a:lnTo>
            </a:path>
          </a:pathLst>
        </a:custGeom>
        <a:noFill/>
        <a:ln w="28575" cap="flat" cmpd="sng" algn="ctr">
          <a:solidFill>
            <a:srgbClr val="20BE60"/>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fr-FR" sz="500" kern="1200"/>
        </a:p>
      </dsp:txBody>
      <dsp:txXfrm>
        <a:off x="3773668" y="5089179"/>
        <a:ext cx="37317" cy="37317"/>
      </dsp:txXfrm>
    </dsp:sp>
    <dsp:sp modelId="{C4E111FF-24BF-43AE-BC0F-685CBAA09FB0}">
      <dsp:nvSpPr>
        <dsp:cNvPr id="0" name=""/>
        <dsp:cNvSpPr/>
      </dsp:nvSpPr>
      <dsp:spPr>
        <a:xfrm>
          <a:off x="3647867" y="4626121"/>
          <a:ext cx="288919" cy="137633"/>
        </a:xfrm>
        <a:custGeom>
          <a:avLst/>
          <a:gdLst/>
          <a:ahLst/>
          <a:cxnLst/>
          <a:rect l="0" t="0" r="0" b="0"/>
          <a:pathLst>
            <a:path>
              <a:moveTo>
                <a:pt x="0" y="137633"/>
              </a:moveTo>
              <a:lnTo>
                <a:pt x="144459" y="137633"/>
              </a:lnTo>
              <a:lnTo>
                <a:pt x="144459" y="0"/>
              </a:lnTo>
              <a:lnTo>
                <a:pt x="288919" y="0"/>
              </a:lnTo>
            </a:path>
          </a:pathLst>
        </a:custGeom>
        <a:noFill/>
        <a:ln w="10795"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fr-FR" sz="500" kern="1200"/>
        </a:p>
      </dsp:txBody>
      <dsp:txXfrm>
        <a:off x="3784326" y="4686937"/>
        <a:ext cx="16001" cy="16001"/>
      </dsp:txXfrm>
    </dsp:sp>
    <dsp:sp modelId="{B7DBEB27-00C5-4768-9AD3-4ADDFF65B774}">
      <dsp:nvSpPr>
        <dsp:cNvPr id="0" name=""/>
        <dsp:cNvSpPr/>
      </dsp:nvSpPr>
      <dsp:spPr>
        <a:xfrm>
          <a:off x="5381387" y="4075588"/>
          <a:ext cx="288919" cy="550533"/>
        </a:xfrm>
        <a:custGeom>
          <a:avLst/>
          <a:gdLst/>
          <a:ahLst/>
          <a:cxnLst/>
          <a:rect l="0" t="0" r="0" b="0"/>
          <a:pathLst>
            <a:path>
              <a:moveTo>
                <a:pt x="0" y="0"/>
              </a:moveTo>
              <a:lnTo>
                <a:pt x="144459" y="0"/>
              </a:lnTo>
              <a:lnTo>
                <a:pt x="144459" y="550533"/>
              </a:lnTo>
              <a:lnTo>
                <a:pt x="288919" y="550533"/>
              </a:lnTo>
            </a:path>
          </a:pathLst>
        </a:custGeom>
        <a:noFill/>
        <a:ln w="28575" cap="flat" cmpd="sng" algn="ctr">
          <a:solidFill>
            <a:srgbClr val="20BE60"/>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fr-FR" sz="500" kern="1200"/>
        </a:p>
      </dsp:txBody>
      <dsp:txXfrm>
        <a:off x="5510303" y="4335311"/>
        <a:ext cx="31087" cy="31087"/>
      </dsp:txXfrm>
    </dsp:sp>
    <dsp:sp modelId="{8DCE28F6-D7F2-42DE-8448-BC44AEBE3F36}">
      <dsp:nvSpPr>
        <dsp:cNvPr id="0" name=""/>
        <dsp:cNvSpPr/>
      </dsp:nvSpPr>
      <dsp:spPr>
        <a:xfrm>
          <a:off x="5381387" y="4029868"/>
          <a:ext cx="288919" cy="91440"/>
        </a:xfrm>
        <a:custGeom>
          <a:avLst/>
          <a:gdLst/>
          <a:ahLst/>
          <a:cxnLst/>
          <a:rect l="0" t="0" r="0" b="0"/>
          <a:pathLst>
            <a:path>
              <a:moveTo>
                <a:pt x="0" y="45720"/>
              </a:moveTo>
              <a:lnTo>
                <a:pt x="288919" y="45720"/>
              </a:lnTo>
            </a:path>
          </a:pathLst>
        </a:custGeom>
        <a:noFill/>
        <a:ln w="28575" cap="flat" cmpd="sng" algn="ctr">
          <a:solidFill>
            <a:srgbClr val="20BE60"/>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fr-FR" sz="500" kern="1200"/>
        </a:p>
      </dsp:txBody>
      <dsp:txXfrm>
        <a:off x="5518624" y="4068365"/>
        <a:ext cx="14445" cy="14445"/>
      </dsp:txXfrm>
    </dsp:sp>
    <dsp:sp modelId="{FEEAE6F2-C959-45AD-BA77-01AA1893490B}">
      <dsp:nvSpPr>
        <dsp:cNvPr id="0" name=""/>
        <dsp:cNvSpPr/>
      </dsp:nvSpPr>
      <dsp:spPr>
        <a:xfrm>
          <a:off x="5381387" y="3525054"/>
          <a:ext cx="288919" cy="550533"/>
        </a:xfrm>
        <a:custGeom>
          <a:avLst/>
          <a:gdLst/>
          <a:ahLst/>
          <a:cxnLst/>
          <a:rect l="0" t="0" r="0" b="0"/>
          <a:pathLst>
            <a:path>
              <a:moveTo>
                <a:pt x="0" y="550533"/>
              </a:moveTo>
              <a:lnTo>
                <a:pt x="144459" y="550533"/>
              </a:lnTo>
              <a:lnTo>
                <a:pt x="144459" y="0"/>
              </a:lnTo>
              <a:lnTo>
                <a:pt x="288919" y="0"/>
              </a:lnTo>
            </a:path>
          </a:pathLst>
        </a:custGeom>
        <a:noFill/>
        <a:ln w="28575" cap="flat" cmpd="sng" algn="ctr">
          <a:solidFill>
            <a:srgbClr val="20BE60"/>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fr-FR" sz="500" kern="1200"/>
        </a:p>
      </dsp:txBody>
      <dsp:txXfrm>
        <a:off x="5510303" y="3784778"/>
        <a:ext cx="31087" cy="31087"/>
      </dsp:txXfrm>
    </dsp:sp>
    <dsp:sp modelId="{7D62406E-0406-432D-9E09-1B0D3D3F1715}">
      <dsp:nvSpPr>
        <dsp:cNvPr id="0" name=""/>
        <dsp:cNvSpPr/>
      </dsp:nvSpPr>
      <dsp:spPr>
        <a:xfrm>
          <a:off x="3647867" y="4075588"/>
          <a:ext cx="288919" cy="688166"/>
        </a:xfrm>
        <a:custGeom>
          <a:avLst/>
          <a:gdLst/>
          <a:ahLst/>
          <a:cxnLst/>
          <a:rect l="0" t="0" r="0" b="0"/>
          <a:pathLst>
            <a:path>
              <a:moveTo>
                <a:pt x="0" y="688166"/>
              </a:moveTo>
              <a:lnTo>
                <a:pt x="144459" y="688166"/>
              </a:lnTo>
              <a:lnTo>
                <a:pt x="144459" y="0"/>
              </a:lnTo>
              <a:lnTo>
                <a:pt x="288919" y="0"/>
              </a:lnTo>
            </a:path>
          </a:pathLst>
        </a:custGeom>
        <a:noFill/>
        <a:ln w="28575" cap="flat" cmpd="sng" algn="ctr">
          <a:solidFill>
            <a:srgbClr val="20BE60"/>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fr-FR" sz="500" kern="1200"/>
        </a:p>
      </dsp:txBody>
      <dsp:txXfrm>
        <a:off x="3773668" y="4401012"/>
        <a:ext cx="37317" cy="37317"/>
      </dsp:txXfrm>
    </dsp:sp>
    <dsp:sp modelId="{47C2FD09-08C7-464E-BE78-08EA746271E8}">
      <dsp:nvSpPr>
        <dsp:cNvPr id="0" name=""/>
        <dsp:cNvSpPr/>
      </dsp:nvSpPr>
      <dsp:spPr>
        <a:xfrm>
          <a:off x="1914348" y="3180971"/>
          <a:ext cx="288919" cy="1582783"/>
        </a:xfrm>
        <a:custGeom>
          <a:avLst/>
          <a:gdLst/>
          <a:ahLst/>
          <a:cxnLst/>
          <a:rect l="0" t="0" r="0" b="0"/>
          <a:pathLst>
            <a:path>
              <a:moveTo>
                <a:pt x="0" y="0"/>
              </a:moveTo>
              <a:lnTo>
                <a:pt x="144459" y="0"/>
              </a:lnTo>
              <a:lnTo>
                <a:pt x="144459" y="1582783"/>
              </a:lnTo>
              <a:lnTo>
                <a:pt x="288919" y="1582783"/>
              </a:lnTo>
            </a:path>
          </a:pathLst>
        </a:custGeom>
        <a:noFill/>
        <a:ln w="28575" cap="flat" cmpd="sng" algn="ctr">
          <a:solidFill>
            <a:srgbClr val="20BE60"/>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fr-FR" sz="500" kern="1200"/>
        </a:p>
      </dsp:txBody>
      <dsp:txXfrm>
        <a:off x="2018584" y="3932139"/>
        <a:ext cx="80446" cy="80446"/>
      </dsp:txXfrm>
    </dsp:sp>
    <dsp:sp modelId="{9B8B0943-9ECE-46E6-AE46-89DA301E591B}">
      <dsp:nvSpPr>
        <dsp:cNvPr id="0" name=""/>
        <dsp:cNvSpPr/>
      </dsp:nvSpPr>
      <dsp:spPr>
        <a:xfrm>
          <a:off x="5381387" y="2699254"/>
          <a:ext cx="288919" cy="275266"/>
        </a:xfrm>
        <a:custGeom>
          <a:avLst/>
          <a:gdLst/>
          <a:ahLst/>
          <a:cxnLst/>
          <a:rect l="0" t="0" r="0" b="0"/>
          <a:pathLst>
            <a:path>
              <a:moveTo>
                <a:pt x="0" y="0"/>
              </a:moveTo>
              <a:lnTo>
                <a:pt x="144459" y="0"/>
              </a:lnTo>
              <a:lnTo>
                <a:pt x="144459" y="275266"/>
              </a:lnTo>
              <a:lnTo>
                <a:pt x="288919" y="275266"/>
              </a:lnTo>
            </a:path>
          </a:pathLst>
        </a:custGeom>
        <a:noFill/>
        <a:ln w="28575" cap="flat" cmpd="sng" algn="ctr">
          <a:solidFill>
            <a:srgbClr val="20BE60"/>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fr-FR" sz="500" kern="1200"/>
        </a:p>
      </dsp:txBody>
      <dsp:txXfrm>
        <a:off x="5515870" y="2826911"/>
        <a:ext cx="19952" cy="19952"/>
      </dsp:txXfrm>
    </dsp:sp>
    <dsp:sp modelId="{71F64883-4EEA-4F02-8B75-1AAB5759E43B}">
      <dsp:nvSpPr>
        <dsp:cNvPr id="0" name=""/>
        <dsp:cNvSpPr/>
      </dsp:nvSpPr>
      <dsp:spPr>
        <a:xfrm>
          <a:off x="5381387" y="2423988"/>
          <a:ext cx="288919" cy="275266"/>
        </a:xfrm>
        <a:custGeom>
          <a:avLst/>
          <a:gdLst/>
          <a:ahLst/>
          <a:cxnLst/>
          <a:rect l="0" t="0" r="0" b="0"/>
          <a:pathLst>
            <a:path>
              <a:moveTo>
                <a:pt x="0" y="275266"/>
              </a:moveTo>
              <a:lnTo>
                <a:pt x="144459" y="275266"/>
              </a:lnTo>
              <a:lnTo>
                <a:pt x="144459" y="0"/>
              </a:lnTo>
              <a:lnTo>
                <a:pt x="288919" y="0"/>
              </a:lnTo>
            </a:path>
          </a:pathLst>
        </a:custGeom>
        <a:noFill/>
        <a:ln w="28575" cap="flat" cmpd="sng" algn="ctr">
          <a:solidFill>
            <a:srgbClr val="20BE60"/>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fr-FR" sz="500" kern="1200"/>
        </a:p>
      </dsp:txBody>
      <dsp:txXfrm>
        <a:off x="5515870" y="2551645"/>
        <a:ext cx="19952" cy="19952"/>
      </dsp:txXfrm>
    </dsp:sp>
    <dsp:sp modelId="{EA4E9BEE-6B57-431A-A227-3CA967A1E97B}">
      <dsp:nvSpPr>
        <dsp:cNvPr id="0" name=""/>
        <dsp:cNvSpPr/>
      </dsp:nvSpPr>
      <dsp:spPr>
        <a:xfrm>
          <a:off x="3647867" y="1598188"/>
          <a:ext cx="288919" cy="1101066"/>
        </a:xfrm>
        <a:custGeom>
          <a:avLst/>
          <a:gdLst/>
          <a:ahLst/>
          <a:cxnLst/>
          <a:rect l="0" t="0" r="0" b="0"/>
          <a:pathLst>
            <a:path>
              <a:moveTo>
                <a:pt x="0" y="0"/>
              </a:moveTo>
              <a:lnTo>
                <a:pt x="144459" y="0"/>
              </a:lnTo>
              <a:lnTo>
                <a:pt x="144459" y="1101066"/>
              </a:lnTo>
              <a:lnTo>
                <a:pt x="288919" y="1101066"/>
              </a:lnTo>
            </a:path>
          </a:pathLst>
        </a:custGeom>
        <a:noFill/>
        <a:ln w="28575" cap="flat" cmpd="sng" algn="ctr">
          <a:solidFill>
            <a:srgbClr val="20BE60"/>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fr-FR" sz="500" kern="1200"/>
        </a:p>
      </dsp:txBody>
      <dsp:txXfrm>
        <a:off x="3763868" y="2120262"/>
        <a:ext cx="56917" cy="56917"/>
      </dsp:txXfrm>
    </dsp:sp>
    <dsp:sp modelId="{2C9608EA-0B69-46DE-9C6D-B5CBB15267FC}">
      <dsp:nvSpPr>
        <dsp:cNvPr id="0" name=""/>
        <dsp:cNvSpPr/>
      </dsp:nvSpPr>
      <dsp:spPr>
        <a:xfrm>
          <a:off x="5381387" y="1598188"/>
          <a:ext cx="288919" cy="275266"/>
        </a:xfrm>
        <a:custGeom>
          <a:avLst/>
          <a:gdLst/>
          <a:ahLst/>
          <a:cxnLst/>
          <a:rect l="0" t="0" r="0" b="0"/>
          <a:pathLst>
            <a:path>
              <a:moveTo>
                <a:pt x="0" y="0"/>
              </a:moveTo>
              <a:lnTo>
                <a:pt x="144459" y="0"/>
              </a:lnTo>
              <a:lnTo>
                <a:pt x="144459" y="275266"/>
              </a:lnTo>
              <a:lnTo>
                <a:pt x="288919" y="275266"/>
              </a:lnTo>
            </a:path>
          </a:pathLst>
        </a:custGeom>
        <a:noFill/>
        <a:ln w="28575" cap="flat" cmpd="sng" algn="ctr">
          <a:solidFill>
            <a:srgbClr val="20BE60"/>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fr-FR" sz="500" kern="1200"/>
        </a:p>
      </dsp:txBody>
      <dsp:txXfrm>
        <a:off x="5515870" y="1725844"/>
        <a:ext cx="19952" cy="19952"/>
      </dsp:txXfrm>
    </dsp:sp>
    <dsp:sp modelId="{0339918E-277B-47A0-A338-26A5BD1A0649}">
      <dsp:nvSpPr>
        <dsp:cNvPr id="0" name=""/>
        <dsp:cNvSpPr/>
      </dsp:nvSpPr>
      <dsp:spPr>
        <a:xfrm>
          <a:off x="5381387" y="1322921"/>
          <a:ext cx="288919" cy="275266"/>
        </a:xfrm>
        <a:custGeom>
          <a:avLst/>
          <a:gdLst/>
          <a:ahLst/>
          <a:cxnLst/>
          <a:rect l="0" t="0" r="0" b="0"/>
          <a:pathLst>
            <a:path>
              <a:moveTo>
                <a:pt x="0" y="275266"/>
              </a:moveTo>
              <a:lnTo>
                <a:pt x="144459" y="275266"/>
              </a:lnTo>
              <a:lnTo>
                <a:pt x="144459" y="0"/>
              </a:lnTo>
              <a:lnTo>
                <a:pt x="288919" y="0"/>
              </a:lnTo>
            </a:path>
          </a:pathLst>
        </a:custGeom>
        <a:noFill/>
        <a:ln w="28575" cap="flat" cmpd="sng" algn="ctr">
          <a:solidFill>
            <a:srgbClr val="20BE60"/>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fr-FR" sz="500" kern="1200"/>
        </a:p>
      </dsp:txBody>
      <dsp:txXfrm>
        <a:off x="5515870" y="1450578"/>
        <a:ext cx="19952" cy="19952"/>
      </dsp:txXfrm>
    </dsp:sp>
    <dsp:sp modelId="{9E1E2380-64DD-4D9F-8069-E2FA3292D5B7}">
      <dsp:nvSpPr>
        <dsp:cNvPr id="0" name=""/>
        <dsp:cNvSpPr/>
      </dsp:nvSpPr>
      <dsp:spPr>
        <a:xfrm>
          <a:off x="3647867" y="1552468"/>
          <a:ext cx="288919" cy="91440"/>
        </a:xfrm>
        <a:custGeom>
          <a:avLst/>
          <a:gdLst/>
          <a:ahLst/>
          <a:cxnLst/>
          <a:rect l="0" t="0" r="0" b="0"/>
          <a:pathLst>
            <a:path>
              <a:moveTo>
                <a:pt x="0" y="45720"/>
              </a:moveTo>
              <a:lnTo>
                <a:pt x="288919" y="45720"/>
              </a:lnTo>
            </a:path>
          </a:pathLst>
        </a:custGeom>
        <a:noFill/>
        <a:ln w="28575" cap="flat" cmpd="sng" algn="ctr">
          <a:solidFill>
            <a:srgbClr val="20BE60"/>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fr-FR" sz="500" kern="1200"/>
        </a:p>
      </dsp:txBody>
      <dsp:txXfrm>
        <a:off x="3785104" y="1590965"/>
        <a:ext cx="14445" cy="14445"/>
      </dsp:txXfrm>
    </dsp:sp>
    <dsp:sp modelId="{D040EF5F-B3EE-4D51-8463-38888D924BCB}">
      <dsp:nvSpPr>
        <dsp:cNvPr id="0" name=""/>
        <dsp:cNvSpPr/>
      </dsp:nvSpPr>
      <dsp:spPr>
        <a:xfrm>
          <a:off x="5381387" y="497121"/>
          <a:ext cx="288919" cy="275266"/>
        </a:xfrm>
        <a:custGeom>
          <a:avLst/>
          <a:gdLst/>
          <a:ahLst/>
          <a:cxnLst/>
          <a:rect l="0" t="0" r="0" b="0"/>
          <a:pathLst>
            <a:path>
              <a:moveTo>
                <a:pt x="0" y="0"/>
              </a:moveTo>
              <a:lnTo>
                <a:pt x="144459" y="0"/>
              </a:lnTo>
              <a:lnTo>
                <a:pt x="144459" y="275266"/>
              </a:lnTo>
              <a:lnTo>
                <a:pt x="288919" y="275266"/>
              </a:lnTo>
            </a:path>
          </a:pathLst>
        </a:custGeom>
        <a:noFill/>
        <a:ln w="28575" cap="flat" cmpd="sng" algn="ctr">
          <a:solidFill>
            <a:srgbClr val="20BE60"/>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fr-FR" sz="500" kern="1200"/>
        </a:p>
      </dsp:txBody>
      <dsp:txXfrm>
        <a:off x="5515870" y="624778"/>
        <a:ext cx="19952" cy="19952"/>
      </dsp:txXfrm>
    </dsp:sp>
    <dsp:sp modelId="{0D572AD4-BA32-4724-81E0-30D979FB3C1A}">
      <dsp:nvSpPr>
        <dsp:cNvPr id="0" name=""/>
        <dsp:cNvSpPr/>
      </dsp:nvSpPr>
      <dsp:spPr>
        <a:xfrm>
          <a:off x="5381387" y="221854"/>
          <a:ext cx="288919" cy="275266"/>
        </a:xfrm>
        <a:custGeom>
          <a:avLst/>
          <a:gdLst/>
          <a:ahLst/>
          <a:cxnLst/>
          <a:rect l="0" t="0" r="0" b="0"/>
          <a:pathLst>
            <a:path>
              <a:moveTo>
                <a:pt x="0" y="275266"/>
              </a:moveTo>
              <a:lnTo>
                <a:pt x="144459" y="275266"/>
              </a:lnTo>
              <a:lnTo>
                <a:pt x="144459" y="0"/>
              </a:lnTo>
              <a:lnTo>
                <a:pt x="288919" y="0"/>
              </a:lnTo>
            </a:path>
          </a:pathLst>
        </a:custGeom>
        <a:noFill/>
        <a:ln w="28575" cap="flat" cmpd="sng" algn="ctr">
          <a:solidFill>
            <a:srgbClr val="20BE60"/>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fr-FR" sz="500" kern="1200"/>
        </a:p>
      </dsp:txBody>
      <dsp:txXfrm>
        <a:off x="5515870" y="349511"/>
        <a:ext cx="19952" cy="19952"/>
      </dsp:txXfrm>
    </dsp:sp>
    <dsp:sp modelId="{CE1443AF-B755-473F-BEA5-66B9B3AC28C5}">
      <dsp:nvSpPr>
        <dsp:cNvPr id="0" name=""/>
        <dsp:cNvSpPr/>
      </dsp:nvSpPr>
      <dsp:spPr>
        <a:xfrm>
          <a:off x="3647867" y="497121"/>
          <a:ext cx="288919" cy="1101066"/>
        </a:xfrm>
        <a:custGeom>
          <a:avLst/>
          <a:gdLst/>
          <a:ahLst/>
          <a:cxnLst/>
          <a:rect l="0" t="0" r="0" b="0"/>
          <a:pathLst>
            <a:path>
              <a:moveTo>
                <a:pt x="0" y="1101066"/>
              </a:moveTo>
              <a:lnTo>
                <a:pt x="144459" y="1101066"/>
              </a:lnTo>
              <a:lnTo>
                <a:pt x="144459" y="0"/>
              </a:lnTo>
              <a:lnTo>
                <a:pt x="288919" y="0"/>
              </a:lnTo>
            </a:path>
          </a:pathLst>
        </a:custGeom>
        <a:noFill/>
        <a:ln w="28575" cap="flat" cmpd="sng" algn="ctr">
          <a:solidFill>
            <a:srgbClr val="20BE60"/>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fr-FR" sz="500" kern="1200"/>
        </a:p>
      </dsp:txBody>
      <dsp:txXfrm>
        <a:off x="3763868" y="1019196"/>
        <a:ext cx="56917" cy="56917"/>
      </dsp:txXfrm>
    </dsp:sp>
    <dsp:sp modelId="{D72792EF-4263-4F44-BBAA-76FABADFCFA2}">
      <dsp:nvSpPr>
        <dsp:cNvPr id="0" name=""/>
        <dsp:cNvSpPr/>
      </dsp:nvSpPr>
      <dsp:spPr>
        <a:xfrm>
          <a:off x="1914348" y="1598188"/>
          <a:ext cx="288919" cy="1582783"/>
        </a:xfrm>
        <a:custGeom>
          <a:avLst/>
          <a:gdLst/>
          <a:ahLst/>
          <a:cxnLst/>
          <a:rect l="0" t="0" r="0" b="0"/>
          <a:pathLst>
            <a:path>
              <a:moveTo>
                <a:pt x="0" y="1582783"/>
              </a:moveTo>
              <a:lnTo>
                <a:pt x="144459" y="1582783"/>
              </a:lnTo>
              <a:lnTo>
                <a:pt x="144459" y="0"/>
              </a:lnTo>
              <a:lnTo>
                <a:pt x="288919" y="0"/>
              </a:lnTo>
            </a:path>
          </a:pathLst>
        </a:custGeom>
        <a:noFill/>
        <a:ln w="28575" cap="flat" cmpd="sng" algn="ctr">
          <a:solidFill>
            <a:srgbClr val="20BE60"/>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fr-FR" sz="500" kern="1200"/>
        </a:p>
      </dsp:txBody>
      <dsp:txXfrm>
        <a:off x="2018584" y="2349356"/>
        <a:ext cx="80446" cy="80446"/>
      </dsp:txXfrm>
    </dsp:sp>
    <dsp:sp modelId="{6BB67703-F83C-4337-82E6-A82C8EB54FCA}">
      <dsp:nvSpPr>
        <dsp:cNvPr id="0" name=""/>
        <dsp:cNvSpPr/>
      </dsp:nvSpPr>
      <dsp:spPr>
        <a:xfrm rot="16200000">
          <a:off x="535117" y="2960758"/>
          <a:ext cx="2318035" cy="440426"/>
        </a:xfrm>
        <a:prstGeom prst="rect">
          <a:avLst/>
        </a:prstGeom>
        <a:noFill/>
        <a:ln w="28575" cap="flat" cmpd="sng" algn="ctr">
          <a:solidFill>
            <a:srgbClr val="20BE6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r>
            <a:rPr lang="fr-FR" sz="2800" kern="1200">
              <a:solidFill>
                <a:sysClr val="windowText" lastClr="000000"/>
              </a:solidFill>
            </a:rPr>
            <a:t>Priorisation</a:t>
          </a:r>
        </a:p>
      </dsp:txBody>
      <dsp:txXfrm>
        <a:off x="535117" y="2960758"/>
        <a:ext cx="2318035" cy="440426"/>
      </dsp:txXfrm>
    </dsp:sp>
    <dsp:sp modelId="{4735E61C-8760-4D8C-8BAA-7CF682ED82EF}">
      <dsp:nvSpPr>
        <dsp:cNvPr id="0" name=""/>
        <dsp:cNvSpPr/>
      </dsp:nvSpPr>
      <dsp:spPr>
        <a:xfrm>
          <a:off x="2203267" y="1377974"/>
          <a:ext cx="1444599" cy="440426"/>
        </a:xfrm>
        <a:prstGeom prst="rect">
          <a:avLst/>
        </a:prstGeom>
        <a:noFill/>
        <a:ln w="28575" cap="flat" cmpd="sng" algn="ctr">
          <a:solidFill>
            <a:srgbClr val="20BE6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fr-FR" sz="1500" kern="1200" err="1">
              <a:solidFill>
                <a:sysClr val="windowText" lastClr="000000"/>
              </a:solidFill>
            </a:rPr>
            <a:t>Feasability</a:t>
          </a:r>
          <a:endParaRPr lang="fr-FR" sz="1500" kern="1200">
            <a:solidFill>
              <a:sysClr val="windowText" lastClr="000000"/>
            </a:solidFill>
          </a:endParaRPr>
        </a:p>
      </dsp:txBody>
      <dsp:txXfrm>
        <a:off x="2203267" y="1377974"/>
        <a:ext cx="1444599" cy="440426"/>
      </dsp:txXfrm>
    </dsp:sp>
    <dsp:sp modelId="{1D743FE9-A797-4A60-B194-09A3D90EA26B}">
      <dsp:nvSpPr>
        <dsp:cNvPr id="0" name=""/>
        <dsp:cNvSpPr/>
      </dsp:nvSpPr>
      <dsp:spPr>
        <a:xfrm>
          <a:off x="3936787" y="276907"/>
          <a:ext cx="1444599" cy="440426"/>
        </a:xfrm>
        <a:prstGeom prst="rect">
          <a:avLst/>
        </a:prstGeom>
        <a:noFill/>
        <a:ln w="28575" cap="flat" cmpd="sng" algn="ctr">
          <a:solidFill>
            <a:srgbClr val="20BE6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fr-FR" sz="1500" kern="1200">
              <a:solidFill>
                <a:sysClr val="windowText" lastClr="000000"/>
              </a:solidFill>
            </a:rPr>
            <a:t>Human</a:t>
          </a:r>
        </a:p>
      </dsp:txBody>
      <dsp:txXfrm>
        <a:off x="3936787" y="276907"/>
        <a:ext cx="1444599" cy="440426"/>
      </dsp:txXfrm>
    </dsp:sp>
    <dsp:sp modelId="{58481304-9406-4588-97E0-45C755B83F03}">
      <dsp:nvSpPr>
        <dsp:cNvPr id="0" name=""/>
        <dsp:cNvSpPr/>
      </dsp:nvSpPr>
      <dsp:spPr>
        <a:xfrm>
          <a:off x="5670307" y="1641"/>
          <a:ext cx="1444599" cy="440426"/>
        </a:xfrm>
        <a:prstGeom prst="rect">
          <a:avLst/>
        </a:prstGeom>
        <a:noFill/>
        <a:ln w="28575" cap="flat" cmpd="sng" algn="ctr">
          <a:solidFill>
            <a:srgbClr val="20BE6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fr-FR" sz="1500" kern="1200" err="1">
              <a:solidFill>
                <a:sysClr val="windowText" lastClr="000000"/>
              </a:solidFill>
            </a:rPr>
            <a:t>Knowledge</a:t>
          </a:r>
          <a:r>
            <a:rPr lang="fr-FR" sz="1500" kern="1200">
              <a:solidFill>
                <a:sysClr val="windowText" lastClr="000000"/>
              </a:solidFill>
            </a:rPr>
            <a:t> possession</a:t>
          </a:r>
        </a:p>
      </dsp:txBody>
      <dsp:txXfrm>
        <a:off x="5670307" y="1641"/>
        <a:ext cx="1444599" cy="440426"/>
      </dsp:txXfrm>
    </dsp:sp>
    <dsp:sp modelId="{D72FB55D-E6D0-4BD5-ADAB-CA3BFD58BF91}">
      <dsp:nvSpPr>
        <dsp:cNvPr id="0" name=""/>
        <dsp:cNvSpPr/>
      </dsp:nvSpPr>
      <dsp:spPr>
        <a:xfrm>
          <a:off x="5670307" y="552174"/>
          <a:ext cx="1444599" cy="440426"/>
        </a:xfrm>
        <a:prstGeom prst="rect">
          <a:avLst/>
        </a:prstGeom>
        <a:noFill/>
        <a:ln w="28575" cap="flat" cmpd="sng" algn="ctr">
          <a:solidFill>
            <a:srgbClr val="20BE6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fr-FR" sz="1500" kern="1200" err="1">
              <a:solidFill>
                <a:sysClr val="windowText" lastClr="000000"/>
              </a:solidFill>
            </a:rPr>
            <a:t>Employee</a:t>
          </a:r>
          <a:r>
            <a:rPr lang="fr-FR" sz="1500" kern="1200">
              <a:solidFill>
                <a:sysClr val="windowText" lastClr="000000"/>
              </a:solidFill>
            </a:rPr>
            <a:t> </a:t>
          </a:r>
          <a:r>
            <a:rPr lang="fr-FR" sz="1500" kern="1200" err="1">
              <a:solidFill>
                <a:sysClr val="windowText" lastClr="000000"/>
              </a:solidFill>
            </a:rPr>
            <a:t>approval</a:t>
          </a:r>
          <a:endParaRPr lang="fr-FR" sz="1500" kern="1200">
            <a:solidFill>
              <a:sysClr val="windowText" lastClr="000000"/>
            </a:solidFill>
          </a:endParaRPr>
        </a:p>
      </dsp:txBody>
      <dsp:txXfrm>
        <a:off x="5670307" y="552174"/>
        <a:ext cx="1444599" cy="440426"/>
      </dsp:txXfrm>
    </dsp:sp>
    <dsp:sp modelId="{D461AAA6-62BF-402E-B6FF-64CC8AA0589B}">
      <dsp:nvSpPr>
        <dsp:cNvPr id="0" name=""/>
        <dsp:cNvSpPr/>
      </dsp:nvSpPr>
      <dsp:spPr>
        <a:xfrm>
          <a:off x="3936787" y="1377974"/>
          <a:ext cx="1444599" cy="440426"/>
        </a:xfrm>
        <a:prstGeom prst="rect">
          <a:avLst/>
        </a:prstGeom>
        <a:noFill/>
        <a:ln w="28575" cap="flat" cmpd="sng" algn="ctr">
          <a:solidFill>
            <a:srgbClr val="20BE6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fr-FR" sz="1500" kern="1200">
              <a:solidFill>
                <a:sysClr val="windowText" lastClr="000000"/>
              </a:solidFill>
            </a:rPr>
            <a:t>Financial </a:t>
          </a:r>
        </a:p>
      </dsp:txBody>
      <dsp:txXfrm>
        <a:off x="3936787" y="1377974"/>
        <a:ext cx="1444599" cy="440426"/>
      </dsp:txXfrm>
    </dsp:sp>
    <dsp:sp modelId="{1D40563F-C4D4-4C7D-BE33-FD293D9A3F6B}">
      <dsp:nvSpPr>
        <dsp:cNvPr id="0" name=""/>
        <dsp:cNvSpPr/>
      </dsp:nvSpPr>
      <dsp:spPr>
        <a:xfrm>
          <a:off x="5670307" y="1102707"/>
          <a:ext cx="1444599" cy="440426"/>
        </a:xfrm>
        <a:prstGeom prst="rect">
          <a:avLst/>
        </a:prstGeom>
        <a:noFill/>
        <a:ln w="28575" cap="flat" cmpd="sng" algn="ctr">
          <a:solidFill>
            <a:srgbClr val="20BE6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fr-FR" sz="1500" kern="1200">
              <a:solidFill>
                <a:sysClr val="windowText" lastClr="000000"/>
              </a:solidFill>
            </a:rPr>
            <a:t>Investment </a:t>
          </a:r>
          <a:r>
            <a:rPr lang="fr-FR" sz="1500" kern="1200" err="1">
              <a:solidFill>
                <a:sysClr val="windowText" lastClr="000000"/>
              </a:solidFill>
            </a:rPr>
            <a:t>cost</a:t>
          </a:r>
          <a:endParaRPr lang="fr-FR" sz="1500" kern="1200">
            <a:solidFill>
              <a:sysClr val="windowText" lastClr="000000"/>
            </a:solidFill>
          </a:endParaRPr>
        </a:p>
      </dsp:txBody>
      <dsp:txXfrm>
        <a:off x="5670307" y="1102707"/>
        <a:ext cx="1444599" cy="440426"/>
      </dsp:txXfrm>
    </dsp:sp>
    <dsp:sp modelId="{7608345A-7FE5-4720-A7C1-06977566BEDC}">
      <dsp:nvSpPr>
        <dsp:cNvPr id="0" name=""/>
        <dsp:cNvSpPr/>
      </dsp:nvSpPr>
      <dsp:spPr>
        <a:xfrm>
          <a:off x="5670307" y="1653241"/>
          <a:ext cx="1444599" cy="440426"/>
        </a:xfrm>
        <a:prstGeom prst="rect">
          <a:avLst/>
        </a:prstGeom>
        <a:noFill/>
        <a:ln w="28575" cap="flat" cmpd="sng" algn="ctr">
          <a:solidFill>
            <a:srgbClr val="20BE6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fr-FR" sz="1500" kern="1200">
              <a:solidFill>
                <a:sysClr val="windowText" lastClr="000000"/>
              </a:solidFill>
            </a:rPr>
            <a:t>Ressources</a:t>
          </a:r>
        </a:p>
      </dsp:txBody>
      <dsp:txXfrm>
        <a:off x="5670307" y="1653241"/>
        <a:ext cx="1444599" cy="440426"/>
      </dsp:txXfrm>
    </dsp:sp>
    <dsp:sp modelId="{2CA7536A-E3B7-46E9-8DDA-92E81589C022}">
      <dsp:nvSpPr>
        <dsp:cNvPr id="0" name=""/>
        <dsp:cNvSpPr/>
      </dsp:nvSpPr>
      <dsp:spPr>
        <a:xfrm>
          <a:off x="3936787" y="2479041"/>
          <a:ext cx="1444599" cy="440426"/>
        </a:xfrm>
        <a:prstGeom prst="rect">
          <a:avLst/>
        </a:prstGeom>
        <a:noFill/>
        <a:ln w="28575" cap="flat" cmpd="sng" algn="ctr">
          <a:solidFill>
            <a:srgbClr val="20BE6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fr-FR" sz="1500" kern="1200" err="1">
              <a:solidFill>
                <a:sysClr val="windowText" lastClr="000000"/>
              </a:solidFill>
            </a:rPr>
            <a:t>Technological</a:t>
          </a:r>
          <a:endParaRPr lang="fr-FR" sz="1500" kern="1200">
            <a:solidFill>
              <a:sysClr val="windowText" lastClr="000000"/>
            </a:solidFill>
          </a:endParaRPr>
        </a:p>
      </dsp:txBody>
      <dsp:txXfrm>
        <a:off x="3936787" y="2479041"/>
        <a:ext cx="1444599" cy="440426"/>
      </dsp:txXfrm>
    </dsp:sp>
    <dsp:sp modelId="{B44C25CF-FD96-40D8-9F21-19B46AFF5154}">
      <dsp:nvSpPr>
        <dsp:cNvPr id="0" name=""/>
        <dsp:cNvSpPr/>
      </dsp:nvSpPr>
      <dsp:spPr>
        <a:xfrm>
          <a:off x="5670307" y="2203774"/>
          <a:ext cx="1444599" cy="440426"/>
        </a:xfrm>
        <a:prstGeom prst="rect">
          <a:avLst/>
        </a:prstGeom>
        <a:noFill/>
        <a:ln w="28575" cap="flat" cmpd="sng" algn="ctr">
          <a:solidFill>
            <a:srgbClr val="20BE6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fr-FR" sz="1500" kern="1200" err="1">
              <a:solidFill>
                <a:sysClr val="windowText" lastClr="000000"/>
              </a:solidFill>
            </a:rPr>
            <a:t>Implementation</a:t>
          </a:r>
          <a:r>
            <a:rPr lang="fr-FR" sz="1500" kern="1200">
              <a:solidFill>
                <a:sysClr val="windowText" lastClr="000000"/>
              </a:solidFill>
            </a:rPr>
            <a:t> </a:t>
          </a:r>
          <a:r>
            <a:rPr lang="fr-FR" sz="1500" kern="1200" err="1">
              <a:solidFill>
                <a:sysClr val="windowText" lastClr="000000"/>
              </a:solidFill>
            </a:rPr>
            <a:t>difficulties</a:t>
          </a:r>
          <a:endParaRPr lang="fr-FR" sz="1500" kern="1200">
            <a:solidFill>
              <a:sysClr val="windowText" lastClr="000000"/>
            </a:solidFill>
          </a:endParaRPr>
        </a:p>
      </dsp:txBody>
      <dsp:txXfrm>
        <a:off x="5670307" y="2203774"/>
        <a:ext cx="1444599" cy="440426"/>
      </dsp:txXfrm>
    </dsp:sp>
    <dsp:sp modelId="{31B5B8CD-1206-48C6-92DA-75056DA5631D}">
      <dsp:nvSpPr>
        <dsp:cNvPr id="0" name=""/>
        <dsp:cNvSpPr/>
      </dsp:nvSpPr>
      <dsp:spPr>
        <a:xfrm>
          <a:off x="5670307" y="2754308"/>
          <a:ext cx="1444599" cy="440426"/>
        </a:xfrm>
        <a:prstGeom prst="rect">
          <a:avLst/>
        </a:prstGeom>
        <a:noFill/>
        <a:ln w="28575" cap="flat" cmpd="sng" algn="ctr">
          <a:solidFill>
            <a:srgbClr val="20BE6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fr-FR" sz="1500" kern="1200" err="1">
              <a:solidFill>
                <a:sysClr val="windowText" lastClr="000000"/>
              </a:solidFill>
            </a:rPr>
            <a:t>Available</a:t>
          </a:r>
          <a:r>
            <a:rPr lang="fr-FR" sz="1500" kern="1200">
              <a:solidFill>
                <a:sysClr val="windowText" lastClr="000000"/>
              </a:solidFill>
            </a:rPr>
            <a:t> data</a:t>
          </a:r>
        </a:p>
      </dsp:txBody>
      <dsp:txXfrm>
        <a:off x="5670307" y="2754308"/>
        <a:ext cx="1444599" cy="440426"/>
      </dsp:txXfrm>
    </dsp:sp>
    <dsp:sp modelId="{C1C9A1AA-84B8-4A7B-8241-8675CB61BB20}">
      <dsp:nvSpPr>
        <dsp:cNvPr id="0" name=""/>
        <dsp:cNvSpPr/>
      </dsp:nvSpPr>
      <dsp:spPr>
        <a:xfrm>
          <a:off x="2203267" y="4543541"/>
          <a:ext cx="1444599" cy="440426"/>
        </a:xfrm>
        <a:prstGeom prst="rect">
          <a:avLst/>
        </a:prstGeom>
        <a:noFill/>
        <a:ln w="28575" cap="flat" cmpd="sng" algn="ctr">
          <a:solidFill>
            <a:srgbClr val="20BE6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fr-FR" sz="1500" kern="1200">
              <a:solidFill>
                <a:sysClr val="windowText" lastClr="000000"/>
              </a:solidFill>
            </a:rPr>
            <a:t>Impact</a:t>
          </a:r>
        </a:p>
      </dsp:txBody>
      <dsp:txXfrm>
        <a:off x="2203267" y="4543541"/>
        <a:ext cx="1444599" cy="440426"/>
      </dsp:txXfrm>
    </dsp:sp>
    <dsp:sp modelId="{297F0969-E926-45DA-BE9F-488601AC83D8}">
      <dsp:nvSpPr>
        <dsp:cNvPr id="0" name=""/>
        <dsp:cNvSpPr/>
      </dsp:nvSpPr>
      <dsp:spPr>
        <a:xfrm>
          <a:off x="3936787" y="3855374"/>
          <a:ext cx="1444599" cy="440426"/>
        </a:xfrm>
        <a:prstGeom prst="rect">
          <a:avLst/>
        </a:prstGeom>
        <a:noFill/>
        <a:ln w="28575" cap="flat" cmpd="sng" algn="ctr">
          <a:solidFill>
            <a:srgbClr val="20BE6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fr-FR" sz="1500" kern="1200">
              <a:solidFill>
                <a:sysClr val="windowText" lastClr="000000"/>
              </a:solidFill>
            </a:rPr>
            <a:t>Sales</a:t>
          </a:r>
        </a:p>
      </dsp:txBody>
      <dsp:txXfrm>
        <a:off x="3936787" y="3855374"/>
        <a:ext cx="1444599" cy="440426"/>
      </dsp:txXfrm>
    </dsp:sp>
    <dsp:sp modelId="{B7DC154E-9B84-4A74-A6F6-B71445307603}">
      <dsp:nvSpPr>
        <dsp:cNvPr id="0" name=""/>
        <dsp:cNvSpPr/>
      </dsp:nvSpPr>
      <dsp:spPr>
        <a:xfrm>
          <a:off x="5670307" y="3304841"/>
          <a:ext cx="1444599" cy="440426"/>
        </a:xfrm>
        <a:prstGeom prst="rect">
          <a:avLst/>
        </a:prstGeom>
        <a:noFill/>
        <a:ln w="28575" cap="flat" cmpd="sng" algn="ctr">
          <a:solidFill>
            <a:srgbClr val="20BE6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fr-FR" sz="1500" kern="1200" err="1">
              <a:solidFill>
                <a:sysClr val="windowText" lastClr="000000"/>
              </a:solidFill>
            </a:rPr>
            <a:t>Benefits</a:t>
          </a:r>
          <a:endParaRPr lang="fr-FR" sz="1500" kern="1200">
            <a:solidFill>
              <a:sysClr val="windowText" lastClr="000000"/>
            </a:solidFill>
          </a:endParaRPr>
        </a:p>
      </dsp:txBody>
      <dsp:txXfrm>
        <a:off x="5670307" y="3304841"/>
        <a:ext cx="1444599" cy="440426"/>
      </dsp:txXfrm>
    </dsp:sp>
    <dsp:sp modelId="{5722B6D8-165F-44CE-9E9D-B753635B838D}">
      <dsp:nvSpPr>
        <dsp:cNvPr id="0" name=""/>
        <dsp:cNvSpPr/>
      </dsp:nvSpPr>
      <dsp:spPr>
        <a:xfrm>
          <a:off x="5670307" y="3855374"/>
          <a:ext cx="1444599" cy="440426"/>
        </a:xfrm>
        <a:prstGeom prst="rect">
          <a:avLst/>
        </a:prstGeom>
        <a:noFill/>
        <a:ln w="28575" cap="flat" cmpd="sng" algn="ctr">
          <a:solidFill>
            <a:srgbClr val="20BE6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fr-FR" sz="1500" kern="1200">
              <a:solidFill>
                <a:sysClr val="windowText" lastClr="000000"/>
              </a:solidFill>
            </a:rPr>
            <a:t>Client </a:t>
          </a:r>
          <a:r>
            <a:rPr lang="fr-FR" sz="1500" kern="1200" err="1">
              <a:solidFill>
                <a:sysClr val="windowText" lastClr="000000"/>
              </a:solidFill>
            </a:rPr>
            <a:t>retention</a:t>
          </a:r>
          <a:endParaRPr lang="fr-FR" sz="1500" kern="1200">
            <a:solidFill>
              <a:sysClr val="windowText" lastClr="000000"/>
            </a:solidFill>
          </a:endParaRPr>
        </a:p>
      </dsp:txBody>
      <dsp:txXfrm>
        <a:off x="5670307" y="3855374"/>
        <a:ext cx="1444599" cy="440426"/>
      </dsp:txXfrm>
    </dsp:sp>
    <dsp:sp modelId="{378E7290-775E-42FA-AE96-623CCEF2F1A4}">
      <dsp:nvSpPr>
        <dsp:cNvPr id="0" name=""/>
        <dsp:cNvSpPr/>
      </dsp:nvSpPr>
      <dsp:spPr>
        <a:xfrm>
          <a:off x="5670307" y="4405908"/>
          <a:ext cx="1444599" cy="440426"/>
        </a:xfrm>
        <a:prstGeom prst="rect">
          <a:avLst/>
        </a:prstGeom>
        <a:noFill/>
        <a:ln w="28575" cap="flat" cmpd="sng" algn="ctr">
          <a:solidFill>
            <a:srgbClr val="20BE6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fr-FR" sz="1500" kern="1200">
              <a:solidFill>
                <a:sysClr val="windowText" lastClr="000000"/>
              </a:solidFill>
            </a:rPr>
            <a:t>Volume</a:t>
          </a:r>
        </a:p>
      </dsp:txBody>
      <dsp:txXfrm>
        <a:off x="5670307" y="4405908"/>
        <a:ext cx="1444599" cy="440426"/>
      </dsp:txXfrm>
    </dsp:sp>
    <dsp:sp modelId="{FD53545B-A545-46C8-ACE0-7B187000264D}">
      <dsp:nvSpPr>
        <dsp:cNvPr id="0" name=""/>
        <dsp:cNvSpPr/>
      </dsp:nvSpPr>
      <dsp:spPr>
        <a:xfrm>
          <a:off x="3936787" y="4405908"/>
          <a:ext cx="1444599" cy="440426"/>
        </a:xfrm>
        <a:prstGeom prst="rect">
          <a:avLst/>
        </a:prstGeom>
        <a:noFill/>
        <a:ln w="28575" cap="flat" cmpd="sng" algn="ctr">
          <a:solidFill>
            <a:srgbClr val="20BE6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fr-FR" sz="1500" kern="1200" err="1">
              <a:solidFill>
                <a:sysClr val="windowText" lastClr="000000"/>
              </a:solidFill>
            </a:rPr>
            <a:t>Workload</a:t>
          </a:r>
          <a:r>
            <a:rPr lang="fr-FR" sz="1500" kern="1200">
              <a:solidFill>
                <a:sysClr val="windowText" lastClr="000000"/>
              </a:solidFill>
            </a:rPr>
            <a:t> and </a:t>
          </a:r>
          <a:r>
            <a:rPr lang="fr-FR" sz="1500" kern="1200" err="1">
              <a:solidFill>
                <a:sysClr val="windowText" lastClr="000000"/>
              </a:solidFill>
            </a:rPr>
            <a:t>way</a:t>
          </a:r>
          <a:r>
            <a:rPr lang="fr-FR" sz="1500" kern="1200">
              <a:solidFill>
                <a:sysClr val="windowText" lastClr="000000"/>
              </a:solidFill>
            </a:rPr>
            <a:t> of </a:t>
          </a:r>
          <a:r>
            <a:rPr lang="fr-FR" sz="1500" kern="1200" err="1">
              <a:solidFill>
                <a:sysClr val="windowText" lastClr="000000"/>
              </a:solidFill>
            </a:rPr>
            <a:t>work</a:t>
          </a:r>
          <a:endParaRPr lang="fr-FR" sz="1500" kern="1200">
            <a:solidFill>
              <a:sysClr val="windowText" lastClr="000000"/>
            </a:solidFill>
          </a:endParaRPr>
        </a:p>
      </dsp:txBody>
      <dsp:txXfrm>
        <a:off x="3936787" y="4405908"/>
        <a:ext cx="1444599" cy="440426"/>
      </dsp:txXfrm>
    </dsp:sp>
    <dsp:sp modelId="{F1FBB886-3CED-401D-8142-D25D44EB8342}">
      <dsp:nvSpPr>
        <dsp:cNvPr id="0" name=""/>
        <dsp:cNvSpPr/>
      </dsp:nvSpPr>
      <dsp:spPr>
        <a:xfrm>
          <a:off x="3936787" y="5231708"/>
          <a:ext cx="1444599" cy="440426"/>
        </a:xfrm>
        <a:prstGeom prst="rect">
          <a:avLst/>
        </a:prstGeom>
        <a:noFill/>
        <a:ln w="28575" cap="flat" cmpd="sng" algn="ctr">
          <a:solidFill>
            <a:srgbClr val="20BE6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fr-FR" sz="1500" kern="1200">
              <a:solidFill>
                <a:sysClr val="windowText" lastClr="000000"/>
              </a:solidFill>
            </a:rPr>
            <a:t>Production</a:t>
          </a:r>
        </a:p>
      </dsp:txBody>
      <dsp:txXfrm>
        <a:off x="3936787" y="5231708"/>
        <a:ext cx="1444599" cy="440426"/>
      </dsp:txXfrm>
    </dsp:sp>
    <dsp:sp modelId="{A6DBF746-3945-4655-8D47-0D40A299B0CB}">
      <dsp:nvSpPr>
        <dsp:cNvPr id="0" name=""/>
        <dsp:cNvSpPr/>
      </dsp:nvSpPr>
      <dsp:spPr>
        <a:xfrm>
          <a:off x="5670307" y="4956441"/>
          <a:ext cx="1444599" cy="440426"/>
        </a:xfrm>
        <a:prstGeom prst="rect">
          <a:avLst/>
        </a:prstGeom>
        <a:noFill/>
        <a:ln w="28575" cap="flat" cmpd="sng" algn="ctr">
          <a:solidFill>
            <a:srgbClr val="20BE6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fr-FR" sz="1500" kern="1200" err="1">
              <a:solidFill>
                <a:sysClr val="windowText" lastClr="000000"/>
              </a:solidFill>
            </a:rPr>
            <a:t>Quality</a:t>
          </a:r>
          <a:endParaRPr lang="fr-FR" sz="1500" kern="1200">
            <a:solidFill>
              <a:sysClr val="windowText" lastClr="000000"/>
            </a:solidFill>
          </a:endParaRPr>
        </a:p>
      </dsp:txBody>
      <dsp:txXfrm>
        <a:off x="5670307" y="4956441"/>
        <a:ext cx="1444599" cy="440426"/>
      </dsp:txXfrm>
    </dsp:sp>
    <dsp:sp modelId="{B83B3640-8E41-4C5C-9585-851D4CF7C098}">
      <dsp:nvSpPr>
        <dsp:cNvPr id="0" name=""/>
        <dsp:cNvSpPr/>
      </dsp:nvSpPr>
      <dsp:spPr>
        <a:xfrm>
          <a:off x="5670307" y="5506975"/>
          <a:ext cx="1444599" cy="440426"/>
        </a:xfrm>
        <a:prstGeom prst="rect">
          <a:avLst/>
        </a:prstGeom>
        <a:noFill/>
        <a:ln w="28575" cap="flat" cmpd="sng" algn="ctr">
          <a:solidFill>
            <a:srgbClr val="20BE6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fr-FR" sz="1500" kern="1200" err="1">
              <a:solidFill>
                <a:sysClr val="windowText" lastClr="000000"/>
              </a:solidFill>
            </a:rPr>
            <a:t>Efficiency</a:t>
          </a:r>
          <a:endParaRPr lang="fr-FR" sz="1500" kern="1200">
            <a:solidFill>
              <a:sysClr val="windowText" lastClr="000000"/>
            </a:solidFill>
          </a:endParaRPr>
        </a:p>
      </dsp:txBody>
      <dsp:txXfrm>
        <a:off x="5670307" y="5506975"/>
        <a:ext cx="1444599" cy="440426"/>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FE5385E-9ED6-4C41-87B6-041C603EF69F}">
      <dsp:nvSpPr>
        <dsp:cNvPr id="0" name=""/>
        <dsp:cNvSpPr/>
      </dsp:nvSpPr>
      <dsp:spPr>
        <a:xfrm>
          <a:off x="1082023" y="775"/>
          <a:ext cx="646332" cy="420116"/>
        </a:xfrm>
        <a:prstGeom prst="roundRect">
          <a:avLst/>
        </a:prstGeom>
        <a:solidFill>
          <a:srgbClr val="20BE6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fr-FR" sz="900" kern="1200"/>
            <a:t>CEO</a:t>
          </a:r>
        </a:p>
      </dsp:txBody>
      <dsp:txXfrm>
        <a:off x="1102531" y="21283"/>
        <a:ext cx="605316" cy="379100"/>
      </dsp:txXfrm>
    </dsp:sp>
    <dsp:sp modelId="{2B5A2DFF-1927-2F49-94E0-8C661092F163}">
      <dsp:nvSpPr>
        <dsp:cNvPr id="0" name=""/>
        <dsp:cNvSpPr/>
      </dsp:nvSpPr>
      <dsp:spPr>
        <a:xfrm>
          <a:off x="416318" y="210833"/>
          <a:ext cx="1977742" cy="1977742"/>
        </a:xfrm>
        <a:custGeom>
          <a:avLst/>
          <a:gdLst/>
          <a:ahLst/>
          <a:cxnLst/>
          <a:rect l="0" t="0" r="0" b="0"/>
          <a:pathLst>
            <a:path>
              <a:moveTo>
                <a:pt x="1316158" y="55731"/>
              </a:moveTo>
              <a:arcTo wR="988871" hR="988871" stAng="17359661" swAng="1499230"/>
            </a:path>
          </a:pathLst>
        </a:custGeom>
        <a:noFill/>
        <a:ln w="9525" cap="flat" cmpd="sng" algn="ctr">
          <a:solidFill>
            <a:schemeClr val="accent1">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F7868934-1BDA-8540-8B48-9B6093A28EAB}">
      <dsp:nvSpPr>
        <dsp:cNvPr id="0" name=""/>
        <dsp:cNvSpPr/>
      </dsp:nvSpPr>
      <dsp:spPr>
        <a:xfrm>
          <a:off x="1938411" y="495210"/>
          <a:ext cx="646332" cy="420116"/>
        </a:xfrm>
        <a:prstGeom prst="roundRect">
          <a:avLst/>
        </a:prstGeom>
        <a:solidFill>
          <a:srgbClr val="20BE6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fr-FR" sz="900" i="0" kern="1200"/>
            <a:t>Data Team</a:t>
          </a:r>
        </a:p>
      </dsp:txBody>
      <dsp:txXfrm>
        <a:off x="1958919" y="515718"/>
        <a:ext cx="605316" cy="379100"/>
      </dsp:txXfrm>
    </dsp:sp>
    <dsp:sp modelId="{43221334-28A9-2E44-BE7A-C124BC965737}">
      <dsp:nvSpPr>
        <dsp:cNvPr id="0" name=""/>
        <dsp:cNvSpPr/>
      </dsp:nvSpPr>
      <dsp:spPr>
        <a:xfrm>
          <a:off x="416318" y="210833"/>
          <a:ext cx="1977742" cy="1977742"/>
        </a:xfrm>
        <a:custGeom>
          <a:avLst/>
          <a:gdLst/>
          <a:ahLst/>
          <a:cxnLst/>
          <a:rect l="0" t="0" r="0" b="0"/>
          <a:pathLst>
            <a:path>
              <a:moveTo>
                <a:pt x="1937589" y="709945"/>
              </a:moveTo>
              <a:arcTo wR="988871" hR="988871" stAng="20616992" swAng="1966016"/>
            </a:path>
          </a:pathLst>
        </a:custGeom>
        <a:noFill/>
        <a:ln w="9525" cap="flat" cmpd="sng" algn="ctr">
          <a:solidFill>
            <a:schemeClr val="accent1">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500CBAAD-84BE-1A40-87A6-3150284EA748}">
      <dsp:nvSpPr>
        <dsp:cNvPr id="0" name=""/>
        <dsp:cNvSpPr/>
      </dsp:nvSpPr>
      <dsp:spPr>
        <a:xfrm>
          <a:off x="1938411" y="1484082"/>
          <a:ext cx="646332" cy="420116"/>
        </a:xfrm>
        <a:prstGeom prst="roundRect">
          <a:avLst/>
        </a:prstGeom>
        <a:solidFill>
          <a:srgbClr val="20BE6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fr-FR" sz="900" kern="1200" err="1"/>
            <a:t>Strategy</a:t>
          </a:r>
          <a:endParaRPr lang="fr-FR" sz="900" i="1" kern="1200"/>
        </a:p>
      </dsp:txBody>
      <dsp:txXfrm>
        <a:off x="1958919" y="1504590"/>
        <a:ext cx="605316" cy="379100"/>
      </dsp:txXfrm>
    </dsp:sp>
    <dsp:sp modelId="{06D82E4D-06FD-6244-B0BE-4F3F1CCC6EA2}">
      <dsp:nvSpPr>
        <dsp:cNvPr id="0" name=""/>
        <dsp:cNvSpPr/>
      </dsp:nvSpPr>
      <dsp:spPr>
        <a:xfrm>
          <a:off x="416318" y="210833"/>
          <a:ext cx="1977742" cy="1977742"/>
        </a:xfrm>
        <a:custGeom>
          <a:avLst/>
          <a:gdLst/>
          <a:ahLst/>
          <a:cxnLst/>
          <a:rect l="0" t="0" r="0" b="0"/>
          <a:pathLst>
            <a:path>
              <a:moveTo>
                <a:pt x="1679697" y="1696420"/>
              </a:moveTo>
              <a:arcTo wR="988871" hR="988871" stAng="2741109" swAng="1499230"/>
            </a:path>
          </a:pathLst>
        </a:custGeom>
        <a:noFill/>
        <a:ln w="9525" cap="flat" cmpd="sng" algn="ctr">
          <a:solidFill>
            <a:schemeClr val="accent1">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82640692-37EB-7944-A4C4-490287E35F3F}">
      <dsp:nvSpPr>
        <dsp:cNvPr id="0" name=""/>
        <dsp:cNvSpPr/>
      </dsp:nvSpPr>
      <dsp:spPr>
        <a:xfrm>
          <a:off x="1082023" y="1978517"/>
          <a:ext cx="646332" cy="42011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fr-FR" sz="900" kern="1200" err="1"/>
            <a:t>Supply</a:t>
          </a:r>
          <a:r>
            <a:rPr lang="fr-FR" sz="900" kern="1200"/>
            <a:t> Chain</a:t>
          </a:r>
          <a:endParaRPr lang="fr-FR" sz="900" i="1" kern="1200"/>
        </a:p>
      </dsp:txBody>
      <dsp:txXfrm>
        <a:off x="1102531" y="1999025"/>
        <a:ext cx="605316" cy="379100"/>
      </dsp:txXfrm>
    </dsp:sp>
    <dsp:sp modelId="{1089AFA7-2479-2F49-A7F6-EF33DE1C4BC0}">
      <dsp:nvSpPr>
        <dsp:cNvPr id="0" name=""/>
        <dsp:cNvSpPr/>
      </dsp:nvSpPr>
      <dsp:spPr>
        <a:xfrm>
          <a:off x="416318" y="210833"/>
          <a:ext cx="1977742" cy="1977742"/>
        </a:xfrm>
        <a:custGeom>
          <a:avLst/>
          <a:gdLst/>
          <a:ahLst/>
          <a:cxnLst/>
          <a:rect l="0" t="0" r="0" b="0"/>
          <a:pathLst>
            <a:path>
              <a:moveTo>
                <a:pt x="661584" y="1922010"/>
              </a:moveTo>
              <a:arcTo wR="988871" hR="988871" stAng="6559661" swAng="1499230"/>
            </a:path>
          </a:pathLst>
        </a:custGeom>
        <a:noFill/>
        <a:ln w="9525" cap="flat" cmpd="sng" algn="ctr">
          <a:solidFill>
            <a:schemeClr val="accent1">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59934DFA-3F9E-EB47-A09A-239528D9706C}">
      <dsp:nvSpPr>
        <dsp:cNvPr id="0" name=""/>
        <dsp:cNvSpPr/>
      </dsp:nvSpPr>
      <dsp:spPr>
        <a:xfrm>
          <a:off x="225636" y="1484082"/>
          <a:ext cx="646332" cy="420116"/>
        </a:xfrm>
        <a:prstGeom prst="roundRect">
          <a:avLst/>
        </a:prstGeom>
        <a:solidFill>
          <a:srgbClr val="20BE6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fr-FR" sz="900" kern="1200"/>
            <a:t>Sales</a:t>
          </a:r>
          <a:endParaRPr lang="fr-FR" sz="900" i="1" kern="1200"/>
        </a:p>
      </dsp:txBody>
      <dsp:txXfrm>
        <a:off x="246144" y="1504590"/>
        <a:ext cx="605316" cy="379100"/>
      </dsp:txXfrm>
    </dsp:sp>
    <dsp:sp modelId="{D6E5B313-C249-964E-B4C6-7EB6689A3EFB}">
      <dsp:nvSpPr>
        <dsp:cNvPr id="0" name=""/>
        <dsp:cNvSpPr/>
      </dsp:nvSpPr>
      <dsp:spPr>
        <a:xfrm>
          <a:off x="416318" y="210833"/>
          <a:ext cx="1977742" cy="1977742"/>
        </a:xfrm>
        <a:custGeom>
          <a:avLst/>
          <a:gdLst/>
          <a:ahLst/>
          <a:cxnLst/>
          <a:rect l="0" t="0" r="0" b="0"/>
          <a:pathLst>
            <a:path>
              <a:moveTo>
                <a:pt x="40152" y="1267796"/>
              </a:moveTo>
              <a:arcTo wR="988871" hR="988871" stAng="9816992" swAng="1966016"/>
            </a:path>
          </a:pathLst>
        </a:custGeom>
        <a:noFill/>
        <a:ln w="9525" cap="flat" cmpd="sng" algn="ctr">
          <a:solidFill>
            <a:schemeClr val="accent1">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98A95401-46E8-D84C-8B78-C3B39DDB2FDE}">
      <dsp:nvSpPr>
        <dsp:cNvPr id="0" name=""/>
        <dsp:cNvSpPr/>
      </dsp:nvSpPr>
      <dsp:spPr>
        <a:xfrm>
          <a:off x="225636" y="495210"/>
          <a:ext cx="646332" cy="420116"/>
        </a:xfrm>
        <a:prstGeom prst="roundRect">
          <a:avLst/>
        </a:prstGeom>
        <a:solidFill>
          <a:srgbClr val="104B26"/>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fr-FR" sz="900" i="0" kern="1200"/>
            <a:t>Marketing</a:t>
          </a:r>
        </a:p>
      </dsp:txBody>
      <dsp:txXfrm>
        <a:off x="246144" y="515718"/>
        <a:ext cx="605316" cy="379100"/>
      </dsp:txXfrm>
    </dsp:sp>
    <dsp:sp modelId="{6636D371-FF8C-C64E-82BD-3293BB3A5746}">
      <dsp:nvSpPr>
        <dsp:cNvPr id="0" name=""/>
        <dsp:cNvSpPr/>
      </dsp:nvSpPr>
      <dsp:spPr>
        <a:xfrm>
          <a:off x="416318" y="210833"/>
          <a:ext cx="1977742" cy="1977742"/>
        </a:xfrm>
        <a:custGeom>
          <a:avLst/>
          <a:gdLst/>
          <a:ahLst/>
          <a:cxnLst/>
          <a:rect l="0" t="0" r="0" b="0"/>
          <a:pathLst>
            <a:path>
              <a:moveTo>
                <a:pt x="298045" y="281322"/>
              </a:moveTo>
              <a:arcTo wR="988871" hR="988871" stAng="13541109" swAng="1499230"/>
            </a:path>
          </a:pathLst>
        </a:custGeom>
        <a:noFill/>
        <a:ln w="9525" cap="flat" cmpd="sng" algn="ctr">
          <a:solidFill>
            <a:schemeClr val="accent1">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FE5385E-9ED6-4C41-87B6-041C603EF69F}">
      <dsp:nvSpPr>
        <dsp:cNvPr id="0" name=""/>
        <dsp:cNvSpPr/>
      </dsp:nvSpPr>
      <dsp:spPr>
        <a:xfrm>
          <a:off x="1082023" y="775"/>
          <a:ext cx="646332" cy="420116"/>
        </a:xfrm>
        <a:prstGeom prst="roundRect">
          <a:avLst/>
        </a:prstGeom>
        <a:solidFill>
          <a:schemeClr val="accent1"/>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fr-FR" sz="900" kern="1200"/>
            <a:t>CEO</a:t>
          </a:r>
        </a:p>
      </dsp:txBody>
      <dsp:txXfrm>
        <a:off x="1102531" y="21283"/>
        <a:ext cx="605316" cy="379100"/>
      </dsp:txXfrm>
    </dsp:sp>
    <dsp:sp modelId="{2B5A2DFF-1927-2F49-94E0-8C661092F163}">
      <dsp:nvSpPr>
        <dsp:cNvPr id="0" name=""/>
        <dsp:cNvSpPr/>
      </dsp:nvSpPr>
      <dsp:spPr>
        <a:xfrm>
          <a:off x="416318" y="210833"/>
          <a:ext cx="1977742" cy="1977742"/>
        </a:xfrm>
        <a:custGeom>
          <a:avLst/>
          <a:gdLst/>
          <a:ahLst/>
          <a:cxnLst/>
          <a:rect l="0" t="0" r="0" b="0"/>
          <a:pathLst>
            <a:path>
              <a:moveTo>
                <a:pt x="1316158" y="55731"/>
              </a:moveTo>
              <a:arcTo wR="988871" hR="988871" stAng="17359661" swAng="1499230"/>
            </a:path>
          </a:pathLst>
        </a:custGeom>
        <a:noFill/>
        <a:ln w="9525" cap="flat" cmpd="sng" algn="ctr">
          <a:solidFill>
            <a:schemeClr val="accent1">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F7868934-1BDA-8540-8B48-9B6093A28EAB}">
      <dsp:nvSpPr>
        <dsp:cNvPr id="0" name=""/>
        <dsp:cNvSpPr/>
      </dsp:nvSpPr>
      <dsp:spPr>
        <a:xfrm>
          <a:off x="1938411" y="495210"/>
          <a:ext cx="646332" cy="420116"/>
        </a:xfrm>
        <a:prstGeom prst="roundRect">
          <a:avLst/>
        </a:prstGeom>
        <a:solidFill>
          <a:srgbClr val="20BE6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fr-FR" sz="900" i="0" kern="1200"/>
            <a:t>Data Team</a:t>
          </a:r>
        </a:p>
      </dsp:txBody>
      <dsp:txXfrm>
        <a:off x="1958919" y="515718"/>
        <a:ext cx="605316" cy="379100"/>
      </dsp:txXfrm>
    </dsp:sp>
    <dsp:sp modelId="{43221334-28A9-2E44-BE7A-C124BC965737}">
      <dsp:nvSpPr>
        <dsp:cNvPr id="0" name=""/>
        <dsp:cNvSpPr/>
      </dsp:nvSpPr>
      <dsp:spPr>
        <a:xfrm>
          <a:off x="416318" y="210833"/>
          <a:ext cx="1977742" cy="1977742"/>
        </a:xfrm>
        <a:custGeom>
          <a:avLst/>
          <a:gdLst/>
          <a:ahLst/>
          <a:cxnLst/>
          <a:rect l="0" t="0" r="0" b="0"/>
          <a:pathLst>
            <a:path>
              <a:moveTo>
                <a:pt x="1937589" y="709945"/>
              </a:moveTo>
              <a:arcTo wR="988871" hR="988871" stAng="20616992" swAng="1966016"/>
            </a:path>
          </a:pathLst>
        </a:custGeom>
        <a:noFill/>
        <a:ln w="9525" cap="flat" cmpd="sng" algn="ctr">
          <a:solidFill>
            <a:schemeClr val="accent1">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500CBAAD-84BE-1A40-87A6-3150284EA748}">
      <dsp:nvSpPr>
        <dsp:cNvPr id="0" name=""/>
        <dsp:cNvSpPr/>
      </dsp:nvSpPr>
      <dsp:spPr>
        <a:xfrm>
          <a:off x="1938411" y="1484082"/>
          <a:ext cx="646332" cy="420116"/>
        </a:xfrm>
        <a:prstGeom prst="roundRect">
          <a:avLst/>
        </a:prstGeom>
        <a:solidFill>
          <a:schemeClr val="accent1"/>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fr-FR" sz="900" kern="1200" err="1"/>
            <a:t>Strategy</a:t>
          </a:r>
          <a:endParaRPr lang="fr-FR" sz="900" i="1" kern="1200"/>
        </a:p>
      </dsp:txBody>
      <dsp:txXfrm>
        <a:off x="1958919" y="1504590"/>
        <a:ext cx="605316" cy="379100"/>
      </dsp:txXfrm>
    </dsp:sp>
    <dsp:sp modelId="{06D82E4D-06FD-6244-B0BE-4F3F1CCC6EA2}">
      <dsp:nvSpPr>
        <dsp:cNvPr id="0" name=""/>
        <dsp:cNvSpPr/>
      </dsp:nvSpPr>
      <dsp:spPr>
        <a:xfrm>
          <a:off x="416318" y="210833"/>
          <a:ext cx="1977742" cy="1977742"/>
        </a:xfrm>
        <a:custGeom>
          <a:avLst/>
          <a:gdLst/>
          <a:ahLst/>
          <a:cxnLst/>
          <a:rect l="0" t="0" r="0" b="0"/>
          <a:pathLst>
            <a:path>
              <a:moveTo>
                <a:pt x="1679697" y="1696420"/>
              </a:moveTo>
              <a:arcTo wR="988871" hR="988871" stAng="2741109" swAng="1499230"/>
            </a:path>
          </a:pathLst>
        </a:custGeom>
        <a:noFill/>
        <a:ln w="9525" cap="flat" cmpd="sng" algn="ctr">
          <a:solidFill>
            <a:schemeClr val="accent1">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82640692-37EB-7944-A4C4-490287E35F3F}">
      <dsp:nvSpPr>
        <dsp:cNvPr id="0" name=""/>
        <dsp:cNvSpPr/>
      </dsp:nvSpPr>
      <dsp:spPr>
        <a:xfrm>
          <a:off x="1082023" y="1978517"/>
          <a:ext cx="646332" cy="42011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fr-FR" sz="900" kern="1200" err="1"/>
            <a:t>Supply</a:t>
          </a:r>
          <a:r>
            <a:rPr lang="fr-FR" sz="900" kern="1200"/>
            <a:t> Chain</a:t>
          </a:r>
          <a:endParaRPr lang="fr-FR" sz="900" i="1" kern="1200"/>
        </a:p>
      </dsp:txBody>
      <dsp:txXfrm>
        <a:off x="1102531" y="1999025"/>
        <a:ext cx="605316" cy="379100"/>
      </dsp:txXfrm>
    </dsp:sp>
    <dsp:sp modelId="{1089AFA7-2479-2F49-A7F6-EF33DE1C4BC0}">
      <dsp:nvSpPr>
        <dsp:cNvPr id="0" name=""/>
        <dsp:cNvSpPr/>
      </dsp:nvSpPr>
      <dsp:spPr>
        <a:xfrm>
          <a:off x="416318" y="210833"/>
          <a:ext cx="1977742" cy="1977742"/>
        </a:xfrm>
        <a:custGeom>
          <a:avLst/>
          <a:gdLst/>
          <a:ahLst/>
          <a:cxnLst/>
          <a:rect l="0" t="0" r="0" b="0"/>
          <a:pathLst>
            <a:path>
              <a:moveTo>
                <a:pt x="661584" y="1922010"/>
              </a:moveTo>
              <a:arcTo wR="988871" hR="988871" stAng="6559661" swAng="1499230"/>
            </a:path>
          </a:pathLst>
        </a:custGeom>
        <a:noFill/>
        <a:ln w="9525" cap="flat" cmpd="sng" algn="ctr">
          <a:solidFill>
            <a:schemeClr val="accent1">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59934DFA-3F9E-EB47-A09A-239528D9706C}">
      <dsp:nvSpPr>
        <dsp:cNvPr id="0" name=""/>
        <dsp:cNvSpPr/>
      </dsp:nvSpPr>
      <dsp:spPr>
        <a:xfrm>
          <a:off x="225636" y="1484082"/>
          <a:ext cx="646332" cy="420116"/>
        </a:xfrm>
        <a:prstGeom prst="roundRect">
          <a:avLst/>
        </a:prstGeom>
        <a:solidFill>
          <a:schemeClr val="accent1"/>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fr-FR" sz="900" kern="1200"/>
            <a:t>Sales</a:t>
          </a:r>
          <a:endParaRPr lang="fr-FR" sz="900" i="1" kern="1200"/>
        </a:p>
      </dsp:txBody>
      <dsp:txXfrm>
        <a:off x="246144" y="1504590"/>
        <a:ext cx="605316" cy="379100"/>
      </dsp:txXfrm>
    </dsp:sp>
    <dsp:sp modelId="{D6E5B313-C249-964E-B4C6-7EB6689A3EFB}">
      <dsp:nvSpPr>
        <dsp:cNvPr id="0" name=""/>
        <dsp:cNvSpPr/>
      </dsp:nvSpPr>
      <dsp:spPr>
        <a:xfrm>
          <a:off x="416318" y="210833"/>
          <a:ext cx="1977742" cy="1977742"/>
        </a:xfrm>
        <a:custGeom>
          <a:avLst/>
          <a:gdLst/>
          <a:ahLst/>
          <a:cxnLst/>
          <a:rect l="0" t="0" r="0" b="0"/>
          <a:pathLst>
            <a:path>
              <a:moveTo>
                <a:pt x="40152" y="1267796"/>
              </a:moveTo>
              <a:arcTo wR="988871" hR="988871" stAng="9816992" swAng="1966016"/>
            </a:path>
          </a:pathLst>
        </a:custGeom>
        <a:noFill/>
        <a:ln w="9525" cap="flat" cmpd="sng" algn="ctr">
          <a:solidFill>
            <a:schemeClr val="accent1">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98A95401-46E8-D84C-8B78-C3B39DDB2FDE}">
      <dsp:nvSpPr>
        <dsp:cNvPr id="0" name=""/>
        <dsp:cNvSpPr/>
      </dsp:nvSpPr>
      <dsp:spPr>
        <a:xfrm>
          <a:off x="225636" y="495210"/>
          <a:ext cx="646332" cy="420116"/>
        </a:xfrm>
        <a:prstGeom prst="roundRect">
          <a:avLst/>
        </a:prstGeom>
        <a:solidFill>
          <a:srgbClr val="20BE6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fr-FR" sz="900" i="0" kern="1200"/>
            <a:t>Marketing</a:t>
          </a:r>
        </a:p>
      </dsp:txBody>
      <dsp:txXfrm>
        <a:off x="246144" y="515718"/>
        <a:ext cx="605316" cy="379100"/>
      </dsp:txXfrm>
    </dsp:sp>
    <dsp:sp modelId="{6636D371-FF8C-C64E-82BD-3293BB3A5746}">
      <dsp:nvSpPr>
        <dsp:cNvPr id="0" name=""/>
        <dsp:cNvSpPr/>
      </dsp:nvSpPr>
      <dsp:spPr>
        <a:xfrm>
          <a:off x="416318" y="210833"/>
          <a:ext cx="1977742" cy="1977742"/>
        </a:xfrm>
        <a:custGeom>
          <a:avLst/>
          <a:gdLst/>
          <a:ahLst/>
          <a:cxnLst/>
          <a:rect l="0" t="0" r="0" b="0"/>
          <a:pathLst>
            <a:path>
              <a:moveTo>
                <a:pt x="298045" y="281322"/>
              </a:moveTo>
              <a:arcTo wR="988871" hR="988871" stAng="13541109" swAng="1499230"/>
            </a:path>
          </a:pathLst>
        </a:custGeom>
        <a:noFill/>
        <a:ln w="9525" cap="flat" cmpd="sng" algn="ctr">
          <a:solidFill>
            <a:schemeClr val="accent1">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FE5385E-9ED6-4C41-87B6-041C603EF69F}">
      <dsp:nvSpPr>
        <dsp:cNvPr id="0" name=""/>
        <dsp:cNvSpPr/>
      </dsp:nvSpPr>
      <dsp:spPr>
        <a:xfrm>
          <a:off x="1082023" y="775"/>
          <a:ext cx="646332" cy="420116"/>
        </a:xfrm>
        <a:prstGeom prst="roundRect">
          <a:avLst/>
        </a:prstGeom>
        <a:solidFill>
          <a:srgbClr val="20BE60"/>
        </a:solid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fr-FR" sz="900" kern="1200"/>
            <a:t>CEO</a:t>
          </a:r>
        </a:p>
      </dsp:txBody>
      <dsp:txXfrm>
        <a:off x="1102531" y="21283"/>
        <a:ext cx="605316" cy="379100"/>
      </dsp:txXfrm>
    </dsp:sp>
    <dsp:sp modelId="{2B5A2DFF-1927-2F49-94E0-8C661092F163}">
      <dsp:nvSpPr>
        <dsp:cNvPr id="0" name=""/>
        <dsp:cNvSpPr/>
      </dsp:nvSpPr>
      <dsp:spPr>
        <a:xfrm>
          <a:off x="416318" y="210833"/>
          <a:ext cx="1977742" cy="1977742"/>
        </a:xfrm>
        <a:custGeom>
          <a:avLst/>
          <a:gdLst/>
          <a:ahLst/>
          <a:cxnLst/>
          <a:rect l="0" t="0" r="0" b="0"/>
          <a:pathLst>
            <a:path>
              <a:moveTo>
                <a:pt x="1316158" y="55731"/>
              </a:moveTo>
              <a:arcTo wR="988871" hR="988871" stAng="17359661" swAng="1499230"/>
            </a:path>
          </a:pathLst>
        </a:custGeom>
        <a:noFill/>
        <a:ln w="9525" cap="flat" cmpd="sng" algn="ctr">
          <a:solidFill>
            <a:schemeClr val="accent1">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F7868934-1BDA-8540-8B48-9B6093A28EAB}">
      <dsp:nvSpPr>
        <dsp:cNvPr id="0" name=""/>
        <dsp:cNvSpPr/>
      </dsp:nvSpPr>
      <dsp:spPr>
        <a:xfrm>
          <a:off x="1938411" y="495210"/>
          <a:ext cx="646332" cy="420116"/>
        </a:xfrm>
        <a:prstGeom prst="roundRect">
          <a:avLst/>
        </a:prstGeom>
        <a:solidFill>
          <a:schemeClr val="accent1"/>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fr-FR" sz="900" i="0" kern="1200"/>
            <a:t>Data Team</a:t>
          </a:r>
        </a:p>
      </dsp:txBody>
      <dsp:txXfrm>
        <a:off x="1958919" y="515718"/>
        <a:ext cx="605316" cy="379100"/>
      </dsp:txXfrm>
    </dsp:sp>
    <dsp:sp modelId="{43221334-28A9-2E44-BE7A-C124BC965737}">
      <dsp:nvSpPr>
        <dsp:cNvPr id="0" name=""/>
        <dsp:cNvSpPr/>
      </dsp:nvSpPr>
      <dsp:spPr>
        <a:xfrm>
          <a:off x="416318" y="210833"/>
          <a:ext cx="1977742" cy="1977742"/>
        </a:xfrm>
        <a:custGeom>
          <a:avLst/>
          <a:gdLst/>
          <a:ahLst/>
          <a:cxnLst/>
          <a:rect l="0" t="0" r="0" b="0"/>
          <a:pathLst>
            <a:path>
              <a:moveTo>
                <a:pt x="1937589" y="709945"/>
              </a:moveTo>
              <a:arcTo wR="988871" hR="988871" stAng="20616992" swAng="1966016"/>
            </a:path>
          </a:pathLst>
        </a:custGeom>
        <a:noFill/>
        <a:ln w="9525" cap="flat" cmpd="sng" algn="ctr">
          <a:solidFill>
            <a:schemeClr val="accent1">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500CBAAD-84BE-1A40-87A6-3150284EA748}">
      <dsp:nvSpPr>
        <dsp:cNvPr id="0" name=""/>
        <dsp:cNvSpPr/>
      </dsp:nvSpPr>
      <dsp:spPr>
        <a:xfrm>
          <a:off x="1938411" y="1484082"/>
          <a:ext cx="646332" cy="420116"/>
        </a:xfrm>
        <a:prstGeom prst="roundRect">
          <a:avLst/>
        </a:prstGeom>
        <a:solidFill>
          <a:srgbClr val="20BE6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fr-FR" sz="900" kern="1200" err="1"/>
            <a:t>Strategy</a:t>
          </a:r>
          <a:endParaRPr lang="fr-FR" sz="900" i="1" kern="1200"/>
        </a:p>
      </dsp:txBody>
      <dsp:txXfrm>
        <a:off x="1958919" y="1504590"/>
        <a:ext cx="605316" cy="379100"/>
      </dsp:txXfrm>
    </dsp:sp>
    <dsp:sp modelId="{06D82E4D-06FD-6244-B0BE-4F3F1CCC6EA2}">
      <dsp:nvSpPr>
        <dsp:cNvPr id="0" name=""/>
        <dsp:cNvSpPr/>
      </dsp:nvSpPr>
      <dsp:spPr>
        <a:xfrm>
          <a:off x="416318" y="210833"/>
          <a:ext cx="1977742" cy="1977742"/>
        </a:xfrm>
        <a:custGeom>
          <a:avLst/>
          <a:gdLst/>
          <a:ahLst/>
          <a:cxnLst/>
          <a:rect l="0" t="0" r="0" b="0"/>
          <a:pathLst>
            <a:path>
              <a:moveTo>
                <a:pt x="1679697" y="1696420"/>
              </a:moveTo>
              <a:arcTo wR="988871" hR="988871" stAng="2741109" swAng="1499230"/>
            </a:path>
          </a:pathLst>
        </a:custGeom>
        <a:noFill/>
        <a:ln w="9525" cap="flat" cmpd="sng" algn="ctr">
          <a:solidFill>
            <a:schemeClr val="accent1">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82640692-37EB-7944-A4C4-490287E35F3F}">
      <dsp:nvSpPr>
        <dsp:cNvPr id="0" name=""/>
        <dsp:cNvSpPr/>
      </dsp:nvSpPr>
      <dsp:spPr>
        <a:xfrm>
          <a:off x="1082023" y="1978517"/>
          <a:ext cx="646332" cy="420116"/>
        </a:xfrm>
        <a:prstGeom prst="roundRect">
          <a:avLst/>
        </a:prstGeom>
        <a:solidFill>
          <a:srgbClr val="20BE6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fr-FR" sz="900" kern="1200" err="1"/>
            <a:t>Supply</a:t>
          </a:r>
          <a:r>
            <a:rPr lang="fr-FR" sz="900" kern="1200"/>
            <a:t> Chain</a:t>
          </a:r>
          <a:endParaRPr lang="fr-FR" sz="900" i="1" kern="1200"/>
        </a:p>
      </dsp:txBody>
      <dsp:txXfrm>
        <a:off x="1102531" y="1999025"/>
        <a:ext cx="605316" cy="379100"/>
      </dsp:txXfrm>
    </dsp:sp>
    <dsp:sp modelId="{1089AFA7-2479-2F49-A7F6-EF33DE1C4BC0}">
      <dsp:nvSpPr>
        <dsp:cNvPr id="0" name=""/>
        <dsp:cNvSpPr/>
      </dsp:nvSpPr>
      <dsp:spPr>
        <a:xfrm>
          <a:off x="416318" y="210833"/>
          <a:ext cx="1977742" cy="1977742"/>
        </a:xfrm>
        <a:custGeom>
          <a:avLst/>
          <a:gdLst/>
          <a:ahLst/>
          <a:cxnLst/>
          <a:rect l="0" t="0" r="0" b="0"/>
          <a:pathLst>
            <a:path>
              <a:moveTo>
                <a:pt x="661584" y="1922010"/>
              </a:moveTo>
              <a:arcTo wR="988871" hR="988871" stAng="6559661" swAng="1499230"/>
            </a:path>
          </a:pathLst>
        </a:custGeom>
        <a:noFill/>
        <a:ln w="9525" cap="flat" cmpd="sng" algn="ctr">
          <a:solidFill>
            <a:schemeClr val="accent1">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59934DFA-3F9E-EB47-A09A-239528D9706C}">
      <dsp:nvSpPr>
        <dsp:cNvPr id="0" name=""/>
        <dsp:cNvSpPr/>
      </dsp:nvSpPr>
      <dsp:spPr>
        <a:xfrm>
          <a:off x="225636" y="1484082"/>
          <a:ext cx="646332" cy="420116"/>
        </a:xfrm>
        <a:prstGeom prst="roundRect">
          <a:avLst/>
        </a:prstGeom>
        <a:solidFill>
          <a:schemeClr val="accent1"/>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fr-FR" sz="900" kern="1200"/>
            <a:t>Sales</a:t>
          </a:r>
          <a:endParaRPr lang="fr-FR" sz="900" i="1" kern="1200"/>
        </a:p>
      </dsp:txBody>
      <dsp:txXfrm>
        <a:off x="246144" y="1504590"/>
        <a:ext cx="605316" cy="379100"/>
      </dsp:txXfrm>
    </dsp:sp>
    <dsp:sp modelId="{D6E5B313-C249-964E-B4C6-7EB6689A3EFB}">
      <dsp:nvSpPr>
        <dsp:cNvPr id="0" name=""/>
        <dsp:cNvSpPr/>
      </dsp:nvSpPr>
      <dsp:spPr>
        <a:xfrm>
          <a:off x="416318" y="210833"/>
          <a:ext cx="1977742" cy="1977742"/>
        </a:xfrm>
        <a:custGeom>
          <a:avLst/>
          <a:gdLst/>
          <a:ahLst/>
          <a:cxnLst/>
          <a:rect l="0" t="0" r="0" b="0"/>
          <a:pathLst>
            <a:path>
              <a:moveTo>
                <a:pt x="40152" y="1267796"/>
              </a:moveTo>
              <a:arcTo wR="988871" hR="988871" stAng="9816992" swAng="1966016"/>
            </a:path>
          </a:pathLst>
        </a:custGeom>
        <a:noFill/>
        <a:ln w="9525" cap="flat" cmpd="sng" algn="ctr">
          <a:solidFill>
            <a:schemeClr val="accent1">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98A95401-46E8-D84C-8B78-C3B39DDB2FDE}">
      <dsp:nvSpPr>
        <dsp:cNvPr id="0" name=""/>
        <dsp:cNvSpPr/>
      </dsp:nvSpPr>
      <dsp:spPr>
        <a:xfrm>
          <a:off x="225636" y="495210"/>
          <a:ext cx="646332" cy="420116"/>
        </a:xfrm>
        <a:prstGeom prst="roundRect">
          <a:avLst/>
        </a:prstGeom>
        <a:solidFill>
          <a:srgbClr val="20BE6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fr-FR" sz="900" i="0" kern="1200"/>
            <a:t>Marketing</a:t>
          </a:r>
        </a:p>
      </dsp:txBody>
      <dsp:txXfrm>
        <a:off x="246144" y="515718"/>
        <a:ext cx="605316" cy="379100"/>
      </dsp:txXfrm>
    </dsp:sp>
    <dsp:sp modelId="{6636D371-FF8C-C64E-82BD-3293BB3A5746}">
      <dsp:nvSpPr>
        <dsp:cNvPr id="0" name=""/>
        <dsp:cNvSpPr/>
      </dsp:nvSpPr>
      <dsp:spPr>
        <a:xfrm>
          <a:off x="416318" y="210833"/>
          <a:ext cx="1977742" cy="1977742"/>
        </a:xfrm>
        <a:custGeom>
          <a:avLst/>
          <a:gdLst/>
          <a:ahLst/>
          <a:cxnLst/>
          <a:rect l="0" t="0" r="0" b="0"/>
          <a:pathLst>
            <a:path>
              <a:moveTo>
                <a:pt x="298045" y="281322"/>
              </a:moveTo>
              <a:arcTo wR="988871" hR="988871" stAng="13541109" swAng="1499230"/>
            </a:path>
          </a:pathLst>
        </a:custGeom>
        <a:noFill/>
        <a:ln w="9525" cap="flat" cmpd="sng" algn="ctr">
          <a:solidFill>
            <a:schemeClr val="accent1">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4C000F8-8E39-1F4C-96E1-50B41E28ABF4}">
      <dsp:nvSpPr>
        <dsp:cNvPr id="0" name=""/>
        <dsp:cNvSpPr/>
      </dsp:nvSpPr>
      <dsp:spPr>
        <a:xfrm>
          <a:off x="333" y="134025"/>
          <a:ext cx="291254" cy="116501"/>
        </a:xfrm>
        <a:prstGeom prst="homePlate">
          <a:avLst/>
        </a:prstGeom>
        <a:solidFill>
          <a:schemeClr val="bg1"/>
        </a:solidFill>
        <a:ln w="10795" cap="flat" cmpd="sng" algn="ctr">
          <a:solidFill>
            <a:srgbClr val="104B26"/>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6002" rIns="8001" bIns="16002" numCol="1" spcCol="1270" anchor="ctr" anchorCtr="0">
          <a:noAutofit/>
        </a:bodyPr>
        <a:lstStyle/>
        <a:p>
          <a:pPr marL="0" lvl="0" indent="0" algn="ctr" defTabSz="266700">
            <a:lnSpc>
              <a:spcPct val="90000"/>
            </a:lnSpc>
            <a:spcBef>
              <a:spcPct val="0"/>
            </a:spcBef>
            <a:spcAft>
              <a:spcPct val="35000"/>
            </a:spcAft>
            <a:buNone/>
          </a:pPr>
          <a:endParaRPr lang="fr-FR" sz="600" kern="1200">
            <a:solidFill>
              <a:schemeClr val="accent1"/>
            </a:solidFill>
          </a:endParaRPr>
        </a:p>
      </dsp:txBody>
      <dsp:txXfrm>
        <a:off x="333" y="134025"/>
        <a:ext cx="262129" cy="116501"/>
      </dsp:txXfrm>
    </dsp:sp>
    <dsp:sp modelId="{2FC5D6DE-CF96-3B4E-9C6C-F9232D3E9B23}">
      <dsp:nvSpPr>
        <dsp:cNvPr id="0" name=""/>
        <dsp:cNvSpPr/>
      </dsp:nvSpPr>
      <dsp:spPr>
        <a:xfrm>
          <a:off x="233337" y="134025"/>
          <a:ext cx="291254" cy="116501"/>
        </a:xfrm>
        <a:prstGeom prst="chevron">
          <a:avLst/>
        </a:prstGeom>
        <a:solidFill>
          <a:schemeClr val="bg1"/>
        </a:solidFill>
        <a:ln w="10795" cap="flat" cmpd="sng" algn="ctr">
          <a:solidFill>
            <a:srgbClr val="104B26"/>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 tIns="16002" rIns="8001" bIns="16002" numCol="1" spcCol="1270" anchor="ctr" anchorCtr="0">
          <a:noAutofit/>
        </a:bodyPr>
        <a:lstStyle/>
        <a:p>
          <a:pPr marL="0" lvl="0" indent="0" algn="ctr" defTabSz="266700">
            <a:lnSpc>
              <a:spcPct val="90000"/>
            </a:lnSpc>
            <a:spcBef>
              <a:spcPct val="0"/>
            </a:spcBef>
            <a:spcAft>
              <a:spcPct val="35000"/>
            </a:spcAft>
            <a:buNone/>
          </a:pPr>
          <a:endParaRPr lang="fr-FR" sz="600" kern="1200">
            <a:solidFill>
              <a:schemeClr val="accent1"/>
            </a:solidFill>
          </a:endParaRPr>
        </a:p>
      </dsp:txBody>
      <dsp:txXfrm>
        <a:off x="291588" y="134025"/>
        <a:ext cx="174753" cy="116501"/>
      </dsp:txXfrm>
    </dsp:sp>
    <dsp:sp modelId="{1F51B6B9-F343-8D47-B74F-F11847E54798}">
      <dsp:nvSpPr>
        <dsp:cNvPr id="0" name=""/>
        <dsp:cNvSpPr/>
      </dsp:nvSpPr>
      <dsp:spPr>
        <a:xfrm>
          <a:off x="466340" y="134032"/>
          <a:ext cx="291254" cy="116486"/>
        </a:xfrm>
        <a:prstGeom prst="chevron">
          <a:avLst/>
        </a:prstGeom>
        <a:solidFill>
          <a:schemeClr val="bg1"/>
        </a:solidFill>
        <a:ln w="10795" cap="flat" cmpd="sng" algn="ctr">
          <a:solidFill>
            <a:srgbClr val="104B26"/>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 tIns="16002" rIns="8001" bIns="16002" numCol="1" spcCol="1270" anchor="ctr" anchorCtr="0">
          <a:noAutofit/>
        </a:bodyPr>
        <a:lstStyle/>
        <a:p>
          <a:pPr marL="0" lvl="0" indent="0" algn="ctr" defTabSz="266700">
            <a:lnSpc>
              <a:spcPct val="90000"/>
            </a:lnSpc>
            <a:spcBef>
              <a:spcPct val="0"/>
            </a:spcBef>
            <a:spcAft>
              <a:spcPct val="35000"/>
            </a:spcAft>
            <a:buNone/>
          </a:pPr>
          <a:endParaRPr lang="fr-FR" sz="600" kern="1200">
            <a:solidFill>
              <a:schemeClr val="accent1"/>
            </a:solidFill>
          </a:endParaRPr>
        </a:p>
      </dsp:txBody>
      <dsp:txXfrm>
        <a:off x="524583" y="134032"/>
        <a:ext cx="174768" cy="116486"/>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8/layout/HalfCircleOrganizationChart">
  <dgm:title val=""/>
  <dgm:desc val=""/>
  <dgm:catLst>
    <dgm:cat type="hierarchy" pri="1500"/>
  </dgm:catLst>
  <dgm:sampData>
    <dgm:dataModel>
      <dgm:ptLst>
        <dgm:pt modelId="0" type="doc"/>
        <dgm:pt modelId="1">
          <dgm:prSet phldr="1"/>
        </dgm:pt>
        <dgm:pt modelId="11" type="asst">
          <dgm:prSet phldr="1"/>
        </dgm:pt>
        <dgm:pt modelId="12">
          <dgm:prSet phldr="1"/>
        </dgm:pt>
        <dgm:pt modelId="13">
          <dgm:prSet phldr="1"/>
        </dgm:pt>
        <dgm:pt modelId="14">
          <dgm:prSet phldr="1"/>
        </dgm:pt>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type="asst">
          <dgm:prSet phldr="1"/>
        </dgm:pt>
        <dgm:pt modelId="12">
          <dgm:prSet phldr="1"/>
        </dgm:pt>
        <dgm:pt modelId="13">
          <dgm:prSet phldr="1"/>
        </dgm:pt>
        <dgm:pt modelId="14">
          <dgm:prSet phldr="1"/>
        </dgm:pt>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Name0">
    <dgm:varLst>
      <dgm:orgChart val="1"/>
      <dgm:chPref val="1"/>
      <dgm:dir/>
      <dgm:animOne val="branch"/>
      <dgm:animLvl val="lvl"/>
      <dgm:resizeHandles/>
    </dgm:varLst>
    <dgm:choose name="Name1">
      <dgm:if name="Name2" func="var" arg="dir" op="equ" val="norm">
        <dgm:alg type="hierChild">
          <dgm:param type="linDir" val="fromL"/>
        </dgm:alg>
      </dgm:if>
      <dgm:else name="Name3">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2" refType="w" fact="10"/>
      <dgm:constr type="h" for="des" forName="rootComposite2"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forEach name="Name4" axis="ch">
      <dgm:forEach name="Name5" axis="self" ptType="node">
        <dgm:layoutNode name="hierRoot1">
          <dgm:varLst>
            <dgm:hierBranch val="init"/>
          </dgm:varLst>
          <dgm:choose name="Name6">
            <dgm:if name="Name7" func="var" arg="hierBranch" op="equ" val="l">
              <dgm:alg type="hierRoot">
                <dgm:param type="hierAlign" val="tR"/>
              </dgm:alg>
              <dgm:constrLst>
                <dgm:constr type="alignOff" val="0.65"/>
              </dgm:constrLst>
            </dgm:if>
            <dgm:if name="Name8" func="var" arg="hierBranch" op="equ" val="r">
              <dgm:alg type="hierRoot">
                <dgm:param type="hierAlign" val="tL"/>
              </dgm:alg>
              <dgm:constrLst>
                <dgm:constr type="alignOff" val="0.65"/>
              </dgm:constrLst>
            </dgm:if>
            <dgm:if name="Name9" func="var" arg="hierBranch" op="equ" val="hang">
              <dgm:alg type="hierRoot"/>
              <dgm:constrLst>
                <dgm:constr type="alignOff" val="0.65"/>
              </dgm:constrLst>
            </dgm:if>
            <dgm:else name="Name10">
              <dgm:alg type="hierRoot"/>
              <dgm:constrLst>
                <dgm:constr type="alignOff"/>
                <dgm:constr type="bendDist" for="des" ptType="parTrans" refType="sp" fact="0.5"/>
              </dgm:constrLst>
            </dgm:else>
          </dgm:choose>
          <dgm:shape xmlns:r="http://schemas.openxmlformats.org/officeDocument/2006/relationships" r:blip="">
            <dgm:adjLst/>
          </dgm:shape>
          <dgm:presOf/>
          <dgm:layoutNode name="rootComposite1">
            <dgm:alg type="composite"/>
            <dgm:shape xmlns:r="http://schemas.openxmlformats.org/officeDocument/2006/relationships" r:blip="">
              <dgm:adjLst/>
            </dgm:shape>
            <dgm:presOf axis="self" ptType="node" cnt="1"/>
            <dgm:choose name="Name11">
              <dgm:if name="Name12" func="var" arg="hierBranch" op="equ" val="init">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if>
              <dgm:if name="Name13" func="var" arg="hierBranch" op="equ" val="l">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if>
              <dgm:if name="Name14" func="var" arg="hierBranch" op="equ" val="r">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if>
              <dgm:else name="Name15">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else>
            </dgm:choose>
            <dgm:layoutNode name="rootText1" styleLbl="alignAcc1">
              <dgm:varLst>
                <dgm:chPref val="3"/>
              </dgm:varLst>
              <dgm:alg type="tx"/>
              <dgm:shape xmlns:r="http://schemas.openxmlformats.org/officeDocument/2006/relationships" type="rect" r:blip="" hideGeom="1">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topArc1" styleLbl="parChTrans1D1" moveWith="rootText1">
              <dgm:alg type="sp"/>
              <dgm:shape xmlns:r="http://schemas.openxmlformats.org/officeDocument/2006/relationships" type="arc" r:blip="" zOrderOff="-2">
                <dgm:adjLst>
                  <dgm:adj idx="1" val="-140"/>
                  <dgm:adj idx="2" val="-40"/>
                </dgm:adjLst>
              </dgm:shape>
              <dgm:presOf/>
            </dgm:layoutNode>
            <dgm:layoutNode name="bottomArc1" styleLbl="parChTrans1D1" moveWith="rootText1">
              <dgm:alg type="sp"/>
              <dgm:shape xmlns:r="http://schemas.openxmlformats.org/officeDocument/2006/relationships" type="arc" r:blip="" zOrderOff="-2">
                <dgm:adjLst>
                  <dgm:adj idx="1" val="40"/>
                  <dgm:adj idx="2" val="140"/>
                </dgm:adjLst>
              </dgm:shape>
              <dgm:presOf/>
            </dgm:layoutNode>
            <dgm:layoutNode name="topConnNode1" moveWith="rootText1">
              <dgm:alg type="sp"/>
              <dgm:shape xmlns:r="http://schemas.openxmlformats.org/officeDocument/2006/relationships" type="rect" r:blip="" hideGeom="1">
                <dgm:adjLst/>
              </dgm:shape>
              <dgm:presOf axis="self" ptType="node" cnt="1"/>
            </dgm:layoutNode>
          </dgm:layoutNode>
          <dgm:layoutNode name="hierChild2">
            <dgm:choose name="Name16">
              <dgm:if name="Name17" func="var" arg="hierBranch" op="equ" val="l">
                <dgm:alg type="hierChild">
                  <dgm:param type="chAlign" val="r"/>
                  <dgm:param type="linDir" val="fromT"/>
                </dgm:alg>
              </dgm:if>
              <dgm:if name="Name18" func="var" arg="hierBranch" op="equ" val="r">
                <dgm:alg type="hierChild">
                  <dgm:param type="chAlign" val="l"/>
                  <dgm:param type="linDir" val="fromT"/>
                </dgm:alg>
              </dgm:if>
              <dgm:if name="Name19" func="var" arg="hierBranch" op="equ" val="hang">
                <dgm:choose name="Name20">
                  <dgm:if name="Name21" func="var" arg="dir" op="equ" val="norm">
                    <dgm:alg type="hierChild">
                      <dgm:param type="chAlign" val="l"/>
                      <dgm:param type="linDir" val="fromL"/>
                      <dgm:param type="secChAlign" val="t"/>
                      <dgm:param type="secLinDir" val="fromT"/>
                    </dgm:alg>
                  </dgm:if>
                  <dgm:else name="Name22">
                    <dgm:alg type="hierChild">
                      <dgm:param type="chAlign" val="l"/>
                      <dgm:param type="linDir" val="fromR"/>
                      <dgm:param type="secChAlign" val="t"/>
                      <dgm:param type="secLinDir" val="fromT"/>
                    </dgm:alg>
                  </dgm:else>
                </dgm:choose>
              </dgm:if>
              <dgm:else name="Name23">
                <dgm:choose name="Name24">
                  <dgm:if name="Name25" func="var" arg="dir" op="equ" val="norm">
                    <dgm:alg type="hierChild"/>
                  </dgm:if>
                  <dgm:else name="Name26">
                    <dgm:alg type="hierChild">
                      <dgm:param type="linDir" val="fromR"/>
                    </dgm:alg>
                  </dgm:else>
                </dgm:choose>
              </dgm:else>
            </dgm:choose>
            <dgm:shape xmlns:r="http://schemas.openxmlformats.org/officeDocument/2006/relationships" r:blip="">
              <dgm:adjLst/>
            </dgm:shape>
            <dgm:presOf/>
            <dgm:forEach name="rep2a" axis="ch" ptType="nonAsst">
              <dgm:forEach name="Name27" axis="precedSib" ptType="parTrans" st="-1" cnt="1">
                <dgm:layoutNode name="Name28">
                  <dgm:choose name="Name29">
                    <dgm:if name="Name30" func="var" arg="hierBranch" op="equ" val="std">
                      <dgm:choose name="Name31">
                        <dgm:if name="Name32" axis="self" func="depth" op="lte" val="2">
                          <dgm:alg type="conn">
                            <dgm:param type="connRout" val="bend"/>
                            <dgm:param type="dim" val="1D"/>
                            <dgm:param type="endSty" val="noArr"/>
                            <dgm:param type="begPts" val="bCtr"/>
                            <dgm:param type="endPts" val="tCtr"/>
                            <dgm:param type="bendPt" val="end"/>
                            <dgm:param type="srcNode" val="bottomArc1"/>
                            <dgm:param type="dstNode" val="topArc2"/>
                          </dgm:alg>
                        </dgm:if>
                        <dgm:if name="Name33" axis="par" ptType="asst" func="cnt" op="equ" val="1">
                          <dgm:alg type="conn">
                            <dgm:param type="connRout" val="bend"/>
                            <dgm:param type="dim" val="1D"/>
                            <dgm:param type="endSty" val="noArr"/>
                            <dgm:param type="begPts" val="bCtr"/>
                            <dgm:param type="endPts" val="tCtr"/>
                            <dgm:param type="bendPt" val="end"/>
                            <dgm:param type="srcNode" val="bottomArc3"/>
                            <dgm:param type="dstNode" val="topArc2"/>
                          </dgm:alg>
                        </dgm:if>
                        <dgm:else name="Name34">
                          <dgm:alg type="conn">
                            <dgm:param type="connRout" val="bend"/>
                            <dgm:param type="dim" val="1D"/>
                            <dgm:param type="endSty" val="noArr"/>
                            <dgm:param type="begPts" val="bCtr"/>
                            <dgm:param type="endPts" val="tCtr"/>
                            <dgm:param type="bendPt" val="end"/>
                            <dgm:param type="srcNode" val="bottomArc2"/>
                            <dgm:param type="dstNode" val="topArc2"/>
                          </dgm:alg>
                        </dgm:else>
                      </dgm:choose>
                    </dgm:if>
                    <dgm:if name="Name35" func="var" arg="hierBranch" op="equ" val="init">
                      <dgm:choose name="Name36">
                        <dgm:if name="Name37" axis="self" func="depth" op="lte" val="2">
                          <dgm:choose name="Name38">
                            <dgm:if name="Name39" axis="self" func="depth" op="lte" val="2">
                              <dgm:alg type="conn">
                                <dgm:param type="connRout" val="bend"/>
                                <dgm:param type="dim" val="1D"/>
                                <dgm:param type="endSty" val="noArr"/>
                                <dgm:param type="begPts" val="bCtr"/>
                                <dgm:param type="endPts" val="tCtr"/>
                                <dgm:param type="bendPt" val="end"/>
                                <dgm:param type="srcNode" val="bottomArc1"/>
                                <dgm:param type="dstNode" val="topArc2"/>
                              </dgm:alg>
                            </dgm:if>
                            <dgm:if name="Name40" axis="par" ptType="asst" func="cnt" op="equ" val="1">
                              <dgm:alg type="conn">
                                <dgm:param type="connRout" val="bend"/>
                                <dgm:param type="dim" val="1D"/>
                                <dgm:param type="endSty" val="noArr"/>
                                <dgm:param type="begPts" val="bCtr"/>
                                <dgm:param type="endPts" val="tCtr"/>
                                <dgm:param type="bendPt" val="end"/>
                                <dgm:param type="srcNode" val="bottomArc3"/>
                                <dgm:param type="dstNode" val="topArc2"/>
                              </dgm:alg>
                            </dgm:if>
                            <dgm:else name="Name41">
                              <dgm:alg type="conn">
                                <dgm:param type="connRout" val="bend"/>
                                <dgm:param type="dim" val="1D"/>
                                <dgm:param type="endSty" val="noArr"/>
                                <dgm:param type="begPts" val="bCtr"/>
                                <dgm:param type="endPts" val="tCtr"/>
                                <dgm:param type="bendPt" val="end"/>
                                <dgm:param type="srcNode" val="bottomArc2"/>
                                <dgm:param type="dstNode" val="topArc2"/>
                              </dgm:alg>
                            </dgm:else>
                          </dgm:choose>
                        </dgm:if>
                        <dgm:else name="Name42">
                          <dgm:choose name="Name43">
                            <dgm:if name="Name44" axis="par des" func="maxDepth" op="lte" val="1">
                              <dgm:choose name="Name45">
                                <dgm:if name="Name46" axis="self" func="depth" op="lte" val="2">
                                  <dgm:alg type="conn">
                                    <dgm:param type="connRout" val="bend"/>
                                    <dgm:param type="dim" val="1D"/>
                                    <dgm:param type="endSty" val="noArr"/>
                                    <dgm:param type="begPts" val="bCtr"/>
                                    <dgm:param type="endPts" val="bL bR"/>
                                    <dgm:param type="srcNode" val="bottomArc1"/>
                                    <dgm:param type="dstNode" val="topConnNode2"/>
                                  </dgm:alg>
                                </dgm:if>
                                <dgm:if name="Name47" axis="par" ptType="asst" func="cnt" op="equ" val="1">
                                  <dgm:alg type="conn">
                                    <dgm:param type="connRout" val="bend"/>
                                    <dgm:param type="dim" val="1D"/>
                                    <dgm:param type="endSty" val="noArr"/>
                                    <dgm:param type="begPts" val="bCtr"/>
                                    <dgm:param type="endPts" val="bL bR"/>
                                    <dgm:param type="srcNode" val="bottomArc3"/>
                                    <dgm:param type="dstNode" val="topConnNode2"/>
                                  </dgm:alg>
                                </dgm:if>
                                <dgm:else name="Name48">
                                  <dgm:alg type="conn">
                                    <dgm:param type="connRout" val="bend"/>
                                    <dgm:param type="dim" val="1D"/>
                                    <dgm:param type="endSty" val="noArr"/>
                                    <dgm:param type="begPts" val="bCtr"/>
                                    <dgm:param type="endPts" val="bL bR"/>
                                    <dgm:param type="srcNode" val="bottomArc2"/>
                                    <dgm:param type="dstNode" val="topConnNode2"/>
                                  </dgm:alg>
                                </dgm:else>
                              </dgm:choose>
                            </dgm:if>
                            <dgm:else name="Name49">
                              <dgm:choose name="Name50">
                                <dgm:if name="Name51" axis="self" func="depth" op="lte" val="2">
                                  <dgm:alg type="conn">
                                    <dgm:param type="connRout" val="bend"/>
                                    <dgm:param type="dim" val="1D"/>
                                    <dgm:param type="endSty" val="noArr"/>
                                    <dgm:param type="begPts" val="bCtr"/>
                                    <dgm:param type="endPts" val="tCtr"/>
                                    <dgm:param type="bendPt" val="end"/>
                                    <dgm:param type="srcNode" val="bottomArc1"/>
                                    <dgm:param type="dstNode" val="topArc2"/>
                                  </dgm:alg>
                                </dgm:if>
                                <dgm:if name="Name52" axis="par" ptType="asst" func="cnt" op="equ" val="1">
                                  <dgm:alg type="conn">
                                    <dgm:param type="connRout" val="bend"/>
                                    <dgm:param type="dim" val="1D"/>
                                    <dgm:param type="endSty" val="noArr"/>
                                    <dgm:param type="begPts" val="bCtr"/>
                                    <dgm:param type="endPts" val="tCtr"/>
                                    <dgm:param type="bendPt" val="end"/>
                                    <dgm:param type="srcNode" val="bottomArc3"/>
                                    <dgm:param type="dstNode" val="topArc2"/>
                                  </dgm:alg>
                                </dgm:if>
                                <dgm:else name="Name53">
                                  <dgm:alg type="conn">
                                    <dgm:param type="connRout" val="bend"/>
                                    <dgm:param type="dim" val="1D"/>
                                    <dgm:param type="endSty" val="noArr"/>
                                    <dgm:param type="begPts" val="bCtr"/>
                                    <dgm:param type="endPts" val="tCtr"/>
                                    <dgm:param type="bendPt" val="end"/>
                                    <dgm:param type="srcNode" val="bottomArc2"/>
                                    <dgm:param type="dstNode" val="topArc2"/>
                                  </dgm:alg>
                                </dgm:else>
                              </dgm:choose>
                            </dgm:else>
                          </dgm:choose>
                        </dgm:else>
                      </dgm:choose>
                    </dgm:if>
                    <dgm:else name="Name54">
                      <dgm:choose name="Name55">
                        <dgm:if name="Name56" axis="self" func="depth" op="lte" val="2">
                          <dgm:alg type="conn">
                            <dgm:param type="connRout" val="bend"/>
                            <dgm:param type="dim" val="1D"/>
                            <dgm:param type="endSty" val="noArr"/>
                            <dgm:param type="begPts" val="bCtr"/>
                            <dgm:param type="endPts" val="bL bR"/>
                            <dgm:param type="srcNode" val="bottomArc1"/>
                            <dgm:param type="dstNode" val="topConnNode2"/>
                          </dgm:alg>
                        </dgm:if>
                        <dgm:if name="Name57" axis="par" ptType="asst" func="cnt" op="equ" val="1">
                          <dgm:alg type="conn">
                            <dgm:param type="connRout" val="bend"/>
                            <dgm:param type="dim" val="1D"/>
                            <dgm:param type="endSty" val="noArr"/>
                            <dgm:param type="begPts" val="bCtr"/>
                            <dgm:param type="endPts" val="bL bR"/>
                            <dgm:param type="srcNode" val="bottomArc3"/>
                            <dgm:param type="dstNode" val="topConnNode2"/>
                          </dgm:alg>
                        </dgm:if>
                        <dgm:else name="Name58">
                          <dgm:alg type="conn">
                            <dgm:param type="connRout" val="bend"/>
                            <dgm:param type="dim" val="1D"/>
                            <dgm:param type="endSty" val="noArr"/>
                            <dgm:param type="begPts" val="bCtr"/>
                            <dgm:param type="endPts" val="bL bR"/>
                            <dgm:param type="srcNode" val="bottomArc2"/>
                            <dgm:param type="dstNode" val="topConnNode2"/>
                          </dgm:alg>
                        </dgm:else>
                      </dgm:choose>
                    </dgm:else>
                  </dgm:choose>
                  <dgm:shape xmlns:r="http://schemas.openxmlformats.org/officeDocument/2006/relationships" type="conn" r:blip="" zOrderOff="-99999">
                    <dgm:adjLst/>
                  </dgm:shape>
                  <dgm:presOf axis="self"/>
                  <dgm:constrLst>
                    <dgm:constr type="begPad"/>
                    <dgm:constr type="endPad"/>
                  </dgm:constrLst>
                </dgm:layoutNode>
              </dgm:forEach>
              <dgm:layoutNode name="hierRoot2">
                <dgm:varLst>
                  <dgm:hierBranch val="init"/>
                </dgm:varLst>
                <dgm:choose name="Name59">
                  <dgm:if name="Name60" func="var" arg="hierBranch" op="equ" val="l">
                    <dgm:alg type="hierRoot">
                      <dgm:param type="hierAlign" val="tR"/>
                    </dgm:alg>
                    <dgm:shape xmlns:r="http://schemas.openxmlformats.org/officeDocument/2006/relationships" r:blip="">
                      <dgm:adjLst/>
                    </dgm:shape>
                    <dgm:presOf/>
                    <dgm:constrLst>
                      <dgm:constr type="alignOff" val="0.65"/>
                    </dgm:constrLst>
                  </dgm:if>
                  <dgm:if name="Name61" func="var" arg="hierBranch" op="equ" val="r">
                    <dgm:alg type="hierRoot">
                      <dgm:param type="hierAlign" val="tL"/>
                    </dgm:alg>
                    <dgm:shape xmlns:r="http://schemas.openxmlformats.org/officeDocument/2006/relationships" r:blip="">
                      <dgm:adjLst/>
                    </dgm:shape>
                    <dgm:presOf/>
                    <dgm:constrLst>
                      <dgm:constr type="alignOff" val="0.65"/>
                    </dgm:constrLst>
                  </dgm:if>
                  <dgm:if name="Name62"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63" func="var" arg="hierBranch" op="equ" val="init">
                    <dgm:choose name="Name64">
                      <dgm:if name="Name65" axis="des" func="maxDepth" op="lte" val="1">
                        <dgm:alg type="hierRoot">
                          <dgm:param type="hierAlign" val="tL"/>
                        </dgm:alg>
                        <dgm:shape xmlns:r="http://schemas.openxmlformats.org/officeDocument/2006/relationships" r:blip="">
                          <dgm:adjLst/>
                        </dgm:shape>
                        <dgm:presOf/>
                        <dgm:constrLst>
                          <dgm:constr type="alignOff" val="0.65"/>
                        </dgm:constrLst>
                      </dgm:if>
                      <dgm:else name="Name6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67">
                    <dgm:alg type="hierRoot"/>
                    <dgm:shape xmlns:r="http://schemas.openxmlformats.org/officeDocument/2006/relationships" r:blip="">
                      <dgm:adjLst/>
                    </dgm:shape>
                    <dgm:presOf/>
                    <dgm:constrLst>
                      <dgm:constr type="alignOff" val="0.65"/>
                    </dgm:constrLst>
                  </dgm:else>
                </dgm:choose>
                <dgm:layoutNode name="rootComposite2">
                  <dgm:alg type="composite"/>
                  <dgm:shape xmlns:r="http://schemas.openxmlformats.org/officeDocument/2006/relationships" r:blip="">
                    <dgm:adjLst/>
                  </dgm:shape>
                  <dgm:presOf axis="self" ptType="node" cnt="1"/>
                  <dgm:choose name="Name68">
                    <dgm:if name="Name69" func="var" arg="hierBranch" op="equ" val="init">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if>
                    <dgm:if name="Name70" func="var" arg="hierBranch" op="equ" val="l">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if>
                    <dgm:if name="Name71" func="var" arg="hierBranch" op="equ" val="r">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if>
                    <dgm:else name="Name72">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else>
                  </dgm:choose>
                  <dgm:layoutNode name="rootText2" styleLbl="alignAcc1">
                    <dgm:varLst>
                      <dgm:chPref val="3"/>
                    </dgm:varLst>
                    <dgm:alg type="tx"/>
                    <dgm:shape xmlns:r="http://schemas.openxmlformats.org/officeDocument/2006/relationships" type="rect" r:blip="" hideGeom="1">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topArc2" styleLbl="parChTrans1D1" moveWith="rootText2">
                    <dgm:alg type="sp"/>
                    <dgm:shape xmlns:r="http://schemas.openxmlformats.org/officeDocument/2006/relationships" type="arc" r:blip="" zOrderOff="-2">
                      <dgm:adjLst>
                        <dgm:adj idx="1" val="-140"/>
                        <dgm:adj idx="2" val="-40"/>
                      </dgm:adjLst>
                    </dgm:shape>
                    <dgm:presOf/>
                  </dgm:layoutNode>
                  <dgm:layoutNode name="bottomArc2" styleLbl="parChTrans1D1" moveWith="rootText2">
                    <dgm:alg type="sp"/>
                    <dgm:shape xmlns:r="http://schemas.openxmlformats.org/officeDocument/2006/relationships" type="arc" r:blip="" zOrderOff="-2">
                      <dgm:adjLst>
                        <dgm:adj idx="1" val="40"/>
                        <dgm:adj idx="2" val="140"/>
                      </dgm:adjLst>
                    </dgm:shape>
                    <dgm:presOf/>
                  </dgm:layoutNode>
                  <dgm:layoutNode name="topConnNode2" moveWith="rootText2">
                    <dgm:alg type="sp"/>
                    <dgm:shape xmlns:r="http://schemas.openxmlformats.org/officeDocument/2006/relationships" type="rect" r:blip="" hideGeom="1">
                      <dgm:adjLst/>
                    </dgm:shape>
                    <dgm:presOf axis="self" ptType="node" cnt="1"/>
                  </dgm:layoutNode>
                </dgm:layoutNode>
                <dgm:layoutNode name="hierChild4">
                  <dgm:choose name="Name73">
                    <dgm:if name="Name74" func="var" arg="hierBranch" op="equ" val="l">
                      <dgm:alg type="hierChild">
                        <dgm:param type="chAlign" val="r"/>
                        <dgm:param type="linDir" val="fromT"/>
                      </dgm:alg>
                    </dgm:if>
                    <dgm:if name="Name75" func="var" arg="hierBranch" op="equ" val="r">
                      <dgm:alg type="hierChild">
                        <dgm:param type="chAlign" val="l"/>
                        <dgm:param type="linDir" val="fromT"/>
                      </dgm:alg>
                    </dgm:if>
                    <dgm:if name="Name76" func="var" arg="hierBranch" op="equ" val="hang">
                      <dgm:choose name="Name77">
                        <dgm:if name="Name78" func="var" arg="dir" op="equ" val="norm">
                          <dgm:alg type="hierChild">
                            <dgm:param type="chAlign" val="l"/>
                            <dgm:param type="linDir" val="fromL"/>
                            <dgm:param type="secChAlign" val="t"/>
                            <dgm:param type="secLinDir" val="fromT"/>
                          </dgm:alg>
                        </dgm:if>
                        <dgm:else name="Name79">
                          <dgm:alg type="hierChild">
                            <dgm:param type="chAlign" val="l"/>
                            <dgm:param type="linDir" val="fromR"/>
                            <dgm:param type="secChAlign" val="t"/>
                            <dgm:param type="secLinDir" val="fromT"/>
                          </dgm:alg>
                        </dgm:else>
                      </dgm:choose>
                    </dgm:if>
                    <dgm:if name="Name80" func="var" arg="hierBranch" op="equ" val="std">
                      <dgm:choose name="Name81">
                        <dgm:if name="Name82" func="var" arg="dir" op="equ" val="norm">
                          <dgm:alg type="hierChild"/>
                        </dgm:if>
                        <dgm:else name="Name83">
                          <dgm:alg type="hierChild">
                            <dgm:param type="linDir" val="fromR"/>
                          </dgm:alg>
                        </dgm:else>
                      </dgm:choose>
                    </dgm:if>
                    <dgm:if name="Name84" func="var" arg="hierBranch" op="equ" val="init">
                      <dgm:choose name="Name85">
                        <dgm:if name="Name86" axis="des" func="maxDepth" op="lte" val="1">
                          <dgm:alg type="hierChild">
                            <dgm:param type="chAlign" val="l"/>
                            <dgm:param type="linDir" val="fromT"/>
                          </dgm:alg>
                        </dgm:if>
                        <dgm:else name="Name87">
                          <dgm:choose name="Name88">
                            <dgm:if name="Name89" func="var" arg="dir" op="equ" val="norm">
                              <dgm:alg type="hierChild"/>
                            </dgm:if>
                            <dgm:else name="Name90">
                              <dgm:alg type="hierChild">
                                <dgm:param type="linDir" val="fromR"/>
                              </dgm:alg>
                            </dgm:else>
                          </dgm:choose>
                        </dgm:else>
                      </dgm:choose>
                    </dgm:if>
                    <dgm:else name="Name91"/>
                  </dgm:choose>
                  <dgm:shape xmlns:r="http://schemas.openxmlformats.org/officeDocument/2006/relationships" r:blip="">
                    <dgm:adjLst/>
                  </dgm:shape>
                  <dgm:presOf/>
                  <dgm:forEach name="Name92" ref="rep2a"/>
                </dgm:layoutNode>
                <dgm:layoutNode name="hierChild5">
                  <dgm:choose name="Name93">
                    <dgm:if name="Name94" func="var" arg="dir" op="equ" val="norm">
                      <dgm:alg type="hierChild">
                        <dgm:param type="chAlign" val="l"/>
                        <dgm:param type="linDir" val="fromL"/>
                        <dgm:param type="secChAlign" val="t"/>
                        <dgm:param type="secLinDir" val="fromT"/>
                      </dgm:alg>
                    </dgm:if>
                    <dgm:else name="Name95">
                      <dgm:alg type="hierChild">
                        <dgm:param type="chAlign" val="l"/>
                        <dgm:param type="linDir" val="fromR"/>
                        <dgm:param type="secChAlign" val="t"/>
                        <dgm:param type="secLinDir" val="fromT"/>
                      </dgm:alg>
                    </dgm:else>
                  </dgm:choose>
                  <dgm:shape xmlns:r="http://schemas.openxmlformats.org/officeDocument/2006/relationships" r:blip="">
                    <dgm:adjLst/>
                  </dgm:shape>
                  <dgm:presOf/>
                  <dgm:forEach name="Name96" ref="rep2b"/>
                </dgm:layoutNode>
              </dgm:layoutNode>
            </dgm:forEach>
          </dgm:layoutNode>
          <dgm:layoutNode name="hierChild3">
            <dgm:choose name="Name97">
              <dgm:if name="Name98" func="var" arg="dir" op="equ" val="norm">
                <dgm:alg type="hierChild">
                  <dgm:param type="chAlign" val="l"/>
                  <dgm:param type="linDir" val="fromL"/>
                  <dgm:param type="secChAlign" val="t"/>
                  <dgm:param type="secLinDir" val="fromT"/>
                </dgm:alg>
              </dgm:if>
              <dgm:else name="Name99">
                <dgm:alg type="hierChild">
                  <dgm:param type="chAlign" val="l"/>
                  <dgm:param type="linDir" val="fromR"/>
                  <dgm:param type="secChAlign" val="t"/>
                  <dgm:param type="secLinDir" val="fromT"/>
                </dgm:alg>
              </dgm:else>
            </dgm:choose>
            <dgm:shape xmlns:r="http://schemas.openxmlformats.org/officeDocument/2006/relationships" r:blip="">
              <dgm:adjLst/>
            </dgm:shape>
            <dgm:presOf/>
            <dgm:forEach name="rep2b" axis="ch" ptType="asst">
              <dgm:forEach name="Name100" axis="precedSib" ptType="parTrans" st="-1" cnt="1">
                <dgm:layoutNode name="Name101">
                  <dgm:choose name="Name102">
                    <dgm:if name="Name103" axis="self" func="depth" op="lte" val="2">
                      <dgm:alg type="conn">
                        <dgm:param type="connRout" val="bend"/>
                        <dgm:param type="dim" val="1D"/>
                        <dgm:param type="endSty" val="noArr"/>
                        <dgm:param type="begPts" val="bCtr"/>
                        <dgm:param type="endPts" val="bL bR"/>
                        <dgm:param type="srcNode" val="bottomArc1"/>
                        <dgm:param type="dstNode" val="topConnNode3"/>
                      </dgm:alg>
                    </dgm:if>
                    <dgm:if name="Name104" axis="par" ptType="asst" func="cnt" op="equ" val="1">
                      <dgm:alg type="conn">
                        <dgm:param type="connRout" val="bend"/>
                        <dgm:param type="dim" val="1D"/>
                        <dgm:param type="endSty" val="noArr"/>
                        <dgm:param type="begPts" val="bCtr"/>
                        <dgm:param type="endPts" val="bL bR"/>
                        <dgm:param type="srcNode" val="bottomArc3"/>
                        <dgm:param type="dstNode" val="topConnNode3"/>
                      </dgm:alg>
                    </dgm:if>
                    <dgm:else name="Name105">
                      <dgm:alg type="conn">
                        <dgm:param type="connRout" val="bend"/>
                        <dgm:param type="dim" val="1D"/>
                        <dgm:param type="endSty" val="noArr"/>
                        <dgm:param type="begPts" val="bCtr"/>
                        <dgm:param type="endPts" val="bL bR"/>
                        <dgm:param type="srcNode" val="bottomArc2"/>
                        <dgm:param type="dstNode" val="topConnNode3"/>
                      </dgm:alg>
                    </dgm:else>
                  </dgm:choose>
                  <dgm:shape xmlns:r="http://schemas.openxmlformats.org/officeDocument/2006/relationships" type="conn" r:blip="" zOrderOff="-99999">
                    <dgm:adjLst/>
                  </dgm:shape>
                  <dgm:presOf axis="self"/>
                  <dgm:constrLst>
                    <dgm:constr type="begPad"/>
                    <dgm:constr type="endPad"/>
                  </dgm:constrLst>
                </dgm:layoutNode>
              </dgm:forEach>
              <dgm:layoutNode name="hierRoot3">
                <dgm:varLst>
                  <dgm:hierBranch val="init"/>
                </dgm:varLst>
                <dgm:choose name="Name106">
                  <dgm:if name="Name107" func="var" arg="hierBranch" op="equ" val="l">
                    <dgm:alg type="hierRoot">
                      <dgm:param type="hierAlign" val="tR"/>
                    </dgm:alg>
                    <dgm:shape xmlns:r="http://schemas.openxmlformats.org/officeDocument/2006/relationships" r:blip="">
                      <dgm:adjLst/>
                    </dgm:shape>
                    <dgm:presOf/>
                    <dgm:constrLst>
                      <dgm:constr type="alignOff" val="0.65"/>
                    </dgm:constrLst>
                  </dgm:if>
                  <dgm:if name="Name108" func="var" arg="hierBranch" op="equ" val="r">
                    <dgm:alg type="hierRoot">
                      <dgm:param type="hierAlign" val="tL"/>
                    </dgm:alg>
                    <dgm:shape xmlns:r="http://schemas.openxmlformats.org/officeDocument/2006/relationships" r:blip="">
                      <dgm:adjLst/>
                    </dgm:shape>
                    <dgm:presOf/>
                    <dgm:constrLst>
                      <dgm:constr type="alignOff" val="0.65"/>
                    </dgm:constrLst>
                  </dgm:if>
                  <dgm:if name="Name109" func="var" arg="hierBranch" op="equ" val="hang">
                    <dgm:alg type="hierRoot"/>
                    <dgm:shape xmlns:r="http://schemas.openxmlformats.org/officeDocument/2006/relationships" r:blip="">
                      <dgm:adjLst/>
                    </dgm:shape>
                    <dgm:presOf/>
                    <dgm:constrLst>
                      <dgm:constr type="alignOff" val="0.65"/>
                    </dgm:constrLst>
                  </dgm:if>
                  <dgm:if name="Name110"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1" func="var" arg="hierBranch" op="equ" val="init">
                    <dgm:choose name="Name112">
                      <dgm:if name="Name113" axis="des" func="maxDepth" op="lte" val="1">
                        <dgm:alg type="hierRoot">
                          <dgm:param type="hierAlign" val="tL"/>
                        </dgm:alg>
                        <dgm:shape xmlns:r="http://schemas.openxmlformats.org/officeDocument/2006/relationships" r:blip="">
                          <dgm:adjLst/>
                        </dgm:shape>
                        <dgm:presOf/>
                        <dgm:constrLst>
                          <dgm:constr type="alignOff" val="0.65"/>
                        </dgm:constrLst>
                      </dgm:if>
                      <dgm:else name="Name114">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15"/>
                </dgm:choose>
                <dgm:layoutNode name="rootComposite3">
                  <dgm:alg type="composite"/>
                  <dgm:shape xmlns:r="http://schemas.openxmlformats.org/officeDocument/2006/relationships" r:blip="">
                    <dgm:adjLst/>
                  </dgm:shape>
                  <dgm:presOf axis="self" ptType="node" cnt="1"/>
                  <dgm:choose name="Name116">
                    <dgm:if name="Name117" func="var" arg="hierBranch" op="equ" val="init">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if>
                    <dgm:if name="Name118" func="var" arg="hierBranch" op="equ" val="l">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if>
                    <dgm:if name="Name119" func="var" arg="hierBranch" op="equ" val="r">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if>
                    <dgm:else name="Name120">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else>
                  </dgm:choose>
                  <dgm:layoutNode name="rootText3" styleLbl="alignAcc1">
                    <dgm:varLst>
                      <dgm:chPref val="3"/>
                    </dgm:varLst>
                    <dgm:alg type="tx"/>
                    <dgm:shape xmlns:r="http://schemas.openxmlformats.org/officeDocument/2006/relationships" type="rect" r:blip="" hideGeom="1">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topArc3" styleLbl="parChTrans1D1" moveWith="rootText3">
                    <dgm:alg type="sp"/>
                    <dgm:shape xmlns:r="http://schemas.openxmlformats.org/officeDocument/2006/relationships" type="arc" r:blip="" zOrderOff="-2">
                      <dgm:adjLst>
                        <dgm:adj idx="1" val="-140"/>
                        <dgm:adj idx="2" val="-40"/>
                      </dgm:adjLst>
                    </dgm:shape>
                    <dgm:presOf/>
                  </dgm:layoutNode>
                  <dgm:layoutNode name="bottomArc3" styleLbl="parChTrans1D1" moveWith="rootText3">
                    <dgm:alg type="sp"/>
                    <dgm:shape xmlns:r="http://schemas.openxmlformats.org/officeDocument/2006/relationships" type="arc" r:blip="" zOrderOff="-2">
                      <dgm:adjLst>
                        <dgm:adj idx="1" val="40"/>
                        <dgm:adj idx="2" val="140"/>
                      </dgm:adjLst>
                    </dgm:shape>
                    <dgm:presOf/>
                  </dgm:layoutNode>
                  <dgm:layoutNode name="topConnNode3" moveWith="rootText3">
                    <dgm:alg type="sp"/>
                    <dgm:shape xmlns:r="http://schemas.openxmlformats.org/officeDocument/2006/relationships" type="rect" r:blip="" hideGeom="1">
                      <dgm:adjLst/>
                    </dgm:shape>
                    <dgm:presOf axis="self" ptType="node" cnt="1"/>
                  </dgm:layoutNode>
                </dgm:layoutNode>
                <dgm:layoutNode name="hierChild6">
                  <dgm:choose name="Name121">
                    <dgm:if name="Name122" func="var" arg="hierBranch" op="equ" val="l">
                      <dgm:alg type="hierChild">
                        <dgm:param type="chAlign" val="r"/>
                        <dgm:param type="linDir" val="fromT"/>
                      </dgm:alg>
                    </dgm:if>
                    <dgm:if name="Name123" func="var" arg="hierBranch" op="equ" val="r">
                      <dgm:alg type="hierChild">
                        <dgm:param type="chAlign" val="l"/>
                        <dgm:param type="linDir" val="fromT"/>
                      </dgm:alg>
                    </dgm:if>
                    <dgm:if name="Name124" func="var" arg="hierBranch" op="equ" val="hang">
                      <dgm:choose name="Name125">
                        <dgm:if name="Name126" func="var" arg="dir" op="equ" val="norm">
                          <dgm:alg type="hierChild">
                            <dgm:param type="chAlign" val="l"/>
                            <dgm:param type="linDir" val="fromL"/>
                            <dgm:param type="secChAlign" val="t"/>
                            <dgm:param type="secLinDir" val="fromT"/>
                          </dgm:alg>
                        </dgm:if>
                        <dgm:else name="Name127">
                          <dgm:alg type="hierChild">
                            <dgm:param type="chAlign" val="l"/>
                            <dgm:param type="linDir" val="fromR"/>
                            <dgm:param type="secChAlign" val="t"/>
                            <dgm:param type="secLinDir" val="fromT"/>
                          </dgm:alg>
                        </dgm:else>
                      </dgm:choose>
                    </dgm:if>
                    <dgm:if name="Name128" func="var" arg="hierBranch" op="equ" val="std">
                      <dgm:choose name="Name129">
                        <dgm:if name="Name130" func="var" arg="dir" op="equ" val="norm">
                          <dgm:alg type="hierChild"/>
                        </dgm:if>
                        <dgm:else name="Name131">
                          <dgm:alg type="hierChild">
                            <dgm:param type="linDir" val="fromR"/>
                          </dgm:alg>
                        </dgm:else>
                      </dgm:choose>
                    </dgm:if>
                    <dgm:if name="Name132" func="var" arg="hierBranch" op="equ" val="init">
                      <dgm:choose name="Name133">
                        <dgm:if name="Name134" axis="des" func="maxDepth" op="lte" val="1">
                          <dgm:alg type="hierChild">
                            <dgm:param type="chAlign" val="l"/>
                            <dgm:param type="linDir" val="fromT"/>
                          </dgm:alg>
                        </dgm:if>
                        <dgm:else name="Name135">
                          <dgm:alg type="hierChild"/>
                        </dgm:else>
                      </dgm:choose>
                    </dgm:if>
                    <dgm:else name="Name136"/>
                  </dgm:choose>
                  <dgm:shape xmlns:r="http://schemas.openxmlformats.org/officeDocument/2006/relationships" r:blip="">
                    <dgm:adjLst/>
                  </dgm:shape>
                  <dgm:presOf/>
                  <dgm:forEach name="Name137" ref="rep2a"/>
                </dgm:layoutNode>
                <dgm:layoutNode name="hierChild7">
                  <dgm:choose name="Name138">
                    <dgm:if name="Name139" func="var" arg="dir" op="equ" val="norm">
                      <dgm:alg type="hierChild">
                        <dgm:param type="chAlign" val="l"/>
                        <dgm:param type="linDir" val="fromL"/>
                        <dgm:param type="secChAlign" val="t"/>
                        <dgm:param type="secLinDir" val="fromT"/>
                      </dgm:alg>
                    </dgm:if>
                    <dgm:else name="Name140">
                      <dgm:alg type="hierChild">
                        <dgm:param type="chAlign" val="l"/>
                        <dgm:param type="linDir" val="fromR"/>
                        <dgm:param type="secChAlign" val="t"/>
                        <dgm:param type="secLinDir" val="fromT"/>
                      </dgm:alg>
                    </dgm:else>
                  </dgm:choose>
                  <dgm:shape xmlns:r="http://schemas.openxmlformats.org/officeDocument/2006/relationships" r:blip="">
                    <dgm:adjLst/>
                  </dgm:shape>
                  <dgm:presOf/>
                  <dgm:forEach name="Name141" ref="rep2b"/>
                </dgm:layoutNode>
              </dgm:layoutNode>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8/layout/HorizontalMultiLevelHierarchy">
  <dgm:title val=""/>
  <dgm:desc val=""/>
  <dgm:catLst>
    <dgm:cat type="hierarchy" pri="46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clrData>
  <dgm:layoutNode name="Name0">
    <dgm:varLst>
      <dgm:chPref val="1"/>
      <dgm:dir/>
      <dgm:animOne val="branch"/>
      <dgm:animLvl val="lvl"/>
      <dgm:resizeHandles val="exact"/>
    </dgm:varLst>
    <dgm:choose name="Name1">
      <dgm:if name="Name2" func="var" arg="dir" op="equ" val="norm">
        <dgm:alg type="hierChild">
          <dgm:param type="linDir" val="fromT"/>
          <dgm:param type="chAlign" val="l"/>
        </dgm:alg>
      </dgm:if>
      <dgm:else name="Name3">
        <dgm:alg type="hierChild">
          <dgm:param type="linDir" val="fromT"/>
          <dgm:param type="chAlign" val="r"/>
        </dgm:alg>
      </dgm:else>
    </dgm:choose>
    <dgm:shape xmlns:r="http://schemas.openxmlformats.org/officeDocument/2006/relationships" r:blip="">
      <dgm:adjLst/>
    </dgm:shape>
    <dgm:presOf/>
    <dgm:constrLst>
      <dgm:constr type="h" for="des" forName="LevelOneTextNode" refType="h"/>
      <dgm:constr type="w" for="des" forName="LevelOneTextNode" refType="h" refFor="des" refForName="LevelOneTextNode" fact="0.19"/>
      <dgm:constr type="h" for="des" forName="LevelTwoTextNode" refType="w" refFor="des" refForName="LevelOneTextNode"/>
      <dgm:constr type="w" for="des" forName="LevelTwoTextNode" refType="h" refFor="des" refForName="LevelTwoTextNode" fact="3.28"/>
      <dgm:constr type="sibSp" refType="h" refFor="des" refForName="LevelTwoTextNode" op="equ" fact="0.25"/>
      <dgm:constr type="sibSp" for="des" forName="level2hierChild" refType="h" refFor="des" refForName="LevelTwoTextNode" op="equ" fact="0.25"/>
      <dgm:constr type="sibSp" for="des" forName="level3hierChild" refType="h" refFor="des" refForName="LevelTwoTextNode" op="equ" fact="0.25"/>
      <dgm:constr type="sp" for="des" forName="root1" refType="w" refFor="des" refForName="LevelTwoTextNode" fact="0.2"/>
      <dgm:constr type="sp" for="des" forName="root2" refType="sp" refFor="des" refForName="root1" op="equ"/>
      <dgm:constr type="primFontSz" for="des" forName="LevelOneTextNode" op="equ" val="65"/>
      <dgm:constr type="primFontSz" for="des" forName="LevelTwoTextNode" op="equ" val="65"/>
      <dgm:constr type="primFontSz" for="des" forName="LevelTwoTextNode" refType="primFontSz" refFor="des" refForName="LevelOneTextNode" op="lte"/>
      <dgm:constr type="primFontSz" for="des" forName="connTx" op="equ" val="50"/>
      <dgm:constr type="primFontSz" for="des" forName="connTx" refType="primFontSz" refFor="des" refForName="LevelOneTextNode" op="lte" fact="0.78"/>
    </dgm:constrLst>
    <dgm:forEach name="Name4" axis="ch">
      <dgm:forEach name="Name5" axis="self" ptType="node">
        <dgm:layoutNode name="root1">
          <dgm:choose name="Name6">
            <dgm:if name="Name7" func="var" arg="dir" op="equ" val="norm">
              <dgm:alg type="hierRoot">
                <dgm:param type="hierAlign" val="lCtrCh"/>
              </dgm:alg>
            </dgm:if>
            <dgm:else name="Name8">
              <dgm:alg type="hierRoot">
                <dgm:param type="hierAlign" val="rCtrCh"/>
              </dgm:alg>
            </dgm:else>
          </dgm:choose>
          <dgm:shape xmlns:r="http://schemas.openxmlformats.org/officeDocument/2006/relationships" r:blip="">
            <dgm:adjLst/>
          </dgm:shape>
          <dgm:presOf/>
          <dgm:layoutNode name="LevelOneTextNode" styleLbl="node0">
            <dgm:varLst>
              <dgm:chPref val="3"/>
            </dgm:varLst>
            <dgm:alg type="tx">
              <dgm:param type="autoTxRot" val="grav"/>
            </dgm:alg>
            <dgm:choose name="Name9">
              <dgm:if name="Name10" func="var" arg="dir" op="equ" val="norm">
                <dgm:shape xmlns:r="http://schemas.openxmlformats.org/officeDocument/2006/relationships" rot="270" type="rect" r:blip="">
                  <dgm:adjLst/>
                </dgm:shape>
              </dgm:if>
              <dgm:else name="Name11">
                <dgm:shape xmlns:r="http://schemas.openxmlformats.org/officeDocument/2006/relationships" rot="90" type="rect" r:blip="">
                  <dgm:adjLst/>
                </dgm:shape>
              </dgm:else>
            </dgm:choos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2hierChild">
            <dgm:choose name="Name12">
              <dgm:if name="Name13" func="var" arg="dir" op="equ" val="norm">
                <dgm:alg type="hierChild">
                  <dgm:param type="linDir" val="fromT"/>
                  <dgm:param type="chAlign" val="l"/>
                </dgm:alg>
              </dgm:if>
              <dgm:else name="Name14">
                <dgm:alg type="hierChild">
                  <dgm:param type="linDir" val="fromT"/>
                  <dgm:param type="chAlign" val="r"/>
                </dgm:alg>
              </dgm:else>
            </dgm:choose>
            <dgm:shape xmlns:r="http://schemas.openxmlformats.org/officeDocument/2006/relationships" r:blip="">
              <dgm:adjLst/>
            </dgm:shape>
            <dgm:presOf/>
            <dgm:forEach name="repeat" axis="ch">
              <dgm:forEach name="Name15" axis="self" ptType="parTrans" cnt="1">
                <dgm:layoutNode name="conn2-1">
                  <dgm:choose name="Name16">
                    <dgm:if name="Name17" func="var" arg="dir" op="equ" val="norm">
                      <dgm:alg type="conn">
                        <dgm:param type="dim" val="1D"/>
                        <dgm:param type="begPts" val="midR"/>
                        <dgm:param type="endPts" val="midL"/>
                        <dgm:param type="endSty" val="noArr"/>
                        <dgm:param type="connRout" val="bend"/>
                      </dgm:alg>
                    </dgm:if>
                    <dgm:else name="Name18">
                      <dgm:alg type="conn">
                        <dgm:param type="dim" val="1D"/>
                        <dgm:param type="begPts" val="midL"/>
                        <dgm:param type="endPts" val="midR"/>
                        <dgm:param type="endSty" val="noArr"/>
                        <dgm:param type="connRout" val="bend"/>
                      </dgm:alg>
                    </dgm:else>
                  </dgm:choose>
                  <dgm:shape xmlns:r="http://schemas.openxmlformats.org/officeDocument/2006/relationships" type="conn" r:blip="" zOrderOff="-99999">
                    <dgm:adjLst/>
                  </dgm:shape>
                  <dgm:presOf axis="self"/>
                  <dgm:constrLst>
                    <dgm:constr type="w" val="1"/>
                    <dgm:constr type="h" val="5"/>
                    <dgm:constr type="connDist"/>
                    <dgm:constr type="begPad"/>
                    <dgm:constr type="endPad"/>
                    <dgm:constr type="userA" for="ch" refType="connDist"/>
                  </dgm:constr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9" axis="self" ptType="node">
                <dgm:layoutNode name="root2">
                  <dgm:choose name="Name20">
                    <dgm:if name="Name21" func="var" arg="dir" op="equ" val="norm">
                      <dgm:alg type="hierRoot">
                        <dgm:param type="hierAlign" val="lCtrCh"/>
                      </dgm:alg>
                    </dgm:if>
                    <dgm:else name="Name22">
                      <dgm:alg type="hierRoot">
                        <dgm:param type="hierAlign" val="rCtrCh"/>
                      </dgm:alg>
                    </dgm:else>
                  </dgm:choose>
                  <dgm:shape xmlns:r="http://schemas.openxmlformats.org/officeDocument/2006/relationships" r:blip="">
                    <dgm:adjLst/>
                  </dgm:shape>
                  <dgm:presOf/>
                  <dgm:layoutNode name="LevelTwoTextNode">
                    <dgm:varLst>
                      <dgm:chPref val="3"/>
                    </dgm:varLst>
                    <dgm:alg type="tx"/>
                    <dgm:shape xmlns:r="http://schemas.openxmlformats.org/officeDocument/2006/relationships" type="rect" r:blip="">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3hierChild">
                    <dgm:choose name="Name23">
                      <dgm:if name="Name24" func="var" arg="dir" op="equ" val="norm">
                        <dgm:alg type="hierChild">
                          <dgm:param type="linDir" val="fromT"/>
                          <dgm:param type="chAlign" val="l"/>
                        </dgm:alg>
                      </dgm:if>
                      <dgm:else name="Name25">
                        <dgm:alg type="hierChild">
                          <dgm:param type="linDir" val="fromT"/>
                          <dgm:param type="chAlign" val="r"/>
                        </dgm:alg>
                      </dgm:else>
                    </dgm:choose>
                    <dgm:shape xmlns:r="http://schemas.openxmlformats.org/officeDocument/2006/relationships" r:blip="">
                      <dgm:adjLst/>
                    </dgm:shape>
                    <dgm:presOf/>
                    <dgm:forEach name="Name26" ref="repeat"/>
                  </dgm:layoutNode>
                </dgm:layoutNode>
              </dgm:forEach>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cycle6">
  <dgm:title val=""/>
  <dgm:desc val=""/>
  <dgm:catLst>
    <dgm:cat type="cycle" pri="4000"/>
    <dgm:cat type="relationship" pri="24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param type="endSty" val="noArr"/>
              </dgm:alg>
              <dgm:shape xmlns:r="http://schemas.openxmlformats.org/officeDocument/2006/relationships" type="conn" r:blip="">
                <dgm:adjLst/>
              </dgm:shape>
              <dgm:presOf axis="self"/>
              <dgm:constrLst>
                <dgm:constr type="h" refType="w" fact="0.65"/>
                <dgm:constr type="connDist"/>
                <dgm:constr type="begPad" refType="connDist" fact="0.01"/>
                <dgm:constr type="endPad" refType="connDist" fact="0.01"/>
              </dgm:constrLst>
              <dgm:ruleLst/>
            </dgm:layoutNode>
          </dgm:forEach>
        </dgm:if>
        <dgm:else name="Name16"/>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cycle6">
  <dgm:title val=""/>
  <dgm:desc val=""/>
  <dgm:catLst>
    <dgm:cat type="cycle" pri="4000"/>
    <dgm:cat type="relationship" pri="24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param type="endSty" val="noArr"/>
              </dgm:alg>
              <dgm:shape xmlns:r="http://schemas.openxmlformats.org/officeDocument/2006/relationships" type="conn" r:blip="">
                <dgm:adjLst/>
              </dgm:shape>
              <dgm:presOf axis="self"/>
              <dgm:constrLst>
                <dgm:constr type="h" refType="w" fact="0.65"/>
                <dgm:constr type="connDist"/>
                <dgm:constr type="begPad" refType="connDist" fact="0.01"/>
                <dgm:constr type="endPad" refType="connDist" fact="0.01"/>
              </dgm:constrLst>
              <dgm:ruleLst/>
            </dgm:layoutNode>
          </dgm:forEach>
        </dgm:if>
        <dgm:else name="Name16"/>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cycle6">
  <dgm:title val=""/>
  <dgm:desc val=""/>
  <dgm:catLst>
    <dgm:cat type="cycle" pri="4000"/>
    <dgm:cat type="relationship" pri="24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param type="endSty" val="noArr"/>
              </dgm:alg>
              <dgm:shape xmlns:r="http://schemas.openxmlformats.org/officeDocument/2006/relationships" type="conn" r:blip="">
                <dgm:adjLst/>
              </dgm:shape>
              <dgm:presOf axis="self"/>
              <dgm:constrLst>
                <dgm:constr type="h" refType="w" fact="0.65"/>
                <dgm:constr type="connDist"/>
                <dgm:constr type="begPad" refType="connDist" fact="0.01"/>
                <dgm:constr type="endPad" refType="connDist" fact="0.01"/>
              </dgm:constrLst>
              <dgm:ruleLst/>
            </dgm:layoutNode>
          </dgm:forEach>
        </dgm:if>
        <dgm:else name="Name16"/>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54.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70.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70.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70.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70.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70.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70.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70.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85.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70.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70.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70.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70.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70.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10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54.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5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54.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54.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7.emf"/></Relationships>
</file>

<file path=ppt/drawings/drawing1.xml><?xml version="1.0" encoding="utf-8"?>
<c:userShapes xmlns:c="http://schemas.openxmlformats.org/drawingml/2006/chart">
  <cdr:relSizeAnchor xmlns:cdr="http://schemas.openxmlformats.org/drawingml/2006/chartDrawing">
    <cdr:from>
      <cdr:x>0.83306</cdr:x>
      <cdr:y>0.80268</cdr:y>
    </cdr:from>
    <cdr:to>
      <cdr:x>1</cdr:x>
      <cdr:y>0.86678</cdr:y>
    </cdr:to>
    <cdr:sp macro="" textlink="">
      <cdr:nvSpPr>
        <cdr:cNvPr id="2" name="ZoneTexte 14">
          <a:extLst xmlns:a="http://schemas.openxmlformats.org/drawingml/2006/main">
            <a:ext uri="{FF2B5EF4-FFF2-40B4-BE49-F238E27FC236}">
              <a16:creationId xmlns:a16="http://schemas.microsoft.com/office/drawing/2014/main" id="{44890B5D-8DFA-5142-0797-9DC7F277563C}"/>
            </a:ext>
          </a:extLst>
        </cdr:cNvPr>
        <cdr:cNvSpPr txBox="1"/>
      </cdr:nvSpPr>
      <cdr:spPr>
        <a:xfrm xmlns:a="http://schemas.openxmlformats.org/drawingml/2006/main">
          <a:off x="5334159" y="3290512"/>
          <a:ext cx="1068947" cy="262802"/>
        </a:xfrm>
        <a:prstGeom xmlns:a="http://schemas.openxmlformats.org/drawingml/2006/main" prst="rect">
          <a:avLst/>
        </a:prstGeom>
        <a:noFill xmlns:a="http://schemas.openxmlformats.org/drawingml/2006/main"/>
        <a:ln xmlns:a="http://schemas.openxmlformats.org/drawingml/2006/main" w="9525" cap="rnd">
          <a:noFill/>
          <a:prstDash val="solid"/>
          <a:round/>
        </a:ln>
        <a:extLst xmlns:a="http://schemas.openxmlformats.org/drawingml/2006/main">
          <a:ext uri="{909E8E84-426E-40DD-AFC4-6F175D3DCCD1}">
            <a14:hiddenFill xmlns:a14="http://schemas.microsoft.com/office/drawing/2010/main">
              <a:solidFill>
                <a:srgbClr val="29BA74"/>
              </a:solidFill>
            </a14:hiddenFill>
          </a:ext>
        </a:extLst>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ot="0" spcFirstLastPara="0" vert="horz" wrap="square" lIns="91440" tIns="45720" rIns="91440" bIns="45720" numCol="1" spcCol="0" rtlCol="0" fromWordArt="0" anchor="ctr" anchorCtr="0" forceAA="0" compatLnSpc="1">
          <a:prstTxWarp prst="textNoShape">
            <a:avLst/>
          </a:prstTxWarp>
          <a:noAutofit/>
        </a:bodyPr>
        <a:lstStyle xmlns:a="http://schemas.openxmlformats.org/drawingml/2006/main">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xmlns:a="http://schemas.openxmlformats.org/drawingml/2006/main">
          <a:pPr algn="ctr"/>
          <a:r>
            <a:rPr lang="en-US" sz="900" dirty="0">
              <a:solidFill>
                <a:schemeClr val="tx2"/>
              </a:solidFill>
            </a:rPr>
            <a:t>Easy</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12/1/2022</a:t>
            </a:fld>
            <a:endParaRPr lang="en-US" sz="80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a:latin typeface="+mn-lt"/>
              <a:ea typeface="+mn-ea"/>
              <a:cs typeface="+mn-cs"/>
            </a:endParaRPr>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atin typeface="+mn-lt"/>
                <a:ea typeface="+mn-ea"/>
                <a:cs typeface="+mn-cs"/>
              </a:defRPr>
            </a:lvl1pPr>
          </a:lstStyle>
          <a:p>
            <a:endParaRPr lang="en-US"/>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atin typeface="+mn-lt"/>
                <a:ea typeface="+mn-ea"/>
                <a:cs typeface="+mn-cs"/>
              </a:defRPr>
            </a:lvl1pPr>
          </a:lstStyle>
          <a:p>
            <a:endParaRPr lang="en-US"/>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atin typeface="+mn-lt"/>
                <a:ea typeface="+mn-ea"/>
                <a:cs typeface="+mn-cs"/>
              </a:defRPr>
            </a:lvl1pPr>
          </a:lstStyle>
          <a:p>
            <a:r>
              <a:rPr lang="en-US"/>
              <a:t>Notes view: </a:t>
            </a:r>
            <a:fld id="{128CEAFE-FA94-43E5-B0FF-D47E1CCDD1B4}" type="slidenum">
              <a:rPr lang="en-US" smtClean="0"/>
              <a:pPr/>
              <a:t>‹#›</a:t>
            </a:fld>
            <a:endParaRPr lang="en-US"/>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atin typeface="+mn-lt"/>
                <a:ea typeface="+mn-ea"/>
                <a:cs typeface="+mn-cs"/>
              </a:defRPr>
            </a:lvl1pPr>
          </a:lstStyle>
          <a:p>
            <a:fld id="{F2C7CF5F-7CF3-4DF3-838A-EE34544862CC}" type="datetimeFigureOut">
              <a:rPr lang="en-US" smtClean="0"/>
              <a:pPr/>
              <a:t>12/1/2022</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1200" b="0" i="0" u="none" strike="noStrike" kern="1200" cap="none" spc="0" normalizeH="0" baseline="0" noProof="0">
              <a:ln>
                <a:noFill/>
              </a:ln>
              <a:solidFill>
                <a:srgbClr val="6E6F73"/>
              </a:solidFill>
              <a:effectLst/>
              <a:uLnTx/>
              <a:uFillTx/>
              <a:latin typeface="Trebuchet MS"/>
              <a:ea typeface="+mn-ea"/>
              <a:cs typeface="+mn-cs"/>
            </a:endParaRPr>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0</a:t>
            </a:fld>
            <a:endParaRPr lang="en-US"/>
          </a:p>
        </p:txBody>
      </p:sp>
    </p:spTree>
    <p:extLst>
      <p:ext uri="{BB962C8B-B14F-4D97-AF65-F5344CB8AC3E}">
        <p14:creationId xmlns:p14="http://schemas.microsoft.com/office/powerpoint/2010/main" val="161380941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155575" y="574675"/>
            <a:ext cx="6621463" cy="3724275"/>
          </a:xfrm>
        </p:spPr>
      </p:sp>
      <p:sp>
        <p:nvSpPr>
          <p:cNvPr id="3" name="Espace réservé des not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5"/>
          </p:nvPr>
        </p:nvSpPr>
        <p:spPr/>
        <p:txBody>
          <a:bodyPr/>
          <a:lstStyle/>
          <a:p>
            <a:r>
              <a:rPr lang="en-US"/>
              <a:t>Notes view: </a:t>
            </a:r>
            <a:fld id="{128CEAFE-FA94-43E5-B0FF-D47E1CCDD1B4}" type="slidenum">
              <a:rPr lang="en-US" smtClean="0"/>
              <a:pPr/>
              <a:t>17</a:t>
            </a:fld>
            <a:endParaRPr lang="en-US"/>
          </a:p>
        </p:txBody>
      </p:sp>
    </p:spTree>
    <p:extLst>
      <p:ext uri="{BB962C8B-B14F-4D97-AF65-F5344CB8AC3E}">
        <p14:creationId xmlns:p14="http://schemas.microsoft.com/office/powerpoint/2010/main" val="232487798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155575" y="574675"/>
            <a:ext cx="6621463" cy="3724275"/>
          </a:xfrm>
        </p:spPr>
      </p:sp>
      <p:sp>
        <p:nvSpPr>
          <p:cNvPr id="3" name="Espace réservé des not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5"/>
          </p:nvPr>
        </p:nvSpPr>
        <p:spPr/>
        <p:txBody>
          <a:bodyPr/>
          <a:lstStyle/>
          <a:p>
            <a:r>
              <a:rPr lang="en-US"/>
              <a:t>Notes view: </a:t>
            </a:r>
            <a:fld id="{128CEAFE-FA94-43E5-B0FF-D47E1CCDD1B4}" type="slidenum">
              <a:rPr lang="en-US" smtClean="0"/>
              <a:pPr/>
              <a:t>18</a:t>
            </a:fld>
            <a:endParaRPr lang="en-US"/>
          </a:p>
        </p:txBody>
      </p:sp>
    </p:spTree>
    <p:extLst>
      <p:ext uri="{BB962C8B-B14F-4D97-AF65-F5344CB8AC3E}">
        <p14:creationId xmlns:p14="http://schemas.microsoft.com/office/powerpoint/2010/main" val="417044562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155575" y="574675"/>
            <a:ext cx="6621463" cy="3724275"/>
          </a:xfrm>
        </p:spPr>
      </p:sp>
      <p:sp>
        <p:nvSpPr>
          <p:cNvPr id="3" name="Espace réservé des not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5"/>
          </p:nvPr>
        </p:nvSpPr>
        <p:spPr/>
        <p:txBody>
          <a:bodyPr/>
          <a:lstStyle/>
          <a:p>
            <a:r>
              <a:rPr lang="en-US"/>
              <a:t>Notes view: </a:t>
            </a:r>
            <a:fld id="{128CEAFE-FA94-43E5-B0FF-D47E1CCDD1B4}" type="slidenum">
              <a:rPr lang="en-US" smtClean="0"/>
              <a:pPr/>
              <a:t>19</a:t>
            </a:fld>
            <a:endParaRPr lang="en-US"/>
          </a:p>
        </p:txBody>
      </p:sp>
    </p:spTree>
    <p:extLst>
      <p:ext uri="{BB962C8B-B14F-4D97-AF65-F5344CB8AC3E}">
        <p14:creationId xmlns:p14="http://schemas.microsoft.com/office/powerpoint/2010/main" val="379017521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155575" y="574675"/>
            <a:ext cx="6621463" cy="3724275"/>
          </a:xfrm>
        </p:spPr>
      </p:sp>
      <p:sp>
        <p:nvSpPr>
          <p:cNvPr id="3" name="Espace réservé des not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5"/>
          </p:nvPr>
        </p:nvSpPr>
        <p:spPr/>
        <p:txBody>
          <a:bodyPr/>
          <a:lstStyle/>
          <a:p>
            <a:r>
              <a:rPr lang="en-US"/>
              <a:t>Notes view: </a:t>
            </a:r>
            <a:fld id="{128CEAFE-FA94-43E5-B0FF-D47E1CCDD1B4}" type="slidenum">
              <a:rPr lang="en-US" smtClean="0"/>
              <a:pPr/>
              <a:t>20</a:t>
            </a:fld>
            <a:endParaRPr lang="en-US"/>
          </a:p>
        </p:txBody>
      </p:sp>
    </p:spTree>
    <p:extLst>
      <p:ext uri="{BB962C8B-B14F-4D97-AF65-F5344CB8AC3E}">
        <p14:creationId xmlns:p14="http://schemas.microsoft.com/office/powerpoint/2010/main" val="24709875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155575" y="574675"/>
            <a:ext cx="6621463" cy="3724275"/>
          </a:xfrm>
        </p:spPr>
      </p:sp>
      <p:sp>
        <p:nvSpPr>
          <p:cNvPr id="3" name="Espace réservé des not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5"/>
          </p:nvPr>
        </p:nvSpPr>
        <p:spPr/>
        <p:txBody>
          <a:bodyPr/>
          <a:lstStyle/>
          <a:p>
            <a:r>
              <a:rPr lang="en-US"/>
              <a:t>Notes view: </a:t>
            </a:r>
            <a:fld id="{128CEAFE-FA94-43E5-B0FF-D47E1CCDD1B4}" type="slidenum">
              <a:rPr lang="en-US" smtClean="0"/>
              <a:pPr/>
              <a:t>2</a:t>
            </a:fld>
            <a:endParaRPr lang="en-US"/>
          </a:p>
        </p:txBody>
      </p:sp>
    </p:spTree>
    <p:extLst>
      <p:ext uri="{BB962C8B-B14F-4D97-AF65-F5344CB8AC3E}">
        <p14:creationId xmlns:p14="http://schemas.microsoft.com/office/powerpoint/2010/main" val="12818613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155575" y="574675"/>
            <a:ext cx="6621463" cy="3724275"/>
          </a:xfrm>
        </p:spPr>
      </p:sp>
      <p:sp>
        <p:nvSpPr>
          <p:cNvPr id="3" name="Espace réservé des not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5"/>
          </p:nvPr>
        </p:nvSpPr>
        <p:spPr/>
        <p:txBody>
          <a:bodyPr/>
          <a:lstStyle/>
          <a:p>
            <a:r>
              <a:rPr lang="en-US"/>
              <a:t>Notes view: </a:t>
            </a:r>
            <a:fld id="{128CEAFE-FA94-43E5-B0FF-D47E1CCDD1B4}" type="slidenum">
              <a:rPr lang="en-US" smtClean="0"/>
              <a:pPr/>
              <a:t>3</a:t>
            </a:fld>
            <a:endParaRPr lang="en-US"/>
          </a:p>
        </p:txBody>
      </p:sp>
    </p:spTree>
    <p:extLst>
      <p:ext uri="{BB962C8B-B14F-4D97-AF65-F5344CB8AC3E}">
        <p14:creationId xmlns:p14="http://schemas.microsoft.com/office/powerpoint/2010/main" val="37517072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155575" y="574675"/>
            <a:ext cx="6621463" cy="3724275"/>
          </a:xfrm>
        </p:spPr>
      </p:sp>
      <p:sp>
        <p:nvSpPr>
          <p:cNvPr id="3" name="Espace réservé des not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5"/>
          </p:nvPr>
        </p:nvSpPr>
        <p:spPr/>
        <p:txBody>
          <a:bodyPr/>
          <a:lstStyle/>
          <a:p>
            <a:r>
              <a:rPr lang="en-US"/>
              <a:t>Notes view: </a:t>
            </a:r>
            <a:fld id="{128CEAFE-FA94-43E5-B0FF-D47E1CCDD1B4}" type="slidenum">
              <a:rPr lang="en-US" smtClean="0"/>
              <a:pPr/>
              <a:t>4</a:t>
            </a:fld>
            <a:endParaRPr lang="en-US"/>
          </a:p>
        </p:txBody>
      </p:sp>
    </p:spTree>
    <p:extLst>
      <p:ext uri="{BB962C8B-B14F-4D97-AF65-F5344CB8AC3E}">
        <p14:creationId xmlns:p14="http://schemas.microsoft.com/office/powerpoint/2010/main" val="81529166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155575" y="574675"/>
            <a:ext cx="6621463" cy="3724275"/>
          </a:xfrm>
        </p:spPr>
      </p:sp>
      <p:sp>
        <p:nvSpPr>
          <p:cNvPr id="3" name="Espace réservé des not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5"/>
          </p:nvPr>
        </p:nvSpPr>
        <p:spPr/>
        <p:txBody>
          <a:bodyPr/>
          <a:lstStyle/>
          <a:p>
            <a:r>
              <a:rPr lang="en-US"/>
              <a:t>Notes view: </a:t>
            </a:r>
            <a:fld id="{128CEAFE-FA94-43E5-B0FF-D47E1CCDD1B4}" type="slidenum">
              <a:rPr lang="en-US" smtClean="0"/>
              <a:pPr/>
              <a:t>5</a:t>
            </a:fld>
            <a:endParaRPr lang="en-US"/>
          </a:p>
        </p:txBody>
      </p:sp>
    </p:spTree>
    <p:extLst>
      <p:ext uri="{BB962C8B-B14F-4D97-AF65-F5344CB8AC3E}">
        <p14:creationId xmlns:p14="http://schemas.microsoft.com/office/powerpoint/2010/main" val="32143781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155575" y="574675"/>
            <a:ext cx="6621463" cy="3724275"/>
          </a:xfrm>
        </p:spPr>
      </p:sp>
      <p:sp>
        <p:nvSpPr>
          <p:cNvPr id="3" name="Espace réservé des not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5"/>
          </p:nvPr>
        </p:nvSpPr>
        <p:spPr/>
        <p:txBody>
          <a:bodyPr/>
          <a:lstStyle/>
          <a:p>
            <a:r>
              <a:rPr lang="en-US"/>
              <a:t>Notes view: </a:t>
            </a:r>
            <a:fld id="{128CEAFE-FA94-43E5-B0FF-D47E1CCDD1B4}" type="slidenum">
              <a:rPr lang="en-US" smtClean="0"/>
              <a:pPr/>
              <a:t>6</a:t>
            </a:fld>
            <a:endParaRPr lang="en-US"/>
          </a:p>
        </p:txBody>
      </p:sp>
    </p:spTree>
    <p:extLst>
      <p:ext uri="{BB962C8B-B14F-4D97-AF65-F5344CB8AC3E}">
        <p14:creationId xmlns:p14="http://schemas.microsoft.com/office/powerpoint/2010/main" val="78801554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155575" y="574675"/>
            <a:ext cx="6621463" cy="3724275"/>
          </a:xfrm>
        </p:spPr>
      </p:sp>
      <p:sp>
        <p:nvSpPr>
          <p:cNvPr id="3" name="Espace réservé des not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5"/>
          </p:nvPr>
        </p:nvSpPr>
        <p:spPr/>
        <p:txBody>
          <a:bodyPr/>
          <a:lstStyle/>
          <a:p>
            <a:r>
              <a:rPr lang="en-US"/>
              <a:t>Notes view: </a:t>
            </a:r>
            <a:fld id="{128CEAFE-FA94-43E5-B0FF-D47E1CCDD1B4}" type="slidenum">
              <a:rPr lang="en-US" smtClean="0"/>
              <a:pPr/>
              <a:t>7</a:t>
            </a:fld>
            <a:endParaRPr lang="en-US"/>
          </a:p>
        </p:txBody>
      </p:sp>
    </p:spTree>
    <p:extLst>
      <p:ext uri="{BB962C8B-B14F-4D97-AF65-F5344CB8AC3E}">
        <p14:creationId xmlns:p14="http://schemas.microsoft.com/office/powerpoint/2010/main" val="1015975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155575" y="574675"/>
            <a:ext cx="6621463" cy="3724275"/>
          </a:xfrm>
        </p:spPr>
      </p:sp>
      <p:sp>
        <p:nvSpPr>
          <p:cNvPr id="3" name="Espace réservé des not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5"/>
          </p:nvPr>
        </p:nvSpPr>
        <p:spPr/>
        <p:txBody>
          <a:bodyPr/>
          <a:lstStyle/>
          <a:p>
            <a:r>
              <a:rPr lang="en-US"/>
              <a:t>Notes view: </a:t>
            </a:r>
            <a:fld id="{128CEAFE-FA94-43E5-B0FF-D47E1CCDD1B4}" type="slidenum">
              <a:rPr lang="en-US" smtClean="0"/>
              <a:pPr/>
              <a:t>8</a:t>
            </a:fld>
            <a:endParaRPr lang="en-US"/>
          </a:p>
        </p:txBody>
      </p:sp>
    </p:spTree>
    <p:extLst>
      <p:ext uri="{BB962C8B-B14F-4D97-AF65-F5344CB8AC3E}">
        <p14:creationId xmlns:p14="http://schemas.microsoft.com/office/powerpoint/2010/main" val="280183003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155575" y="574675"/>
            <a:ext cx="6621463" cy="3724275"/>
          </a:xfrm>
        </p:spPr>
      </p:sp>
      <p:sp>
        <p:nvSpPr>
          <p:cNvPr id="3" name="Espace réservé des not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5"/>
          </p:nvPr>
        </p:nvSpPr>
        <p:spPr/>
        <p:txBody>
          <a:bodyPr/>
          <a:lstStyle/>
          <a:p>
            <a:r>
              <a:rPr lang="en-US"/>
              <a:t>Notes view: </a:t>
            </a:r>
            <a:fld id="{128CEAFE-FA94-43E5-B0FF-D47E1CCDD1B4}" type="slidenum">
              <a:rPr lang="en-US" smtClean="0"/>
              <a:pPr/>
              <a:t>14</a:t>
            </a:fld>
            <a:endParaRPr lang="en-US"/>
          </a:p>
        </p:txBody>
      </p:sp>
    </p:spTree>
    <p:extLst>
      <p:ext uri="{BB962C8B-B14F-4D97-AF65-F5344CB8AC3E}">
        <p14:creationId xmlns:p14="http://schemas.microsoft.com/office/powerpoint/2010/main" val="187138026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4.xml"/><Relationship Id="rId7" Type="http://schemas.openxmlformats.org/officeDocument/2006/relationships/image" Target="../media/image3.jpe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10" Type="http://schemas.openxmlformats.org/officeDocument/2006/relationships/image" Target="../media/image6.png"/><Relationship Id="rId4" Type="http://schemas.openxmlformats.org/officeDocument/2006/relationships/slideMaster" Target="../slideMasters/slideMaster1.xml"/><Relationship Id="rId9" Type="http://schemas.openxmlformats.org/officeDocument/2006/relationships/image" Target="../media/image5.jpe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21.jpeg"/><Relationship Id="rId3" Type="http://schemas.openxmlformats.org/officeDocument/2006/relationships/tags" Target="../tags/tag17.xml"/><Relationship Id="rId7" Type="http://schemas.openxmlformats.org/officeDocument/2006/relationships/image" Target="../media/image9.png"/><Relationship Id="rId2" Type="http://schemas.openxmlformats.org/officeDocument/2006/relationships/tags" Target="../tags/tag16.xml"/><Relationship Id="rId1" Type="http://schemas.openxmlformats.org/officeDocument/2006/relationships/vmlDrawing" Target="../drawings/vmlDrawing11.vml"/><Relationship Id="rId6" Type="http://schemas.openxmlformats.org/officeDocument/2006/relationships/image" Target="../media/image12.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1.xml"/><Relationship Id="rId1" Type="http://schemas.openxmlformats.org/officeDocument/2006/relationships/vmlDrawing" Target="../drawings/vmlDrawing101.vml"/><Relationship Id="rId5" Type="http://schemas.openxmlformats.org/officeDocument/2006/relationships/image" Target="../media/image7.emf"/><Relationship Id="rId4" Type="http://schemas.openxmlformats.org/officeDocument/2006/relationships/oleObject" Target="../embeddings/oleObject101.bin"/></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2.xml"/><Relationship Id="rId1" Type="http://schemas.openxmlformats.org/officeDocument/2006/relationships/vmlDrawing" Target="../drawings/vmlDrawing102.vml"/><Relationship Id="rId5" Type="http://schemas.openxmlformats.org/officeDocument/2006/relationships/image" Target="../media/image7.emf"/><Relationship Id="rId4" Type="http://schemas.openxmlformats.org/officeDocument/2006/relationships/oleObject" Target="../embeddings/oleObject102.bin"/></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3.xml"/><Relationship Id="rId1" Type="http://schemas.openxmlformats.org/officeDocument/2006/relationships/vmlDrawing" Target="../drawings/vmlDrawing103.vml"/><Relationship Id="rId5" Type="http://schemas.openxmlformats.org/officeDocument/2006/relationships/image" Target="../media/image7.emf"/><Relationship Id="rId4" Type="http://schemas.openxmlformats.org/officeDocument/2006/relationships/oleObject" Target="../embeddings/oleObject103.bin"/></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4.xml"/><Relationship Id="rId1" Type="http://schemas.openxmlformats.org/officeDocument/2006/relationships/vmlDrawing" Target="../drawings/vmlDrawing104.vml"/><Relationship Id="rId5" Type="http://schemas.openxmlformats.org/officeDocument/2006/relationships/image" Target="../media/image7.emf"/><Relationship Id="rId4" Type="http://schemas.openxmlformats.org/officeDocument/2006/relationships/oleObject" Target="../embeddings/oleObject104.bin"/></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5.xml"/><Relationship Id="rId1" Type="http://schemas.openxmlformats.org/officeDocument/2006/relationships/vmlDrawing" Target="../drawings/vmlDrawing105.vml"/><Relationship Id="rId5" Type="http://schemas.openxmlformats.org/officeDocument/2006/relationships/image" Target="../media/image7.emf"/><Relationship Id="rId4" Type="http://schemas.openxmlformats.org/officeDocument/2006/relationships/oleObject" Target="../embeddings/oleObject105.bin"/></Relationships>
</file>

<file path=ppt/slideLayouts/_rels/slideLayout105.xml.rels><?xml version="1.0" encoding="UTF-8" standalone="yes"?>
<Relationships xmlns="http://schemas.openxmlformats.org/package/2006/relationships"><Relationship Id="rId3" Type="http://schemas.openxmlformats.org/officeDocument/2006/relationships/tags" Target="../tags/tag146.xml"/><Relationship Id="rId7" Type="http://schemas.openxmlformats.org/officeDocument/2006/relationships/image" Target="../media/image10.png"/><Relationship Id="rId2" Type="http://schemas.openxmlformats.org/officeDocument/2006/relationships/vmlDrawing" Target="../drawings/vmlDrawing106.vml"/><Relationship Id="rId1" Type="http://schemas.openxmlformats.org/officeDocument/2006/relationships/themeOverride" Target="../theme/themeOverride30.xml"/><Relationship Id="rId6" Type="http://schemas.openxmlformats.org/officeDocument/2006/relationships/image" Target="../media/image7.emf"/><Relationship Id="rId5" Type="http://schemas.openxmlformats.org/officeDocument/2006/relationships/oleObject" Target="../embeddings/oleObject106.bin"/><Relationship Id="rId4" Type="http://schemas.openxmlformats.org/officeDocument/2006/relationships/slideMaster" Target="../slideMasters/slideMaster1.xml"/></Relationships>
</file>

<file path=ppt/slideLayouts/_rels/slideLayout106.xml.rels><?xml version="1.0" encoding="UTF-8" standalone="yes"?>
<Relationships xmlns="http://schemas.openxmlformats.org/package/2006/relationships"><Relationship Id="rId3" Type="http://schemas.openxmlformats.org/officeDocument/2006/relationships/tags" Target="../tags/tag147.xml"/><Relationship Id="rId7" Type="http://schemas.openxmlformats.org/officeDocument/2006/relationships/image" Target="../media/image10.png"/><Relationship Id="rId2" Type="http://schemas.openxmlformats.org/officeDocument/2006/relationships/vmlDrawing" Target="../drawings/vmlDrawing107.vml"/><Relationship Id="rId1" Type="http://schemas.openxmlformats.org/officeDocument/2006/relationships/themeOverride" Target="../theme/themeOverride31.xml"/><Relationship Id="rId6" Type="http://schemas.openxmlformats.org/officeDocument/2006/relationships/image" Target="../media/image7.emf"/><Relationship Id="rId5" Type="http://schemas.openxmlformats.org/officeDocument/2006/relationships/oleObject" Target="../embeddings/oleObject107.bin"/><Relationship Id="rId4" Type="http://schemas.openxmlformats.org/officeDocument/2006/relationships/slideMaster" Target="../slideMasters/slideMaster1.xml"/></Relationships>
</file>

<file path=ppt/slideLayouts/_rels/slideLayout107.xml.rels><?xml version="1.0" encoding="UTF-8" standalone="yes"?>
<Relationships xmlns="http://schemas.openxmlformats.org/package/2006/relationships"><Relationship Id="rId3" Type="http://schemas.openxmlformats.org/officeDocument/2006/relationships/tags" Target="../tags/tag148.xml"/><Relationship Id="rId7" Type="http://schemas.openxmlformats.org/officeDocument/2006/relationships/image" Target="../media/image10.png"/><Relationship Id="rId2" Type="http://schemas.openxmlformats.org/officeDocument/2006/relationships/vmlDrawing" Target="../drawings/vmlDrawing108.vml"/><Relationship Id="rId1" Type="http://schemas.openxmlformats.org/officeDocument/2006/relationships/themeOverride" Target="../theme/themeOverride32.xml"/><Relationship Id="rId6" Type="http://schemas.openxmlformats.org/officeDocument/2006/relationships/image" Target="../media/image7.emf"/><Relationship Id="rId5" Type="http://schemas.openxmlformats.org/officeDocument/2006/relationships/oleObject" Target="../embeddings/oleObject108.bin"/><Relationship Id="rId4" Type="http://schemas.openxmlformats.org/officeDocument/2006/relationships/slideMaster" Target="../slideMasters/slideMaster1.xml"/></Relationships>
</file>

<file path=ppt/slideLayouts/_rels/slideLayout108.xml.rels><?xml version="1.0" encoding="UTF-8" standalone="yes"?>
<Relationships xmlns="http://schemas.openxmlformats.org/package/2006/relationships"><Relationship Id="rId3" Type="http://schemas.openxmlformats.org/officeDocument/2006/relationships/tags" Target="../tags/tag149.xml"/><Relationship Id="rId7" Type="http://schemas.openxmlformats.org/officeDocument/2006/relationships/image" Target="../media/image10.png"/><Relationship Id="rId2" Type="http://schemas.openxmlformats.org/officeDocument/2006/relationships/vmlDrawing" Target="../drawings/vmlDrawing109.vml"/><Relationship Id="rId1" Type="http://schemas.openxmlformats.org/officeDocument/2006/relationships/themeOverride" Target="../theme/themeOverride33.xml"/><Relationship Id="rId6" Type="http://schemas.openxmlformats.org/officeDocument/2006/relationships/image" Target="../media/image7.emf"/><Relationship Id="rId5" Type="http://schemas.openxmlformats.org/officeDocument/2006/relationships/oleObject" Target="../embeddings/oleObject109.bin"/><Relationship Id="rId4" Type="http://schemas.openxmlformats.org/officeDocument/2006/relationships/slideMaster" Target="../slideMasters/slideMaster1.xml"/></Relationships>
</file>

<file path=ppt/slideLayouts/_rels/slideLayout109.xml.rels><?xml version="1.0" encoding="UTF-8" standalone="yes"?>
<Relationships xmlns="http://schemas.openxmlformats.org/package/2006/relationships"><Relationship Id="rId3" Type="http://schemas.openxmlformats.org/officeDocument/2006/relationships/tags" Target="../tags/tag150.xml"/><Relationship Id="rId7" Type="http://schemas.openxmlformats.org/officeDocument/2006/relationships/image" Target="../media/image10.png"/><Relationship Id="rId2" Type="http://schemas.openxmlformats.org/officeDocument/2006/relationships/vmlDrawing" Target="../drawings/vmlDrawing110.vml"/><Relationship Id="rId1" Type="http://schemas.openxmlformats.org/officeDocument/2006/relationships/themeOverride" Target="../theme/themeOverride34.xml"/><Relationship Id="rId6" Type="http://schemas.openxmlformats.org/officeDocument/2006/relationships/image" Target="../media/image7.emf"/><Relationship Id="rId5" Type="http://schemas.openxmlformats.org/officeDocument/2006/relationships/oleObject" Target="../embeddings/oleObject110.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9.png"/><Relationship Id="rId2" Type="http://schemas.openxmlformats.org/officeDocument/2006/relationships/tags" Target="../tags/tag18.xml"/><Relationship Id="rId1" Type="http://schemas.openxmlformats.org/officeDocument/2006/relationships/vmlDrawing" Target="../drawings/vmlDrawing12.vml"/><Relationship Id="rId6" Type="http://schemas.openxmlformats.org/officeDocument/2006/relationships/image" Target="../media/image12.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tags" Target="../tags/tag151.xml"/><Relationship Id="rId7" Type="http://schemas.openxmlformats.org/officeDocument/2006/relationships/image" Target="../media/image10.png"/><Relationship Id="rId2" Type="http://schemas.openxmlformats.org/officeDocument/2006/relationships/vmlDrawing" Target="../drawings/vmlDrawing111.vml"/><Relationship Id="rId1" Type="http://schemas.openxmlformats.org/officeDocument/2006/relationships/themeOverride" Target="../theme/themeOverride35.xml"/><Relationship Id="rId6" Type="http://schemas.openxmlformats.org/officeDocument/2006/relationships/image" Target="../media/image7.emf"/><Relationship Id="rId5" Type="http://schemas.openxmlformats.org/officeDocument/2006/relationships/oleObject" Target="../embeddings/oleObject111.bin"/><Relationship Id="rId4" Type="http://schemas.openxmlformats.org/officeDocument/2006/relationships/slideMaster" Target="../slideMasters/slideMaster1.xml"/></Relationships>
</file>

<file path=ppt/slideLayouts/_rels/slideLayout111.xml.rels><?xml version="1.0" encoding="UTF-8" standalone="yes"?>
<Relationships xmlns="http://schemas.openxmlformats.org/package/2006/relationships"><Relationship Id="rId3" Type="http://schemas.openxmlformats.org/officeDocument/2006/relationships/tags" Target="../tags/tag152.xml"/><Relationship Id="rId7" Type="http://schemas.openxmlformats.org/officeDocument/2006/relationships/image" Target="../media/image45.png"/><Relationship Id="rId2" Type="http://schemas.openxmlformats.org/officeDocument/2006/relationships/vmlDrawing" Target="../drawings/vmlDrawing112.vml"/><Relationship Id="rId1" Type="http://schemas.openxmlformats.org/officeDocument/2006/relationships/themeOverride" Target="../theme/themeOverride36.xml"/><Relationship Id="rId6" Type="http://schemas.openxmlformats.org/officeDocument/2006/relationships/image" Target="../media/image54.emf"/><Relationship Id="rId5" Type="http://schemas.openxmlformats.org/officeDocument/2006/relationships/oleObject" Target="../embeddings/oleObject112.bin"/><Relationship Id="rId4" Type="http://schemas.openxmlformats.org/officeDocument/2006/relationships/slideMaster" Target="../slideMasters/slideMaster1.xml"/></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3.xml"/><Relationship Id="rId1" Type="http://schemas.openxmlformats.org/officeDocument/2006/relationships/vmlDrawing" Target="../drawings/vmlDrawing113.vml"/><Relationship Id="rId6" Type="http://schemas.openxmlformats.org/officeDocument/2006/relationships/image" Target="../media/image52.png"/><Relationship Id="rId5" Type="http://schemas.openxmlformats.org/officeDocument/2006/relationships/image" Target="../media/image7.emf"/><Relationship Id="rId4" Type="http://schemas.openxmlformats.org/officeDocument/2006/relationships/oleObject" Target="../embeddings/oleObject113.bin"/></Relationships>
</file>

<file path=ppt/slideLayouts/_rels/slideLayout113.xml.rels><?xml version="1.0" encoding="UTF-8" standalone="yes"?>
<Relationships xmlns="http://schemas.openxmlformats.org/package/2006/relationships"><Relationship Id="rId3" Type="http://schemas.openxmlformats.org/officeDocument/2006/relationships/tags" Target="../tags/tag154.xml"/><Relationship Id="rId7" Type="http://schemas.openxmlformats.org/officeDocument/2006/relationships/image" Target="../media/image55.png"/><Relationship Id="rId2" Type="http://schemas.openxmlformats.org/officeDocument/2006/relationships/vmlDrawing" Target="../drawings/vmlDrawing114.vml"/><Relationship Id="rId1" Type="http://schemas.openxmlformats.org/officeDocument/2006/relationships/themeOverride" Target="../theme/themeOverride37.xml"/><Relationship Id="rId6" Type="http://schemas.openxmlformats.org/officeDocument/2006/relationships/image" Target="../media/image7.emf"/><Relationship Id="rId5" Type="http://schemas.openxmlformats.org/officeDocument/2006/relationships/oleObject" Target="../embeddings/oleObject114.bin"/><Relationship Id="rId4" Type="http://schemas.openxmlformats.org/officeDocument/2006/relationships/slideMaster" Target="../slideMasters/slideMaster1.xml"/></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5.xml"/><Relationship Id="rId1" Type="http://schemas.openxmlformats.org/officeDocument/2006/relationships/vmlDrawing" Target="../drawings/vmlDrawing115.vml"/><Relationship Id="rId6" Type="http://schemas.openxmlformats.org/officeDocument/2006/relationships/image" Target="../media/image52.png"/><Relationship Id="rId5" Type="http://schemas.openxmlformats.org/officeDocument/2006/relationships/image" Target="../media/image7.emf"/><Relationship Id="rId4" Type="http://schemas.openxmlformats.org/officeDocument/2006/relationships/oleObject" Target="../embeddings/oleObject115.bin"/></Relationships>
</file>

<file path=ppt/slideLayouts/_rels/slideLayout115.xml.rels><?xml version="1.0" encoding="UTF-8" standalone="yes"?>
<Relationships xmlns="http://schemas.openxmlformats.org/package/2006/relationships"><Relationship Id="rId3" Type="http://schemas.openxmlformats.org/officeDocument/2006/relationships/tags" Target="../tags/tag156.xml"/><Relationship Id="rId7" Type="http://schemas.openxmlformats.org/officeDocument/2006/relationships/image" Target="../media/image45.png"/><Relationship Id="rId2" Type="http://schemas.openxmlformats.org/officeDocument/2006/relationships/vmlDrawing" Target="../drawings/vmlDrawing116.vml"/><Relationship Id="rId1" Type="http://schemas.openxmlformats.org/officeDocument/2006/relationships/themeOverride" Target="../theme/themeOverride38.xml"/><Relationship Id="rId6" Type="http://schemas.openxmlformats.org/officeDocument/2006/relationships/image" Target="../media/image7.emf"/><Relationship Id="rId5" Type="http://schemas.openxmlformats.org/officeDocument/2006/relationships/oleObject" Target="../embeddings/oleObject116.bin"/><Relationship Id="rId4" Type="http://schemas.openxmlformats.org/officeDocument/2006/relationships/slideMaster" Target="../slideMasters/slideMaster1.xml"/></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7.xml"/><Relationship Id="rId1" Type="http://schemas.openxmlformats.org/officeDocument/2006/relationships/vmlDrawing" Target="../drawings/vmlDrawing117.vml"/><Relationship Id="rId6" Type="http://schemas.openxmlformats.org/officeDocument/2006/relationships/image" Target="../media/image52.png"/><Relationship Id="rId5" Type="http://schemas.openxmlformats.org/officeDocument/2006/relationships/image" Target="../media/image7.emf"/><Relationship Id="rId4" Type="http://schemas.openxmlformats.org/officeDocument/2006/relationships/oleObject" Target="../embeddings/oleObject117.bin"/></Relationships>
</file>

<file path=ppt/slideLayouts/_rels/slideLayout117.xml.rels><?xml version="1.0" encoding="UTF-8" standalone="yes"?>
<Relationships xmlns="http://schemas.openxmlformats.org/package/2006/relationships"><Relationship Id="rId3" Type="http://schemas.openxmlformats.org/officeDocument/2006/relationships/tags" Target="../tags/tag158.xml"/><Relationship Id="rId7" Type="http://schemas.openxmlformats.org/officeDocument/2006/relationships/image" Target="../media/image45.png"/><Relationship Id="rId2" Type="http://schemas.openxmlformats.org/officeDocument/2006/relationships/vmlDrawing" Target="../drawings/vmlDrawing118.vml"/><Relationship Id="rId1" Type="http://schemas.openxmlformats.org/officeDocument/2006/relationships/themeOverride" Target="../theme/themeOverride39.xml"/><Relationship Id="rId6" Type="http://schemas.openxmlformats.org/officeDocument/2006/relationships/image" Target="../media/image7.emf"/><Relationship Id="rId5" Type="http://schemas.openxmlformats.org/officeDocument/2006/relationships/oleObject" Target="../embeddings/oleObject118.bin"/><Relationship Id="rId4" Type="http://schemas.openxmlformats.org/officeDocument/2006/relationships/slideMaster" Target="../slideMasters/slideMaster1.xml"/></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9.xml"/><Relationship Id="rId1" Type="http://schemas.openxmlformats.org/officeDocument/2006/relationships/vmlDrawing" Target="../drawings/vmlDrawing119.vml"/><Relationship Id="rId6" Type="http://schemas.openxmlformats.org/officeDocument/2006/relationships/image" Target="../media/image52.png"/><Relationship Id="rId5" Type="http://schemas.openxmlformats.org/officeDocument/2006/relationships/image" Target="../media/image7.emf"/><Relationship Id="rId4" Type="http://schemas.openxmlformats.org/officeDocument/2006/relationships/oleObject" Target="../embeddings/oleObject119.bin"/></Relationships>
</file>

<file path=ppt/slideLayouts/_rels/slideLayout119.xml.rels><?xml version="1.0" encoding="UTF-8" standalone="yes"?>
<Relationships xmlns="http://schemas.openxmlformats.org/package/2006/relationships"><Relationship Id="rId3" Type="http://schemas.openxmlformats.org/officeDocument/2006/relationships/tags" Target="../tags/tag160.xml"/><Relationship Id="rId2" Type="http://schemas.openxmlformats.org/officeDocument/2006/relationships/vmlDrawing" Target="../drawings/vmlDrawing120.vml"/><Relationship Id="rId1" Type="http://schemas.openxmlformats.org/officeDocument/2006/relationships/themeOverride" Target="../theme/themeOverride40.xml"/><Relationship Id="rId6" Type="http://schemas.openxmlformats.org/officeDocument/2006/relationships/image" Target="../media/image7.emf"/><Relationship Id="rId5" Type="http://schemas.openxmlformats.org/officeDocument/2006/relationships/oleObject" Target="../embeddings/oleObject120.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9.png"/><Relationship Id="rId2" Type="http://schemas.openxmlformats.org/officeDocument/2006/relationships/tags" Target="../tags/tag20.xml"/><Relationship Id="rId1" Type="http://schemas.openxmlformats.org/officeDocument/2006/relationships/vmlDrawing" Target="../drawings/vmlDrawing13.vml"/><Relationship Id="rId6" Type="http://schemas.openxmlformats.org/officeDocument/2006/relationships/image" Target="../media/image12.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1.xml"/><Relationship Id="rId1" Type="http://schemas.openxmlformats.org/officeDocument/2006/relationships/vmlDrawing" Target="../drawings/vmlDrawing121.vml"/><Relationship Id="rId5" Type="http://schemas.openxmlformats.org/officeDocument/2006/relationships/image" Target="../media/image7.emf"/><Relationship Id="rId4" Type="http://schemas.openxmlformats.org/officeDocument/2006/relationships/oleObject" Target="../embeddings/oleObject121.bin"/></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2.xml"/><Relationship Id="rId1" Type="http://schemas.openxmlformats.org/officeDocument/2006/relationships/vmlDrawing" Target="../drawings/vmlDrawing122.vml"/><Relationship Id="rId6" Type="http://schemas.openxmlformats.org/officeDocument/2006/relationships/image" Target="../media/image10.png"/><Relationship Id="rId5" Type="http://schemas.openxmlformats.org/officeDocument/2006/relationships/image" Target="../media/image2.emf"/><Relationship Id="rId4" Type="http://schemas.openxmlformats.org/officeDocument/2006/relationships/oleObject" Target="../embeddings/oleObject122.bin"/></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3.xml"/><Relationship Id="rId1" Type="http://schemas.openxmlformats.org/officeDocument/2006/relationships/vmlDrawing" Target="../drawings/vmlDrawing123.vml"/><Relationship Id="rId5" Type="http://schemas.openxmlformats.org/officeDocument/2006/relationships/image" Target="../media/image7.emf"/><Relationship Id="rId4" Type="http://schemas.openxmlformats.org/officeDocument/2006/relationships/oleObject" Target="../embeddings/oleObject123.bin"/></Relationships>
</file>

<file path=ppt/slideLayouts/_rels/slideLayout123.xml.rels><?xml version="1.0" encoding="UTF-8" standalone="yes"?>
<Relationships xmlns="http://schemas.openxmlformats.org/package/2006/relationships"><Relationship Id="rId3" Type="http://schemas.openxmlformats.org/officeDocument/2006/relationships/tags" Target="../tags/tag164.xml"/><Relationship Id="rId7" Type="http://schemas.openxmlformats.org/officeDocument/2006/relationships/image" Target="../media/image45.png"/><Relationship Id="rId2" Type="http://schemas.openxmlformats.org/officeDocument/2006/relationships/vmlDrawing" Target="../drawings/vmlDrawing124.vml"/><Relationship Id="rId1" Type="http://schemas.openxmlformats.org/officeDocument/2006/relationships/themeOverride" Target="../theme/themeOverride41.xml"/><Relationship Id="rId6" Type="http://schemas.openxmlformats.org/officeDocument/2006/relationships/image" Target="../media/image7.emf"/><Relationship Id="rId5" Type="http://schemas.openxmlformats.org/officeDocument/2006/relationships/oleObject" Target="../embeddings/oleObject124.bin"/><Relationship Id="rId4" Type="http://schemas.openxmlformats.org/officeDocument/2006/relationships/slideMaster" Target="../slideMasters/slideMaster1.xml"/></Relationships>
</file>

<file path=ppt/slideLayouts/_rels/slideLayout124.xml.rels><?xml version="1.0" encoding="UTF-8" standalone="yes"?>
<Relationships xmlns="http://schemas.openxmlformats.org/package/2006/relationships"><Relationship Id="rId3" Type="http://schemas.openxmlformats.org/officeDocument/2006/relationships/tags" Target="../tags/tag165.xml"/><Relationship Id="rId2" Type="http://schemas.openxmlformats.org/officeDocument/2006/relationships/vmlDrawing" Target="../drawings/vmlDrawing125.vml"/><Relationship Id="rId1" Type="http://schemas.openxmlformats.org/officeDocument/2006/relationships/themeOverride" Target="../theme/themeOverride42.xml"/><Relationship Id="rId6" Type="http://schemas.openxmlformats.org/officeDocument/2006/relationships/image" Target="../media/image7.emf"/><Relationship Id="rId5" Type="http://schemas.openxmlformats.org/officeDocument/2006/relationships/oleObject" Target="../embeddings/oleObject125.bin"/><Relationship Id="rId4" Type="http://schemas.openxmlformats.org/officeDocument/2006/relationships/slideMaster" Target="../slideMasters/slideMaster1.xml"/></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6.xml"/><Relationship Id="rId1" Type="http://schemas.openxmlformats.org/officeDocument/2006/relationships/vmlDrawing" Target="../drawings/vmlDrawing126.vml"/><Relationship Id="rId5" Type="http://schemas.openxmlformats.org/officeDocument/2006/relationships/image" Target="../media/image7.emf"/><Relationship Id="rId4" Type="http://schemas.openxmlformats.org/officeDocument/2006/relationships/oleObject" Target="../embeddings/oleObject126.bin"/></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7.xml"/><Relationship Id="rId1" Type="http://schemas.openxmlformats.org/officeDocument/2006/relationships/vmlDrawing" Target="../drawings/vmlDrawing127.vml"/><Relationship Id="rId5" Type="http://schemas.openxmlformats.org/officeDocument/2006/relationships/image" Target="../media/image7.emf"/><Relationship Id="rId4" Type="http://schemas.openxmlformats.org/officeDocument/2006/relationships/oleObject" Target="../embeddings/oleObject127.bin"/></Relationships>
</file>

<file path=ppt/slideLayouts/_rels/slideLayout127.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openxmlformats.org/officeDocument/2006/relationships/image" Target="../media/image63.png"/><Relationship Id="rId2" Type="http://schemas.openxmlformats.org/officeDocument/2006/relationships/tags" Target="../tags/tag168.xml"/><Relationship Id="rId1" Type="http://schemas.openxmlformats.org/officeDocument/2006/relationships/vmlDrawing" Target="../drawings/vmlDrawing128.vml"/><Relationship Id="rId6" Type="http://schemas.openxmlformats.org/officeDocument/2006/relationships/image" Target="../media/image3.jpeg"/><Relationship Id="rId5" Type="http://schemas.openxmlformats.org/officeDocument/2006/relationships/image" Target="../media/image2.emf"/><Relationship Id="rId4" Type="http://schemas.openxmlformats.org/officeDocument/2006/relationships/oleObject" Target="../embeddings/oleObject128.bin"/></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9.xml"/><Relationship Id="rId1" Type="http://schemas.openxmlformats.org/officeDocument/2006/relationships/vmlDrawing" Target="../drawings/vmlDrawing129.vml"/><Relationship Id="rId5" Type="http://schemas.openxmlformats.org/officeDocument/2006/relationships/image" Target="../media/image7.emf"/><Relationship Id="rId4" Type="http://schemas.openxmlformats.org/officeDocument/2006/relationships/oleObject" Target="../embeddings/oleObject129.bin"/></Relationships>
</file>

<file path=ppt/slideLayouts/_rels/slideLayout129.xml.rels><?xml version="1.0" encoding="UTF-8" standalone="yes"?>
<Relationships xmlns="http://schemas.openxmlformats.org/package/2006/relationships"><Relationship Id="rId3" Type="http://schemas.openxmlformats.org/officeDocument/2006/relationships/tags" Target="../tags/tag170.xml"/><Relationship Id="rId7" Type="http://schemas.openxmlformats.org/officeDocument/2006/relationships/image" Target="../media/image1.emf"/><Relationship Id="rId2" Type="http://schemas.openxmlformats.org/officeDocument/2006/relationships/vmlDrawing" Target="../drawings/vmlDrawing130.vml"/><Relationship Id="rId1" Type="http://schemas.openxmlformats.org/officeDocument/2006/relationships/themeOverride" Target="../theme/themeOverride43.xml"/><Relationship Id="rId6" Type="http://schemas.openxmlformats.org/officeDocument/2006/relationships/oleObject" Target="../embeddings/oleObject130.bin"/><Relationship Id="rId5" Type="http://schemas.openxmlformats.org/officeDocument/2006/relationships/slideMaster" Target="../slideMasters/slideMaster1.xml"/><Relationship Id="rId4" Type="http://schemas.openxmlformats.org/officeDocument/2006/relationships/tags" Target="../tags/tag17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9.png"/><Relationship Id="rId2" Type="http://schemas.openxmlformats.org/officeDocument/2006/relationships/tags" Target="../tags/tag22.xml"/><Relationship Id="rId1" Type="http://schemas.openxmlformats.org/officeDocument/2006/relationships/vmlDrawing" Target="../drawings/vmlDrawing14.vml"/><Relationship Id="rId6" Type="http://schemas.openxmlformats.org/officeDocument/2006/relationships/image" Target="../media/image12.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tags" Target="../tags/tag172.xml"/><Relationship Id="rId2" Type="http://schemas.openxmlformats.org/officeDocument/2006/relationships/vmlDrawing" Target="../drawings/vmlDrawing131.vml"/><Relationship Id="rId1" Type="http://schemas.openxmlformats.org/officeDocument/2006/relationships/themeOverride" Target="../theme/themeOverride44.xml"/><Relationship Id="rId6" Type="http://schemas.openxmlformats.org/officeDocument/2006/relationships/image" Target="../media/image1.emf"/><Relationship Id="rId5" Type="http://schemas.openxmlformats.org/officeDocument/2006/relationships/oleObject" Target="../embeddings/oleObject131.bin"/><Relationship Id="rId4" Type="http://schemas.openxmlformats.org/officeDocument/2006/relationships/slideMaster" Target="../slideMasters/slideMaster1.xml"/></Relationships>
</file>

<file path=ppt/slideLayouts/_rels/slideLayout131.xml.rels><?xml version="1.0" encoding="UTF-8" standalone="yes"?>
<Relationships xmlns="http://schemas.openxmlformats.org/package/2006/relationships"><Relationship Id="rId3" Type="http://schemas.openxmlformats.org/officeDocument/2006/relationships/tags" Target="../tags/tag173.xml"/><Relationship Id="rId2" Type="http://schemas.openxmlformats.org/officeDocument/2006/relationships/vmlDrawing" Target="../drawings/vmlDrawing132.vml"/><Relationship Id="rId1" Type="http://schemas.openxmlformats.org/officeDocument/2006/relationships/themeOverride" Target="../theme/themeOverride45.xml"/><Relationship Id="rId6" Type="http://schemas.openxmlformats.org/officeDocument/2006/relationships/image" Target="../media/image1.emf"/><Relationship Id="rId5" Type="http://schemas.openxmlformats.org/officeDocument/2006/relationships/oleObject" Target="../embeddings/oleObject132.bin"/><Relationship Id="rId4" Type="http://schemas.openxmlformats.org/officeDocument/2006/relationships/slideMaster" Target="../slideMasters/slideMaster1.xml"/></Relationships>
</file>

<file path=ppt/slideLayouts/_rels/slideLayout132.xml.rels><?xml version="1.0" encoding="UTF-8" standalone="yes"?>
<Relationships xmlns="http://schemas.openxmlformats.org/package/2006/relationships"><Relationship Id="rId3" Type="http://schemas.openxmlformats.org/officeDocument/2006/relationships/tags" Target="../tags/tag174.xml"/><Relationship Id="rId7" Type="http://schemas.openxmlformats.org/officeDocument/2006/relationships/image" Target="../media/image10.png"/><Relationship Id="rId2" Type="http://schemas.openxmlformats.org/officeDocument/2006/relationships/vmlDrawing" Target="../drawings/vmlDrawing133.vml"/><Relationship Id="rId1" Type="http://schemas.openxmlformats.org/officeDocument/2006/relationships/themeOverride" Target="../theme/themeOverride46.xml"/><Relationship Id="rId6" Type="http://schemas.openxmlformats.org/officeDocument/2006/relationships/image" Target="../media/image1.emf"/><Relationship Id="rId5" Type="http://schemas.openxmlformats.org/officeDocument/2006/relationships/oleObject" Target="../embeddings/oleObject133.bin"/><Relationship Id="rId4" Type="http://schemas.openxmlformats.org/officeDocument/2006/relationships/slideMaster" Target="../slideMasters/slideMaster1.xml"/></Relationships>
</file>

<file path=ppt/slideLayouts/_rels/slideLayout133.xml.rels><?xml version="1.0" encoding="UTF-8" standalone="yes"?>
<Relationships xmlns="http://schemas.openxmlformats.org/package/2006/relationships"><Relationship Id="rId3" Type="http://schemas.openxmlformats.org/officeDocument/2006/relationships/tags" Target="../tags/tag176.xml"/><Relationship Id="rId2" Type="http://schemas.openxmlformats.org/officeDocument/2006/relationships/tags" Target="../tags/tag175.xml"/><Relationship Id="rId1" Type="http://schemas.openxmlformats.org/officeDocument/2006/relationships/vmlDrawing" Target="../drawings/vmlDrawing134.vml"/><Relationship Id="rId6" Type="http://schemas.openxmlformats.org/officeDocument/2006/relationships/image" Target="../media/image1.emf"/><Relationship Id="rId5" Type="http://schemas.openxmlformats.org/officeDocument/2006/relationships/oleObject" Target="../embeddings/oleObject134.bin"/><Relationship Id="rId4" Type="http://schemas.openxmlformats.org/officeDocument/2006/relationships/slideMaster" Target="../slideMasters/slideMaster1.xml"/></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7.xml"/><Relationship Id="rId1" Type="http://schemas.openxmlformats.org/officeDocument/2006/relationships/vmlDrawing" Target="../drawings/vmlDrawing135.vml"/><Relationship Id="rId5" Type="http://schemas.openxmlformats.org/officeDocument/2006/relationships/image" Target="../media/image1.emf"/><Relationship Id="rId4" Type="http://schemas.openxmlformats.org/officeDocument/2006/relationships/oleObject" Target="../embeddings/oleObject135.bin"/></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8.xml"/><Relationship Id="rId1" Type="http://schemas.openxmlformats.org/officeDocument/2006/relationships/vmlDrawing" Target="../drawings/vmlDrawing136.vml"/><Relationship Id="rId5" Type="http://schemas.openxmlformats.org/officeDocument/2006/relationships/image" Target="../media/image1.emf"/><Relationship Id="rId4" Type="http://schemas.openxmlformats.org/officeDocument/2006/relationships/oleObject" Target="../embeddings/oleObject136.bin"/></Relationships>
</file>

<file path=ppt/slideLayouts/_rels/slideLayout136.xml.rels><?xml version="1.0" encoding="UTF-8" standalone="yes"?>
<Relationships xmlns="http://schemas.openxmlformats.org/package/2006/relationships"><Relationship Id="rId3" Type="http://schemas.openxmlformats.org/officeDocument/2006/relationships/tags" Target="../tags/tag179.xml"/><Relationship Id="rId7" Type="http://schemas.openxmlformats.org/officeDocument/2006/relationships/image" Target="../media/image10.png"/><Relationship Id="rId2" Type="http://schemas.openxmlformats.org/officeDocument/2006/relationships/vmlDrawing" Target="../drawings/vmlDrawing137.vml"/><Relationship Id="rId1" Type="http://schemas.openxmlformats.org/officeDocument/2006/relationships/themeOverride" Target="../theme/themeOverride47.xml"/><Relationship Id="rId6" Type="http://schemas.openxmlformats.org/officeDocument/2006/relationships/image" Target="../media/image1.emf"/><Relationship Id="rId5" Type="http://schemas.openxmlformats.org/officeDocument/2006/relationships/oleObject" Target="../embeddings/oleObject137.bin"/><Relationship Id="rId4" Type="http://schemas.openxmlformats.org/officeDocument/2006/relationships/slideMaster" Target="../slideMasters/slideMaster1.xml"/></Relationships>
</file>

<file path=ppt/slideLayouts/_rels/slideLayout137.xml.rels><?xml version="1.0" encoding="UTF-8" standalone="yes"?>
<Relationships xmlns="http://schemas.openxmlformats.org/package/2006/relationships"><Relationship Id="rId3" Type="http://schemas.openxmlformats.org/officeDocument/2006/relationships/tags" Target="../tags/tag180.xml"/><Relationship Id="rId7" Type="http://schemas.openxmlformats.org/officeDocument/2006/relationships/image" Target="../media/image45.png"/><Relationship Id="rId2" Type="http://schemas.openxmlformats.org/officeDocument/2006/relationships/vmlDrawing" Target="../drawings/vmlDrawing138.vml"/><Relationship Id="rId1" Type="http://schemas.openxmlformats.org/officeDocument/2006/relationships/themeOverride" Target="../theme/themeOverride48.xml"/><Relationship Id="rId6" Type="http://schemas.openxmlformats.org/officeDocument/2006/relationships/image" Target="../media/image1.emf"/><Relationship Id="rId5" Type="http://schemas.openxmlformats.org/officeDocument/2006/relationships/oleObject" Target="../embeddings/oleObject138.bin"/><Relationship Id="rId4" Type="http://schemas.openxmlformats.org/officeDocument/2006/relationships/slideMaster" Target="../slideMasters/slideMaster1.xml"/></Relationships>
</file>

<file path=ppt/slideLayouts/_rels/slideLayout138.xml.rels><?xml version="1.0" encoding="UTF-8" standalone="yes"?>
<Relationships xmlns="http://schemas.openxmlformats.org/package/2006/relationships"><Relationship Id="rId3" Type="http://schemas.openxmlformats.org/officeDocument/2006/relationships/tags" Target="../tags/tag182.xml"/><Relationship Id="rId7" Type="http://schemas.openxmlformats.org/officeDocument/2006/relationships/image" Target="../media/image64.jpeg"/><Relationship Id="rId2" Type="http://schemas.openxmlformats.org/officeDocument/2006/relationships/tags" Target="../tags/tag181.xml"/><Relationship Id="rId1" Type="http://schemas.openxmlformats.org/officeDocument/2006/relationships/vmlDrawing" Target="../drawings/vmlDrawing139.vml"/><Relationship Id="rId6" Type="http://schemas.openxmlformats.org/officeDocument/2006/relationships/image" Target="../media/image2.emf"/><Relationship Id="rId5" Type="http://schemas.openxmlformats.org/officeDocument/2006/relationships/oleObject" Target="../embeddings/oleObject139.bin"/><Relationship Id="rId4" Type="http://schemas.openxmlformats.org/officeDocument/2006/relationships/slideMaster" Target="../slideMasters/slideMaster1.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9.png"/><Relationship Id="rId2" Type="http://schemas.openxmlformats.org/officeDocument/2006/relationships/tags" Target="../tags/tag24.xml"/><Relationship Id="rId1" Type="http://schemas.openxmlformats.org/officeDocument/2006/relationships/vmlDrawing" Target="../drawings/vmlDrawing15.vml"/><Relationship Id="rId6" Type="http://schemas.openxmlformats.org/officeDocument/2006/relationships/image" Target="../media/image12.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9.png"/><Relationship Id="rId2" Type="http://schemas.openxmlformats.org/officeDocument/2006/relationships/tags" Target="../tags/tag26.xml"/><Relationship Id="rId1" Type="http://schemas.openxmlformats.org/officeDocument/2006/relationships/vmlDrawing" Target="../drawings/vmlDrawing16.vml"/><Relationship Id="rId6" Type="http://schemas.openxmlformats.org/officeDocument/2006/relationships/image" Target="../media/image12.emf"/><Relationship Id="rId5" Type="http://schemas.openxmlformats.org/officeDocument/2006/relationships/oleObject" Target="../embeddings/oleObject16.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image" Target="../media/image9.png"/><Relationship Id="rId2" Type="http://schemas.openxmlformats.org/officeDocument/2006/relationships/tags" Target="../tags/tag28.xml"/><Relationship Id="rId1" Type="http://schemas.openxmlformats.org/officeDocument/2006/relationships/vmlDrawing" Target="../drawings/vmlDrawing17.vml"/><Relationship Id="rId6" Type="http://schemas.openxmlformats.org/officeDocument/2006/relationships/image" Target="../media/image12.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22.jpeg"/><Relationship Id="rId3" Type="http://schemas.openxmlformats.org/officeDocument/2006/relationships/tags" Target="../tags/tag31.xml"/><Relationship Id="rId7" Type="http://schemas.openxmlformats.org/officeDocument/2006/relationships/image" Target="../media/image9.png"/><Relationship Id="rId2" Type="http://schemas.openxmlformats.org/officeDocument/2006/relationships/tags" Target="../tags/tag30.xml"/><Relationship Id="rId1" Type="http://schemas.openxmlformats.org/officeDocument/2006/relationships/vmlDrawing" Target="../drawings/vmlDrawing18.vml"/><Relationship Id="rId6" Type="http://schemas.openxmlformats.org/officeDocument/2006/relationships/image" Target="../media/image12.emf"/><Relationship Id="rId5" Type="http://schemas.openxmlformats.org/officeDocument/2006/relationships/oleObject" Target="../embeddings/oleObject18.bin"/><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23.jpeg"/><Relationship Id="rId3" Type="http://schemas.openxmlformats.org/officeDocument/2006/relationships/tags" Target="../tags/tag33.xml"/><Relationship Id="rId7" Type="http://schemas.openxmlformats.org/officeDocument/2006/relationships/image" Target="../media/image9.png"/><Relationship Id="rId2" Type="http://schemas.openxmlformats.org/officeDocument/2006/relationships/tags" Target="../tags/tag32.xml"/><Relationship Id="rId1" Type="http://schemas.openxmlformats.org/officeDocument/2006/relationships/vmlDrawing" Target="../drawings/vmlDrawing19.vml"/><Relationship Id="rId6" Type="http://schemas.openxmlformats.org/officeDocument/2006/relationships/image" Target="../media/image12.emf"/><Relationship Id="rId5" Type="http://schemas.openxmlformats.org/officeDocument/2006/relationships/oleObject" Target="../embeddings/oleObject19.bin"/><Relationship Id="rId4"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24.jpeg"/><Relationship Id="rId3" Type="http://schemas.openxmlformats.org/officeDocument/2006/relationships/tags" Target="../tags/tag35.xml"/><Relationship Id="rId7" Type="http://schemas.openxmlformats.org/officeDocument/2006/relationships/image" Target="../media/image9.png"/><Relationship Id="rId2" Type="http://schemas.openxmlformats.org/officeDocument/2006/relationships/tags" Target="../tags/tag34.xml"/><Relationship Id="rId1" Type="http://schemas.openxmlformats.org/officeDocument/2006/relationships/vmlDrawing" Target="../drawings/vmlDrawing20.vml"/><Relationship Id="rId6" Type="http://schemas.openxmlformats.org/officeDocument/2006/relationships/image" Target="../media/image12.emf"/><Relationship Id="rId5" Type="http://schemas.openxmlformats.org/officeDocument/2006/relationships/oleObject" Target="../embeddings/oleObject20.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openxmlformats.org/officeDocument/2006/relationships/image" Target="../media/image9.png"/><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8.jpeg"/><Relationship Id="rId5" Type="http://schemas.openxmlformats.org/officeDocument/2006/relationships/image" Target="../media/image7.emf"/><Relationship Id="rId10" Type="http://schemas.openxmlformats.org/officeDocument/2006/relationships/image" Target="../media/image6.png"/><Relationship Id="rId4" Type="http://schemas.openxmlformats.org/officeDocument/2006/relationships/oleObject" Target="../embeddings/oleObject3.bin"/><Relationship Id="rId9" Type="http://schemas.openxmlformats.org/officeDocument/2006/relationships/image" Target="../media/image5.jpeg"/></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25.jpeg"/><Relationship Id="rId3" Type="http://schemas.openxmlformats.org/officeDocument/2006/relationships/tags" Target="../tags/tag37.xml"/><Relationship Id="rId7" Type="http://schemas.openxmlformats.org/officeDocument/2006/relationships/image" Target="../media/image9.png"/><Relationship Id="rId2" Type="http://schemas.openxmlformats.org/officeDocument/2006/relationships/tags" Target="../tags/tag36.xml"/><Relationship Id="rId1" Type="http://schemas.openxmlformats.org/officeDocument/2006/relationships/vmlDrawing" Target="../drawings/vmlDrawing21.vml"/><Relationship Id="rId6" Type="http://schemas.openxmlformats.org/officeDocument/2006/relationships/image" Target="../media/image12.emf"/><Relationship Id="rId5" Type="http://schemas.openxmlformats.org/officeDocument/2006/relationships/oleObject" Target="../embeddings/oleObject21.bin"/><Relationship Id="rId4"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26.jpeg"/><Relationship Id="rId3" Type="http://schemas.openxmlformats.org/officeDocument/2006/relationships/tags" Target="../tags/tag39.xml"/><Relationship Id="rId7" Type="http://schemas.openxmlformats.org/officeDocument/2006/relationships/image" Target="../media/image9.png"/><Relationship Id="rId2" Type="http://schemas.openxmlformats.org/officeDocument/2006/relationships/tags" Target="../tags/tag38.xml"/><Relationship Id="rId1" Type="http://schemas.openxmlformats.org/officeDocument/2006/relationships/vmlDrawing" Target="../drawings/vmlDrawing22.vml"/><Relationship Id="rId6" Type="http://schemas.openxmlformats.org/officeDocument/2006/relationships/image" Target="../media/image12.emf"/><Relationship Id="rId5" Type="http://schemas.openxmlformats.org/officeDocument/2006/relationships/oleObject" Target="../embeddings/oleObject22.bin"/><Relationship Id="rId4"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27.jpeg"/><Relationship Id="rId3" Type="http://schemas.openxmlformats.org/officeDocument/2006/relationships/tags" Target="../tags/tag41.xml"/><Relationship Id="rId7" Type="http://schemas.openxmlformats.org/officeDocument/2006/relationships/image" Target="../media/image9.png"/><Relationship Id="rId2" Type="http://schemas.openxmlformats.org/officeDocument/2006/relationships/tags" Target="../tags/tag40.xml"/><Relationship Id="rId1" Type="http://schemas.openxmlformats.org/officeDocument/2006/relationships/vmlDrawing" Target="../drawings/vmlDrawing23.vml"/><Relationship Id="rId6" Type="http://schemas.openxmlformats.org/officeDocument/2006/relationships/image" Target="../media/image12.emf"/><Relationship Id="rId5" Type="http://schemas.openxmlformats.org/officeDocument/2006/relationships/oleObject" Target="../embeddings/oleObject23.bin"/><Relationship Id="rId4"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43.xml"/><Relationship Id="rId7" Type="http://schemas.openxmlformats.org/officeDocument/2006/relationships/image" Target="../media/image28.jpeg"/><Relationship Id="rId2" Type="http://schemas.openxmlformats.org/officeDocument/2006/relationships/tags" Target="../tags/tag42.xml"/><Relationship Id="rId1" Type="http://schemas.openxmlformats.org/officeDocument/2006/relationships/vmlDrawing" Target="../drawings/vmlDrawing24.vml"/><Relationship Id="rId6" Type="http://schemas.openxmlformats.org/officeDocument/2006/relationships/image" Target="../media/image12.emf"/><Relationship Id="rId5" Type="http://schemas.openxmlformats.org/officeDocument/2006/relationships/oleObject" Target="../embeddings/oleObject24.bin"/><Relationship Id="rId4"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29.jpeg"/><Relationship Id="rId3" Type="http://schemas.openxmlformats.org/officeDocument/2006/relationships/tags" Target="../tags/tag45.xml"/><Relationship Id="rId7" Type="http://schemas.openxmlformats.org/officeDocument/2006/relationships/image" Target="../media/image9.png"/><Relationship Id="rId2" Type="http://schemas.openxmlformats.org/officeDocument/2006/relationships/tags" Target="../tags/tag44.xml"/><Relationship Id="rId1" Type="http://schemas.openxmlformats.org/officeDocument/2006/relationships/vmlDrawing" Target="../drawings/vmlDrawing25.vml"/><Relationship Id="rId6" Type="http://schemas.openxmlformats.org/officeDocument/2006/relationships/image" Target="../media/image12.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23.jpeg"/><Relationship Id="rId3" Type="http://schemas.openxmlformats.org/officeDocument/2006/relationships/tags" Target="../tags/tag47.xml"/><Relationship Id="rId7" Type="http://schemas.openxmlformats.org/officeDocument/2006/relationships/image" Target="../media/image9.png"/><Relationship Id="rId2" Type="http://schemas.openxmlformats.org/officeDocument/2006/relationships/tags" Target="../tags/tag46.xml"/><Relationship Id="rId1" Type="http://schemas.openxmlformats.org/officeDocument/2006/relationships/vmlDrawing" Target="../drawings/vmlDrawing26.vml"/><Relationship Id="rId6" Type="http://schemas.openxmlformats.org/officeDocument/2006/relationships/image" Target="../media/image12.emf"/><Relationship Id="rId5" Type="http://schemas.openxmlformats.org/officeDocument/2006/relationships/oleObject" Target="../embeddings/oleObject26.bin"/><Relationship Id="rId4"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30.jpeg"/><Relationship Id="rId3" Type="http://schemas.openxmlformats.org/officeDocument/2006/relationships/tags" Target="../tags/tag49.xml"/><Relationship Id="rId7" Type="http://schemas.openxmlformats.org/officeDocument/2006/relationships/image" Target="../media/image9.png"/><Relationship Id="rId2" Type="http://schemas.openxmlformats.org/officeDocument/2006/relationships/tags" Target="../tags/tag48.xml"/><Relationship Id="rId1" Type="http://schemas.openxmlformats.org/officeDocument/2006/relationships/vmlDrawing" Target="../drawings/vmlDrawing27.vml"/><Relationship Id="rId6" Type="http://schemas.openxmlformats.org/officeDocument/2006/relationships/image" Target="../media/image12.emf"/><Relationship Id="rId5" Type="http://schemas.openxmlformats.org/officeDocument/2006/relationships/oleObject" Target="../embeddings/oleObject27.bin"/><Relationship Id="rId4"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31.jpeg"/><Relationship Id="rId3" Type="http://schemas.openxmlformats.org/officeDocument/2006/relationships/tags" Target="../tags/tag51.xml"/><Relationship Id="rId7" Type="http://schemas.openxmlformats.org/officeDocument/2006/relationships/image" Target="../media/image9.png"/><Relationship Id="rId2" Type="http://schemas.openxmlformats.org/officeDocument/2006/relationships/tags" Target="../tags/tag50.xml"/><Relationship Id="rId1" Type="http://schemas.openxmlformats.org/officeDocument/2006/relationships/vmlDrawing" Target="../drawings/vmlDrawing28.vml"/><Relationship Id="rId6" Type="http://schemas.openxmlformats.org/officeDocument/2006/relationships/image" Target="../media/image12.emf"/><Relationship Id="rId5" Type="http://schemas.openxmlformats.org/officeDocument/2006/relationships/oleObject" Target="../embeddings/oleObject28.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26.jpeg"/><Relationship Id="rId3" Type="http://schemas.openxmlformats.org/officeDocument/2006/relationships/tags" Target="../tags/tag53.xml"/><Relationship Id="rId7" Type="http://schemas.openxmlformats.org/officeDocument/2006/relationships/image" Target="../media/image9.png"/><Relationship Id="rId2" Type="http://schemas.openxmlformats.org/officeDocument/2006/relationships/tags" Target="../tags/tag52.xml"/><Relationship Id="rId1" Type="http://schemas.openxmlformats.org/officeDocument/2006/relationships/vmlDrawing" Target="../drawings/vmlDrawing29.vml"/><Relationship Id="rId6" Type="http://schemas.openxmlformats.org/officeDocument/2006/relationships/image" Target="../media/image12.emf"/><Relationship Id="rId5" Type="http://schemas.openxmlformats.org/officeDocument/2006/relationships/oleObject" Target="../embeddings/oleObject29.bin"/><Relationship Id="rId4"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27.jpeg"/><Relationship Id="rId3" Type="http://schemas.openxmlformats.org/officeDocument/2006/relationships/tags" Target="../tags/tag55.xml"/><Relationship Id="rId7" Type="http://schemas.openxmlformats.org/officeDocument/2006/relationships/image" Target="../media/image9.png"/><Relationship Id="rId2" Type="http://schemas.openxmlformats.org/officeDocument/2006/relationships/tags" Target="../tags/tag54.xml"/><Relationship Id="rId1" Type="http://schemas.openxmlformats.org/officeDocument/2006/relationships/vmlDrawing" Target="../drawings/vmlDrawing30.vml"/><Relationship Id="rId6" Type="http://schemas.openxmlformats.org/officeDocument/2006/relationships/image" Target="../media/image12.emf"/><Relationship Id="rId5" Type="http://schemas.openxmlformats.org/officeDocument/2006/relationships/oleObject" Target="../embeddings/oleObject30.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tags" Target="../tags/tag6.xml"/><Relationship Id="rId7" Type="http://schemas.openxmlformats.org/officeDocument/2006/relationships/image" Target="../media/image10.png"/><Relationship Id="rId2" Type="http://schemas.openxmlformats.org/officeDocument/2006/relationships/vmlDrawing" Target="../drawings/vmlDrawing4.vml"/><Relationship Id="rId1" Type="http://schemas.openxmlformats.org/officeDocument/2006/relationships/themeOverride" Target="../theme/themeOverride1.xml"/><Relationship Id="rId6" Type="http://schemas.openxmlformats.org/officeDocument/2006/relationships/image" Target="../media/image7.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32.jpeg"/><Relationship Id="rId3" Type="http://schemas.openxmlformats.org/officeDocument/2006/relationships/tags" Target="../tags/tag57.xml"/><Relationship Id="rId7" Type="http://schemas.openxmlformats.org/officeDocument/2006/relationships/image" Target="../media/image9.png"/><Relationship Id="rId2" Type="http://schemas.openxmlformats.org/officeDocument/2006/relationships/tags" Target="../tags/tag56.xml"/><Relationship Id="rId1" Type="http://schemas.openxmlformats.org/officeDocument/2006/relationships/vmlDrawing" Target="../drawings/vmlDrawing31.vml"/><Relationship Id="rId6" Type="http://schemas.openxmlformats.org/officeDocument/2006/relationships/image" Target="../media/image12.emf"/><Relationship Id="rId5" Type="http://schemas.openxmlformats.org/officeDocument/2006/relationships/oleObject" Target="../embeddings/oleObject31.bin"/><Relationship Id="rId4"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8.xml"/><Relationship Id="rId1" Type="http://schemas.openxmlformats.org/officeDocument/2006/relationships/vmlDrawing" Target="../drawings/vmlDrawing32.vml"/><Relationship Id="rId6" Type="http://schemas.openxmlformats.org/officeDocument/2006/relationships/image" Target="../media/image33.jpeg"/><Relationship Id="rId5" Type="http://schemas.openxmlformats.org/officeDocument/2006/relationships/image" Target="../media/image7.emf"/><Relationship Id="rId4" Type="http://schemas.openxmlformats.org/officeDocument/2006/relationships/oleObject" Target="../embeddings/oleObject32.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9.xml"/><Relationship Id="rId1" Type="http://schemas.openxmlformats.org/officeDocument/2006/relationships/vmlDrawing" Target="../drawings/vmlDrawing33.vml"/><Relationship Id="rId6" Type="http://schemas.openxmlformats.org/officeDocument/2006/relationships/image" Target="../media/image34.jpeg"/><Relationship Id="rId5" Type="http://schemas.openxmlformats.org/officeDocument/2006/relationships/image" Target="../media/image7.emf"/><Relationship Id="rId4" Type="http://schemas.openxmlformats.org/officeDocument/2006/relationships/oleObject" Target="../embeddings/oleObject33.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0.xml"/><Relationship Id="rId1" Type="http://schemas.openxmlformats.org/officeDocument/2006/relationships/vmlDrawing" Target="../drawings/vmlDrawing34.vml"/><Relationship Id="rId6" Type="http://schemas.openxmlformats.org/officeDocument/2006/relationships/image" Target="../media/image35.jpeg"/><Relationship Id="rId5" Type="http://schemas.openxmlformats.org/officeDocument/2006/relationships/image" Target="../media/image7.emf"/><Relationship Id="rId4" Type="http://schemas.openxmlformats.org/officeDocument/2006/relationships/oleObject" Target="../embeddings/oleObject34.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1.xml"/><Relationship Id="rId1" Type="http://schemas.openxmlformats.org/officeDocument/2006/relationships/vmlDrawing" Target="../drawings/vmlDrawing35.vml"/><Relationship Id="rId6" Type="http://schemas.openxmlformats.org/officeDocument/2006/relationships/image" Target="../media/image36.jpeg"/><Relationship Id="rId5" Type="http://schemas.openxmlformats.org/officeDocument/2006/relationships/image" Target="../media/image7.emf"/><Relationship Id="rId4" Type="http://schemas.openxmlformats.org/officeDocument/2006/relationships/oleObject" Target="../embeddings/oleObject35.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2.xml"/><Relationship Id="rId1" Type="http://schemas.openxmlformats.org/officeDocument/2006/relationships/vmlDrawing" Target="../drawings/vmlDrawing36.vml"/><Relationship Id="rId6" Type="http://schemas.openxmlformats.org/officeDocument/2006/relationships/image" Target="../media/image37.jpeg"/><Relationship Id="rId5" Type="http://schemas.openxmlformats.org/officeDocument/2006/relationships/image" Target="../media/image7.emf"/><Relationship Id="rId4" Type="http://schemas.openxmlformats.org/officeDocument/2006/relationships/oleObject" Target="../embeddings/oleObject36.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3.xml"/><Relationship Id="rId1" Type="http://schemas.openxmlformats.org/officeDocument/2006/relationships/vmlDrawing" Target="../drawings/vmlDrawing37.vml"/><Relationship Id="rId6" Type="http://schemas.openxmlformats.org/officeDocument/2006/relationships/image" Target="../media/image38.jpeg"/><Relationship Id="rId5" Type="http://schemas.openxmlformats.org/officeDocument/2006/relationships/image" Target="../media/image7.emf"/><Relationship Id="rId4" Type="http://schemas.openxmlformats.org/officeDocument/2006/relationships/oleObject" Target="../embeddings/oleObject37.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4.xml"/><Relationship Id="rId1" Type="http://schemas.openxmlformats.org/officeDocument/2006/relationships/vmlDrawing" Target="../drawings/vmlDrawing38.vml"/><Relationship Id="rId6" Type="http://schemas.openxmlformats.org/officeDocument/2006/relationships/image" Target="../media/image39.jpeg"/><Relationship Id="rId5" Type="http://schemas.openxmlformats.org/officeDocument/2006/relationships/image" Target="../media/image7.emf"/><Relationship Id="rId4" Type="http://schemas.openxmlformats.org/officeDocument/2006/relationships/oleObject" Target="../embeddings/oleObject38.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5.xml"/><Relationship Id="rId1" Type="http://schemas.openxmlformats.org/officeDocument/2006/relationships/vmlDrawing" Target="../drawings/vmlDrawing39.vml"/><Relationship Id="rId6" Type="http://schemas.openxmlformats.org/officeDocument/2006/relationships/image" Target="../media/image40.jpeg"/><Relationship Id="rId5" Type="http://schemas.openxmlformats.org/officeDocument/2006/relationships/image" Target="../media/image7.emf"/><Relationship Id="rId4" Type="http://schemas.openxmlformats.org/officeDocument/2006/relationships/oleObject" Target="../embeddings/oleObject39.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6.xml"/><Relationship Id="rId1" Type="http://schemas.openxmlformats.org/officeDocument/2006/relationships/vmlDrawing" Target="../drawings/vmlDrawing40.vml"/><Relationship Id="rId6" Type="http://schemas.openxmlformats.org/officeDocument/2006/relationships/image" Target="../media/image41.jpeg"/><Relationship Id="rId5" Type="http://schemas.openxmlformats.org/officeDocument/2006/relationships/image" Target="../media/image7.emf"/><Relationship Id="rId4" Type="http://schemas.openxmlformats.org/officeDocument/2006/relationships/oleObject" Target="../embeddings/oleObject40.bin"/></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tags" Target="../tags/tag8.xml"/><Relationship Id="rId7" Type="http://schemas.openxmlformats.org/officeDocument/2006/relationships/image" Target="../media/image9.png"/><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image" Target="../media/image12.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68.xml"/><Relationship Id="rId2" Type="http://schemas.openxmlformats.org/officeDocument/2006/relationships/tags" Target="../tags/tag67.xml"/><Relationship Id="rId1" Type="http://schemas.openxmlformats.org/officeDocument/2006/relationships/vmlDrawing" Target="../drawings/vmlDrawing41.vml"/><Relationship Id="rId6" Type="http://schemas.openxmlformats.org/officeDocument/2006/relationships/image" Target="../media/image12.emf"/><Relationship Id="rId5" Type="http://schemas.openxmlformats.org/officeDocument/2006/relationships/oleObject" Target="../embeddings/oleObject41.bin"/><Relationship Id="rId4"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69.xml"/><Relationship Id="rId7" Type="http://schemas.openxmlformats.org/officeDocument/2006/relationships/image" Target="../media/image10.png"/><Relationship Id="rId2" Type="http://schemas.openxmlformats.org/officeDocument/2006/relationships/vmlDrawing" Target="../drawings/vmlDrawing42.vml"/><Relationship Id="rId1" Type="http://schemas.openxmlformats.org/officeDocument/2006/relationships/themeOverride" Target="../theme/themeOverride6.xml"/><Relationship Id="rId6" Type="http://schemas.openxmlformats.org/officeDocument/2006/relationships/image" Target="../media/image7.emf"/><Relationship Id="rId5" Type="http://schemas.openxmlformats.org/officeDocument/2006/relationships/oleObject" Target="../embeddings/oleObject42.bin"/><Relationship Id="rId4"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8" Type="http://schemas.openxmlformats.org/officeDocument/2006/relationships/image" Target="../media/image42.jpeg"/><Relationship Id="rId3" Type="http://schemas.openxmlformats.org/officeDocument/2006/relationships/tags" Target="../tags/tag70.xml"/><Relationship Id="rId7" Type="http://schemas.openxmlformats.org/officeDocument/2006/relationships/image" Target="../media/image10.png"/><Relationship Id="rId2" Type="http://schemas.openxmlformats.org/officeDocument/2006/relationships/vmlDrawing" Target="../drawings/vmlDrawing43.vml"/><Relationship Id="rId1" Type="http://schemas.openxmlformats.org/officeDocument/2006/relationships/themeOverride" Target="../theme/themeOverride7.xml"/><Relationship Id="rId6" Type="http://schemas.openxmlformats.org/officeDocument/2006/relationships/image" Target="../media/image7.emf"/><Relationship Id="rId5" Type="http://schemas.openxmlformats.org/officeDocument/2006/relationships/oleObject" Target="../embeddings/oleObject43.bin"/><Relationship Id="rId4"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tags" Target="../tags/tag71.xml"/><Relationship Id="rId7" Type="http://schemas.openxmlformats.org/officeDocument/2006/relationships/image" Target="../media/image10.png"/><Relationship Id="rId2" Type="http://schemas.openxmlformats.org/officeDocument/2006/relationships/vmlDrawing" Target="../drawings/vmlDrawing44.vml"/><Relationship Id="rId1" Type="http://schemas.openxmlformats.org/officeDocument/2006/relationships/themeOverride" Target="../theme/themeOverride8.xml"/><Relationship Id="rId6" Type="http://schemas.openxmlformats.org/officeDocument/2006/relationships/image" Target="../media/image7.emf"/><Relationship Id="rId5" Type="http://schemas.openxmlformats.org/officeDocument/2006/relationships/oleObject" Target="../embeddings/oleObject44.bin"/><Relationship Id="rId4"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tags" Target="../tags/tag72.xml"/><Relationship Id="rId7" Type="http://schemas.openxmlformats.org/officeDocument/2006/relationships/image" Target="../media/image10.png"/><Relationship Id="rId2" Type="http://schemas.openxmlformats.org/officeDocument/2006/relationships/vmlDrawing" Target="../drawings/vmlDrawing45.vml"/><Relationship Id="rId1" Type="http://schemas.openxmlformats.org/officeDocument/2006/relationships/themeOverride" Target="../theme/themeOverride9.xml"/><Relationship Id="rId6" Type="http://schemas.openxmlformats.org/officeDocument/2006/relationships/image" Target="../media/image7.emf"/><Relationship Id="rId5" Type="http://schemas.openxmlformats.org/officeDocument/2006/relationships/oleObject" Target="../embeddings/oleObject45.bin"/><Relationship Id="rId4"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8" Type="http://schemas.openxmlformats.org/officeDocument/2006/relationships/image" Target="../media/image46.jpeg"/><Relationship Id="rId3" Type="http://schemas.openxmlformats.org/officeDocument/2006/relationships/tags" Target="../tags/tag73.xml"/><Relationship Id="rId7" Type="http://schemas.openxmlformats.org/officeDocument/2006/relationships/image" Target="../media/image45.png"/><Relationship Id="rId2" Type="http://schemas.openxmlformats.org/officeDocument/2006/relationships/vmlDrawing" Target="../drawings/vmlDrawing46.vml"/><Relationship Id="rId1" Type="http://schemas.openxmlformats.org/officeDocument/2006/relationships/themeOverride" Target="../theme/themeOverride10.xml"/><Relationship Id="rId6" Type="http://schemas.openxmlformats.org/officeDocument/2006/relationships/image" Target="../media/image7.emf"/><Relationship Id="rId5" Type="http://schemas.openxmlformats.org/officeDocument/2006/relationships/oleObject" Target="../embeddings/oleObject46.bin"/><Relationship Id="rId4"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8" Type="http://schemas.openxmlformats.org/officeDocument/2006/relationships/image" Target="../media/image47.jpeg"/><Relationship Id="rId3" Type="http://schemas.openxmlformats.org/officeDocument/2006/relationships/tags" Target="../tags/tag74.xml"/><Relationship Id="rId7" Type="http://schemas.openxmlformats.org/officeDocument/2006/relationships/image" Target="../media/image45.png"/><Relationship Id="rId2" Type="http://schemas.openxmlformats.org/officeDocument/2006/relationships/vmlDrawing" Target="../drawings/vmlDrawing47.vml"/><Relationship Id="rId1" Type="http://schemas.openxmlformats.org/officeDocument/2006/relationships/themeOverride" Target="../theme/themeOverride11.xml"/><Relationship Id="rId6" Type="http://schemas.openxmlformats.org/officeDocument/2006/relationships/image" Target="../media/image7.emf"/><Relationship Id="rId5" Type="http://schemas.openxmlformats.org/officeDocument/2006/relationships/oleObject" Target="../embeddings/oleObject47.bin"/><Relationship Id="rId4"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tags" Target="../tags/tag75.xml"/><Relationship Id="rId7" Type="http://schemas.openxmlformats.org/officeDocument/2006/relationships/image" Target="../media/image48.jpeg"/><Relationship Id="rId2" Type="http://schemas.openxmlformats.org/officeDocument/2006/relationships/vmlDrawing" Target="../drawings/vmlDrawing48.vml"/><Relationship Id="rId1" Type="http://schemas.openxmlformats.org/officeDocument/2006/relationships/themeOverride" Target="../theme/themeOverride12.xml"/><Relationship Id="rId6" Type="http://schemas.openxmlformats.org/officeDocument/2006/relationships/image" Target="../media/image7.emf"/><Relationship Id="rId5" Type="http://schemas.openxmlformats.org/officeDocument/2006/relationships/oleObject" Target="../embeddings/oleObject48.bin"/><Relationship Id="rId4"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tags" Target="../tags/tag76.xml"/><Relationship Id="rId7" Type="http://schemas.openxmlformats.org/officeDocument/2006/relationships/image" Target="../media/image49.jpeg"/><Relationship Id="rId2" Type="http://schemas.openxmlformats.org/officeDocument/2006/relationships/vmlDrawing" Target="../drawings/vmlDrawing49.vml"/><Relationship Id="rId1" Type="http://schemas.openxmlformats.org/officeDocument/2006/relationships/themeOverride" Target="../theme/themeOverride13.xml"/><Relationship Id="rId6" Type="http://schemas.openxmlformats.org/officeDocument/2006/relationships/image" Target="../media/image7.emf"/><Relationship Id="rId5" Type="http://schemas.openxmlformats.org/officeDocument/2006/relationships/oleObject" Target="../embeddings/oleObject49.bin"/><Relationship Id="rId4"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9.png"/><Relationship Id="rId2" Type="http://schemas.openxmlformats.org/officeDocument/2006/relationships/tags" Target="../tags/tag77.xml"/><Relationship Id="rId1" Type="http://schemas.openxmlformats.org/officeDocument/2006/relationships/vmlDrawing" Target="../drawings/vmlDrawing50.vml"/><Relationship Id="rId6" Type="http://schemas.openxmlformats.org/officeDocument/2006/relationships/image" Target="../media/image50.jpeg"/><Relationship Id="rId5" Type="http://schemas.openxmlformats.org/officeDocument/2006/relationships/image" Target="../media/image7.emf"/><Relationship Id="rId4" Type="http://schemas.openxmlformats.org/officeDocument/2006/relationships/oleObject" Target="../embeddings/oleObject50.bin"/></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9.xml"/><Relationship Id="rId7" Type="http://schemas.openxmlformats.org/officeDocument/2006/relationships/image" Target="../media/image14.jpeg"/><Relationship Id="rId2" Type="http://schemas.openxmlformats.org/officeDocument/2006/relationships/vmlDrawing" Target="../drawings/vmlDrawing6.vml"/><Relationship Id="rId1" Type="http://schemas.openxmlformats.org/officeDocument/2006/relationships/themeOverride" Target="../theme/themeOverride2.xml"/><Relationship Id="rId6" Type="http://schemas.openxmlformats.org/officeDocument/2006/relationships/image" Target="../media/image7.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9.png"/><Relationship Id="rId2" Type="http://schemas.openxmlformats.org/officeDocument/2006/relationships/tags" Target="../tags/tag78.xml"/><Relationship Id="rId1" Type="http://schemas.openxmlformats.org/officeDocument/2006/relationships/vmlDrawing" Target="../drawings/vmlDrawing51.vml"/><Relationship Id="rId6" Type="http://schemas.openxmlformats.org/officeDocument/2006/relationships/image" Target="../media/image51.jpeg"/><Relationship Id="rId5" Type="http://schemas.openxmlformats.org/officeDocument/2006/relationships/image" Target="../media/image7.emf"/><Relationship Id="rId4" Type="http://schemas.openxmlformats.org/officeDocument/2006/relationships/oleObject" Target="../embeddings/oleObject51.bin"/></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79.xml"/><Relationship Id="rId7" Type="http://schemas.openxmlformats.org/officeDocument/2006/relationships/image" Target="../media/image10.png"/><Relationship Id="rId2" Type="http://schemas.openxmlformats.org/officeDocument/2006/relationships/vmlDrawing" Target="../drawings/vmlDrawing52.vml"/><Relationship Id="rId1" Type="http://schemas.openxmlformats.org/officeDocument/2006/relationships/themeOverride" Target="../theme/themeOverride14.xml"/><Relationship Id="rId6" Type="http://schemas.openxmlformats.org/officeDocument/2006/relationships/image" Target="../media/image7.emf"/><Relationship Id="rId5" Type="http://schemas.openxmlformats.org/officeDocument/2006/relationships/oleObject" Target="../embeddings/oleObject52.bin"/><Relationship Id="rId4"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image" Target="../media/image10.png"/><Relationship Id="rId2" Type="http://schemas.openxmlformats.org/officeDocument/2006/relationships/vmlDrawing" Target="../drawings/vmlDrawing53.vml"/><Relationship Id="rId1" Type="http://schemas.openxmlformats.org/officeDocument/2006/relationships/themeOverride" Target="../theme/themeOverride15.xml"/><Relationship Id="rId6" Type="http://schemas.openxmlformats.org/officeDocument/2006/relationships/image" Target="../media/image7.emf"/><Relationship Id="rId5" Type="http://schemas.openxmlformats.org/officeDocument/2006/relationships/oleObject" Target="../embeddings/oleObject53.bin"/><Relationship Id="rId4"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openxmlformats.org/officeDocument/2006/relationships/tags" Target="../tags/tag82.xml"/><Relationship Id="rId7" Type="http://schemas.openxmlformats.org/officeDocument/2006/relationships/image" Target="../media/image9.png"/><Relationship Id="rId2" Type="http://schemas.openxmlformats.org/officeDocument/2006/relationships/tags" Target="../tags/tag81.xml"/><Relationship Id="rId1" Type="http://schemas.openxmlformats.org/officeDocument/2006/relationships/vmlDrawing" Target="../drawings/vmlDrawing54.vml"/><Relationship Id="rId6" Type="http://schemas.openxmlformats.org/officeDocument/2006/relationships/image" Target="../media/image12.emf"/><Relationship Id="rId5" Type="http://schemas.openxmlformats.org/officeDocument/2006/relationships/oleObject" Target="../embeddings/oleObject54.bin"/><Relationship Id="rId4"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3" Type="http://schemas.openxmlformats.org/officeDocument/2006/relationships/tags" Target="../tags/tag84.xml"/><Relationship Id="rId7" Type="http://schemas.openxmlformats.org/officeDocument/2006/relationships/image" Target="../media/image9.png"/><Relationship Id="rId2" Type="http://schemas.openxmlformats.org/officeDocument/2006/relationships/tags" Target="../tags/tag83.xml"/><Relationship Id="rId1" Type="http://schemas.openxmlformats.org/officeDocument/2006/relationships/vmlDrawing" Target="../drawings/vmlDrawing55.vml"/><Relationship Id="rId6" Type="http://schemas.openxmlformats.org/officeDocument/2006/relationships/image" Target="../media/image12.emf"/><Relationship Id="rId5" Type="http://schemas.openxmlformats.org/officeDocument/2006/relationships/oleObject" Target="../embeddings/oleObject55.bin"/><Relationship Id="rId4"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3" Type="http://schemas.openxmlformats.org/officeDocument/2006/relationships/tags" Target="../tags/tag86.xml"/><Relationship Id="rId7" Type="http://schemas.openxmlformats.org/officeDocument/2006/relationships/image" Target="../media/image9.png"/><Relationship Id="rId2" Type="http://schemas.openxmlformats.org/officeDocument/2006/relationships/tags" Target="../tags/tag85.xml"/><Relationship Id="rId1" Type="http://schemas.openxmlformats.org/officeDocument/2006/relationships/vmlDrawing" Target="../drawings/vmlDrawing56.vml"/><Relationship Id="rId6" Type="http://schemas.openxmlformats.org/officeDocument/2006/relationships/image" Target="../media/image12.emf"/><Relationship Id="rId5" Type="http://schemas.openxmlformats.org/officeDocument/2006/relationships/oleObject" Target="../embeddings/oleObject56.bin"/><Relationship Id="rId4"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3" Type="http://schemas.openxmlformats.org/officeDocument/2006/relationships/tags" Target="../tags/tag88.xml"/><Relationship Id="rId7" Type="http://schemas.openxmlformats.org/officeDocument/2006/relationships/image" Target="../media/image9.png"/><Relationship Id="rId2" Type="http://schemas.openxmlformats.org/officeDocument/2006/relationships/tags" Target="../tags/tag87.xml"/><Relationship Id="rId1" Type="http://schemas.openxmlformats.org/officeDocument/2006/relationships/vmlDrawing" Target="../drawings/vmlDrawing57.vml"/><Relationship Id="rId6" Type="http://schemas.openxmlformats.org/officeDocument/2006/relationships/image" Target="../media/image12.emf"/><Relationship Id="rId5" Type="http://schemas.openxmlformats.org/officeDocument/2006/relationships/oleObject" Target="../embeddings/oleObject57.bin"/><Relationship Id="rId4"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90.xml"/><Relationship Id="rId7" Type="http://schemas.openxmlformats.org/officeDocument/2006/relationships/image" Target="../media/image9.png"/><Relationship Id="rId2" Type="http://schemas.openxmlformats.org/officeDocument/2006/relationships/tags" Target="../tags/tag89.xml"/><Relationship Id="rId1" Type="http://schemas.openxmlformats.org/officeDocument/2006/relationships/vmlDrawing" Target="../drawings/vmlDrawing58.vml"/><Relationship Id="rId6" Type="http://schemas.openxmlformats.org/officeDocument/2006/relationships/image" Target="../media/image12.emf"/><Relationship Id="rId5" Type="http://schemas.openxmlformats.org/officeDocument/2006/relationships/oleObject" Target="../embeddings/oleObject58.bin"/><Relationship Id="rId4"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1.xml"/><Relationship Id="rId1" Type="http://schemas.openxmlformats.org/officeDocument/2006/relationships/vmlDrawing" Target="../drawings/vmlDrawing59.vml"/><Relationship Id="rId6" Type="http://schemas.openxmlformats.org/officeDocument/2006/relationships/image" Target="../media/image52.png"/><Relationship Id="rId5" Type="http://schemas.openxmlformats.org/officeDocument/2006/relationships/image" Target="../media/image7.emf"/><Relationship Id="rId4" Type="http://schemas.openxmlformats.org/officeDocument/2006/relationships/oleObject" Target="../embeddings/oleObject59.bin"/></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93.xml"/><Relationship Id="rId7" Type="http://schemas.openxmlformats.org/officeDocument/2006/relationships/image" Target="../media/image53.png"/><Relationship Id="rId2" Type="http://schemas.openxmlformats.org/officeDocument/2006/relationships/tags" Target="../tags/tag92.xml"/><Relationship Id="rId1" Type="http://schemas.openxmlformats.org/officeDocument/2006/relationships/vmlDrawing" Target="../drawings/vmlDrawing60.vml"/><Relationship Id="rId6" Type="http://schemas.openxmlformats.org/officeDocument/2006/relationships/image" Target="../media/image12.emf"/><Relationship Id="rId5" Type="http://schemas.openxmlformats.org/officeDocument/2006/relationships/oleObject" Target="../embeddings/oleObject60.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10.xml"/><Relationship Id="rId7" Type="http://schemas.openxmlformats.org/officeDocument/2006/relationships/image" Target="../media/image15.jpeg"/><Relationship Id="rId2" Type="http://schemas.openxmlformats.org/officeDocument/2006/relationships/vmlDrawing" Target="../drawings/vmlDrawing7.vml"/><Relationship Id="rId1" Type="http://schemas.openxmlformats.org/officeDocument/2006/relationships/themeOverride" Target="../theme/themeOverride3.xml"/><Relationship Id="rId6" Type="http://schemas.openxmlformats.org/officeDocument/2006/relationships/image" Target="../media/image7.emf"/><Relationship Id="rId5" Type="http://schemas.openxmlformats.org/officeDocument/2006/relationships/oleObject" Target="../embeddings/oleObject7.bin"/><Relationship Id="rId4" Type="http://schemas.openxmlformats.org/officeDocument/2006/relationships/slideMaster" Target="../slideMasters/slideMaster1.xml"/><Relationship Id="rId9" Type="http://schemas.openxmlformats.org/officeDocument/2006/relationships/image" Target="../media/image9.png"/></Relationships>
</file>

<file path=ppt/slideLayouts/_rels/slideLayout60.xml.rels><?xml version="1.0" encoding="UTF-8" standalone="yes"?>
<Relationships xmlns="http://schemas.openxmlformats.org/package/2006/relationships"><Relationship Id="rId3" Type="http://schemas.openxmlformats.org/officeDocument/2006/relationships/tags" Target="../tags/tag94.xml"/><Relationship Id="rId7" Type="http://schemas.openxmlformats.org/officeDocument/2006/relationships/image" Target="../media/image55.png"/><Relationship Id="rId2" Type="http://schemas.openxmlformats.org/officeDocument/2006/relationships/vmlDrawing" Target="../drawings/vmlDrawing61.vml"/><Relationship Id="rId1" Type="http://schemas.openxmlformats.org/officeDocument/2006/relationships/themeOverride" Target="../theme/themeOverride16.xml"/><Relationship Id="rId6" Type="http://schemas.openxmlformats.org/officeDocument/2006/relationships/image" Target="../media/image54.emf"/><Relationship Id="rId5" Type="http://schemas.openxmlformats.org/officeDocument/2006/relationships/oleObject" Target="../embeddings/oleObject61.bin"/><Relationship Id="rId4"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3" Type="http://schemas.openxmlformats.org/officeDocument/2006/relationships/tags" Target="../tags/tag96.xml"/><Relationship Id="rId7" Type="http://schemas.openxmlformats.org/officeDocument/2006/relationships/image" Target="../media/image56.png"/><Relationship Id="rId2" Type="http://schemas.openxmlformats.org/officeDocument/2006/relationships/tags" Target="../tags/tag95.xml"/><Relationship Id="rId1" Type="http://schemas.openxmlformats.org/officeDocument/2006/relationships/vmlDrawing" Target="../drawings/vmlDrawing62.vml"/><Relationship Id="rId6" Type="http://schemas.openxmlformats.org/officeDocument/2006/relationships/image" Target="../media/image12.emf"/><Relationship Id="rId5" Type="http://schemas.openxmlformats.org/officeDocument/2006/relationships/oleObject" Target="../embeddings/oleObject62.bin"/><Relationship Id="rId4"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97.xml"/><Relationship Id="rId7" Type="http://schemas.openxmlformats.org/officeDocument/2006/relationships/image" Target="../media/image45.png"/><Relationship Id="rId2" Type="http://schemas.openxmlformats.org/officeDocument/2006/relationships/vmlDrawing" Target="../drawings/vmlDrawing63.vml"/><Relationship Id="rId1" Type="http://schemas.openxmlformats.org/officeDocument/2006/relationships/themeOverride" Target="../theme/themeOverride17.xml"/><Relationship Id="rId6" Type="http://schemas.openxmlformats.org/officeDocument/2006/relationships/image" Target="../media/image7.emf"/><Relationship Id="rId5" Type="http://schemas.openxmlformats.org/officeDocument/2006/relationships/oleObject" Target="../embeddings/oleObject63.bin"/><Relationship Id="rId4"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99.xml"/><Relationship Id="rId7" Type="http://schemas.openxmlformats.org/officeDocument/2006/relationships/image" Target="../media/image57.png"/><Relationship Id="rId2" Type="http://schemas.openxmlformats.org/officeDocument/2006/relationships/tags" Target="../tags/tag98.xml"/><Relationship Id="rId1" Type="http://schemas.openxmlformats.org/officeDocument/2006/relationships/vmlDrawing" Target="../drawings/vmlDrawing64.vml"/><Relationship Id="rId6" Type="http://schemas.openxmlformats.org/officeDocument/2006/relationships/image" Target="../media/image12.emf"/><Relationship Id="rId5" Type="http://schemas.openxmlformats.org/officeDocument/2006/relationships/oleObject" Target="../embeddings/oleObject64.bin"/><Relationship Id="rId4"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tags" Target="../tags/tag101.xml"/><Relationship Id="rId7" Type="http://schemas.openxmlformats.org/officeDocument/2006/relationships/image" Target="../media/image57.png"/><Relationship Id="rId2" Type="http://schemas.openxmlformats.org/officeDocument/2006/relationships/tags" Target="../tags/tag100.xml"/><Relationship Id="rId1" Type="http://schemas.openxmlformats.org/officeDocument/2006/relationships/vmlDrawing" Target="../drawings/vmlDrawing65.vml"/><Relationship Id="rId6" Type="http://schemas.openxmlformats.org/officeDocument/2006/relationships/image" Target="../media/image12.emf"/><Relationship Id="rId5" Type="http://schemas.openxmlformats.org/officeDocument/2006/relationships/oleObject" Target="../embeddings/oleObject65.bin"/><Relationship Id="rId4"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3" Type="http://schemas.openxmlformats.org/officeDocument/2006/relationships/tags" Target="../tags/tag103.xml"/><Relationship Id="rId7" Type="http://schemas.openxmlformats.org/officeDocument/2006/relationships/image" Target="../media/image57.png"/><Relationship Id="rId2" Type="http://schemas.openxmlformats.org/officeDocument/2006/relationships/tags" Target="../tags/tag102.xml"/><Relationship Id="rId1" Type="http://schemas.openxmlformats.org/officeDocument/2006/relationships/vmlDrawing" Target="../drawings/vmlDrawing66.vml"/><Relationship Id="rId6" Type="http://schemas.openxmlformats.org/officeDocument/2006/relationships/image" Target="../media/image12.emf"/><Relationship Id="rId5" Type="http://schemas.openxmlformats.org/officeDocument/2006/relationships/oleObject" Target="../embeddings/oleObject66.bin"/><Relationship Id="rId4"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105.xml"/><Relationship Id="rId2" Type="http://schemas.openxmlformats.org/officeDocument/2006/relationships/tags" Target="../tags/tag104.xml"/><Relationship Id="rId1" Type="http://schemas.openxmlformats.org/officeDocument/2006/relationships/vmlDrawing" Target="../drawings/vmlDrawing67.vml"/><Relationship Id="rId6" Type="http://schemas.openxmlformats.org/officeDocument/2006/relationships/image" Target="../media/image12.emf"/><Relationship Id="rId5" Type="http://schemas.openxmlformats.org/officeDocument/2006/relationships/oleObject" Target="../embeddings/oleObject67.bin"/><Relationship Id="rId4"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3" Type="http://schemas.openxmlformats.org/officeDocument/2006/relationships/tags" Target="../tags/tag107.xml"/><Relationship Id="rId7" Type="http://schemas.openxmlformats.org/officeDocument/2006/relationships/image" Target="../media/image9.png"/><Relationship Id="rId2" Type="http://schemas.openxmlformats.org/officeDocument/2006/relationships/tags" Target="../tags/tag106.xml"/><Relationship Id="rId1" Type="http://schemas.openxmlformats.org/officeDocument/2006/relationships/vmlDrawing" Target="../drawings/vmlDrawing68.vml"/><Relationship Id="rId6" Type="http://schemas.openxmlformats.org/officeDocument/2006/relationships/image" Target="../media/image7.emf"/><Relationship Id="rId5" Type="http://schemas.openxmlformats.org/officeDocument/2006/relationships/oleObject" Target="../embeddings/oleObject68.bin"/><Relationship Id="rId4"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8.xml"/><Relationship Id="rId1" Type="http://schemas.openxmlformats.org/officeDocument/2006/relationships/vmlDrawing" Target="../drawings/vmlDrawing69.vml"/><Relationship Id="rId6" Type="http://schemas.openxmlformats.org/officeDocument/2006/relationships/image" Target="../media/image10.png"/><Relationship Id="rId5" Type="http://schemas.openxmlformats.org/officeDocument/2006/relationships/image" Target="../media/image54.emf"/><Relationship Id="rId4" Type="http://schemas.openxmlformats.org/officeDocument/2006/relationships/oleObject" Target="../embeddings/oleObject69.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9.png"/><Relationship Id="rId2" Type="http://schemas.openxmlformats.org/officeDocument/2006/relationships/tags" Target="../tags/tag109.xml"/><Relationship Id="rId1" Type="http://schemas.openxmlformats.org/officeDocument/2006/relationships/vmlDrawing" Target="../drawings/vmlDrawing70.vml"/><Relationship Id="rId6" Type="http://schemas.openxmlformats.org/officeDocument/2006/relationships/image" Target="../media/image58.png"/><Relationship Id="rId5" Type="http://schemas.openxmlformats.org/officeDocument/2006/relationships/image" Target="../media/image7.emf"/><Relationship Id="rId4" Type="http://schemas.openxmlformats.org/officeDocument/2006/relationships/oleObject" Target="../embeddings/oleObject70.bin"/></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11.xml"/><Relationship Id="rId7" Type="http://schemas.openxmlformats.org/officeDocument/2006/relationships/image" Target="../media/image12.emf"/><Relationship Id="rId2" Type="http://schemas.openxmlformats.org/officeDocument/2006/relationships/vmlDrawing" Target="../drawings/vmlDrawing8.vml"/><Relationship Id="rId1" Type="http://schemas.openxmlformats.org/officeDocument/2006/relationships/themeOverride" Target="../theme/themeOverride4.xml"/><Relationship Id="rId6" Type="http://schemas.openxmlformats.org/officeDocument/2006/relationships/oleObject" Target="../embeddings/oleObject8.bin"/><Relationship Id="rId5" Type="http://schemas.openxmlformats.org/officeDocument/2006/relationships/slideMaster" Target="../slideMasters/slideMaster1.xml"/><Relationship Id="rId4" Type="http://schemas.openxmlformats.org/officeDocument/2006/relationships/tags" Target="../tags/tag12.xml"/><Relationship Id="rId9" Type="http://schemas.openxmlformats.org/officeDocument/2006/relationships/image" Target="../media/image17.jpeg"/></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1.png"/><Relationship Id="rId2" Type="http://schemas.openxmlformats.org/officeDocument/2006/relationships/tags" Target="../tags/tag110.xml"/><Relationship Id="rId1" Type="http://schemas.openxmlformats.org/officeDocument/2006/relationships/vmlDrawing" Target="../drawings/vmlDrawing71.vml"/><Relationship Id="rId6" Type="http://schemas.openxmlformats.org/officeDocument/2006/relationships/image" Target="../media/image60.png"/><Relationship Id="rId5" Type="http://schemas.openxmlformats.org/officeDocument/2006/relationships/image" Target="../media/image7.emf"/><Relationship Id="rId4" Type="http://schemas.openxmlformats.org/officeDocument/2006/relationships/oleObject" Target="../embeddings/oleObject71.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1.png"/><Relationship Id="rId2" Type="http://schemas.openxmlformats.org/officeDocument/2006/relationships/tags" Target="../tags/tag111.xml"/><Relationship Id="rId1" Type="http://schemas.openxmlformats.org/officeDocument/2006/relationships/vmlDrawing" Target="../drawings/vmlDrawing72.vml"/><Relationship Id="rId6" Type="http://schemas.openxmlformats.org/officeDocument/2006/relationships/image" Target="../media/image62.png"/><Relationship Id="rId5" Type="http://schemas.openxmlformats.org/officeDocument/2006/relationships/image" Target="../media/image7.emf"/><Relationship Id="rId4" Type="http://schemas.openxmlformats.org/officeDocument/2006/relationships/oleObject" Target="../embeddings/oleObject72.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2.xml"/><Relationship Id="rId1" Type="http://schemas.openxmlformats.org/officeDocument/2006/relationships/vmlDrawing" Target="../drawings/vmlDrawing73.vml"/><Relationship Id="rId5" Type="http://schemas.openxmlformats.org/officeDocument/2006/relationships/image" Target="../media/image7.emf"/><Relationship Id="rId4" Type="http://schemas.openxmlformats.org/officeDocument/2006/relationships/oleObject" Target="../embeddings/oleObject73.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3.xml"/><Relationship Id="rId1" Type="http://schemas.openxmlformats.org/officeDocument/2006/relationships/vmlDrawing" Target="../drawings/vmlDrawing74.vml"/><Relationship Id="rId5" Type="http://schemas.openxmlformats.org/officeDocument/2006/relationships/image" Target="../media/image7.emf"/><Relationship Id="rId4" Type="http://schemas.openxmlformats.org/officeDocument/2006/relationships/oleObject" Target="../embeddings/oleObject74.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4.xml"/><Relationship Id="rId1" Type="http://schemas.openxmlformats.org/officeDocument/2006/relationships/vmlDrawing" Target="../drawings/vmlDrawing75.vml"/><Relationship Id="rId5" Type="http://schemas.openxmlformats.org/officeDocument/2006/relationships/image" Target="../media/image7.emf"/><Relationship Id="rId4" Type="http://schemas.openxmlformats.org/officeDocument/2006/relationships/oleObject" Target="../embeddings/oleObject75.bin"/></Relationships>
</file>

<file path=ppt/slideLayouts/_rels/slideLayout75.xml.rels><?xml version="1.0" encoding="UTF-8" standalone="yes"?>
<Relationships xmlns="http://schemas.openxmlformats.org/package/2006/relationships"><Relationship Id="rId3" Type="http://schemas.openxmlformats.org/officeDocument/2006/relationships/tags" Target="../tags/tag115.xml"/><Relationship Id="rId2" Type="http://schemas.openxmlformats.org/officeDocument/2006/relationships/vmlDrawing" Target="../drawings/vmlDrawing76.vml"/><Relationship Id="rId1" Type="http://schemas.openxmlformats.org/officeDocument/2006/relationships/themeOverride" Target="../theme/themeOverride18.xml"/><Relationship Id="rId6" Type="http://schemas.openxmlformats.org/officeDocument/2006/relationships/image" Target="../media/image7.emf"/><Relationship Id="rId5" Type="http://schemas.openxmlformats.org/officeDocument/2006/relationships/oleObject" Target="../embeddings/oleObject76.bin"/><Relationship Id="rId4"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6.xml"/><Relationship Id="rId1" Type="http://schemas.openxmlformats.org/officeDocument/2006/relationships/vmlDrawing" Target="../drawings/vmlDrawing77.vml"/><Relationship Id="rId5" Type="http://schemas.openxmlformats.org/officeDocument/2006/relationships/image" Target="../media/image7.emf"/><Relationship Id="rId4" Type="http://schemas.openxmlformats.org/officeDocument/2006/relationships/oleObject" Target="../embeddings/oleObject77.bin"/></Relationships>
</file>

<file path=ppt/slideLayouts/_rels/slideLayout77.xml.rels><?xml version="1.0" encoding="UTF-8" standalone="yes"?>
<Relationships xmlns="http://schemas.openxmlformats.org/package/2006/relationships"><Relationship Id="rId3" Type="http://schemas.openxmlformats.org/officeDocument/2006/relationships/tags" Target="../tags/tag117.xml"/><Relationship Id="rId7" Type="http://schemas.openxmlformats.org/officeDocument/2006/relationships/image" Target="../media/image10.png"/><Relationship Id="rId2" Type="http://schemas.openxmlformats.org/officeDocument/2006/relationships/vmlDrawing" Target="../drawings/vmlDrawing78.vml"/><Relationship Id="rId1" Type="http://schemas.openxmlformats.org/officeDocument/2006/relationships/themeOverride" Target="../theme/themeOverride19.xml"/><Relationship Id="rId6" Type="http://schemas.openxmlformats.org/officeDocument/2006/relationships/image" Target="../media/image7.emf"/><Relationship Id="rId5" Type="http://schemas.openxmlformats.org/officeDocument/2006/relationships/oleObject" Target="../embeddings/oleObject78.bin"/><Relationship Id="rId4"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3" Type="http://schemas.openxmlformats.org/officeDocument/2006/relationships/tags" Target="../tags/tag118.xml"/><Relationship Id="rId7" Type="http://schemas.openxmlformats.org/officeDocument/2006/relationships/image" Target="../media/image10.png"/><Relationship Id="rId2" Type="http://schemas.openxmlformats.org/officeDocument/2006/relationships/vmlDrawing" Target="../drawings/vmlDrawing79.vml"/><Relationship Id="rId1" Type="http://schemas.openxmlformats.org/officeDocument/2006/relationships/themeOverride" Target="../theme/themeOverride20.xml"/><Relationship Id="rId6" Type="http://schemas.openxmlformats.org/officeDocument/2006/relationships/image" Target="../media/image7.emf"/><Relationship Id="rId5" Type="http://schemas.openxmlformats.org/officeDocument/2006/relationships/oleObject" Target="../embeddings/oleObject79.bin"/><Relationship Id="rId4"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3" Type="http://schemas.openxmlformats.org/officeDocument/2006/relationships/tags" Target="../tags/tag119.xml"/><Relationship Id="rId7" Type="http://schemas.openxmlformats.org/officeDocument/2006/relationships/image" Target="../media/image10.png"/><Relationship Id="rId2" Type="http://schemas.openxmlformats.org/officeDocument/2006/relationships/vmlDrawing" Target="../drawings/vmlDrawing80.vml"/><Relationship Id="rId1" Type="http://schemas.openxmlformats.org/officeDocument/2006/relationships/themeOverride" Target="../theme/themeOverride21.xml"/><Relationship Id="rId6" Type="http://schemas.openxmlformats.org/officeDocument/2006/relationships/image" Target="../media/image7.emf"/><Relationship Id="rId5" Type="http://schemas.openxmlformats.org/officeDocument/2006/relationships/oleObject" Target="../embeddings/oleObject80.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14.xml"/><Relationship Id="rId7" Type="http://schemas.openxmlformats.org/officeDocument/2006/relationships/image" Target="../media/image18.png"/><Relationship Id="rId2" Type="http://schemas.openxmlformats.org/officeDocument/2006/relationships/tags" Target="../tags/tag13.xml"/><Relationship Id="rId1" Type="http://schemas.openxmlformats.org/officeDocument/2006/relationships/vmlDrawing" Target="../drawings/vmlDrawing9.vml"/><Relationship Id="rId6" Type="http://schemas.openxmlformats.org/officeDocument/2006/relationships/image" Target="../media/image12.emf"/><Relationship Id="rId5" Type="http://schemas.openxmlformats.org/officeDocument/2006/relationships/oleObject" Target="../embeddings/oleObject9.bin"/><Relationship Id="rId4" Type="http://schemas.openxmlformats.org/officeDocument/2006/relationships/slideMaster" Target="../slideMasters/slideMaster1.xml"/><Relationship Id="rId9" Type="http://schemas.openxmlformats.org/officeDocument/2006/relationships/image" Target="../media/image19.jpeg"/></Relationships>
</file>

<file path=ppt/slideLayouts/_rels/slideLayout80.xml.rels><?xml version="1.0" encoding="UTF-8" standalone="yes"?>
<Relationships xmlns="http://schemas.openxmlformats.org/package/2006/relationships"><Relationship Id="rId3" Type="http://schemas.openxmlformats.org/officeDocument/2006/relationships/tags" Target="../tags/tag120.xml"/><Relationship Id="rId7" Type="http://schemas.openxmlformats.org/officeDocument/2006/relationships/image" Target="../media/image10.png"/><Relationship Id="rId2" Type="http://schemas.openxmlformats.org/officeDocument/2006/relationships/vmlDrawing" Target="../drawings/vmlDrawing81.vml"/><Relationship Id="rId1" Type="http://schemas.openxmlformats.org/officeDocument/2006/relationships/themeOverride" Target="../theme/themeOverride22.xml"/><Relationship Id="rId6" Type="http://schemas.openxmlformats.org/officeDocument/2006/relationships/image" Target="../media/image7.emf"/><Relationship Id="rId5" Type="http://schemas.openxmlformats.org/officeDocument/2006/relationships/oleObject" Target="../embeddings/oleObject81.bin"/><Relationship Id="rId4"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3" Type="http://schemas.openxmlformats.org/officeDocument/2006/relationships/tags" Target="../tags/tag121.xml"/><Relationship Id="rId7" Type="http://schemas.openxmlformats.org/officeDocument/2006/relationships/image" Target="../media/image10.png"/><Relationship Id="rId2" Type="http://schemas.openxmlformats.org/officeDocument/2006/relationships/vmlDrawing" Target="../drawings/vmlDrawing82.vml"/><Relationship Id="rId1" Type="http://schemas.openxmlformats.org/officeDocument/2006/relationships/themeOverride" Target="../theme/themeOverride23.xml"/><Relationship Id="rId6" Type="http://schemas.openxmlformats.org/officeDocument/2006/relationships/image" Target="../media/image7.emf"/><Relationship Id="rId5" Type="http://schemas.openxmlformats.org/officeDocument/2006/relationships/oleObject" Target="../embeddings/oleObject82.bin"/><Relationship Id="rId4"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3" Type="http://schemas.openxmlformats.org/officeDocument/2006/relationships/tags" Target="../tags/tag122.xml"/><Relationship Id="rId7" Type="http://schemas.openxmlformats.org/officeDocument/2006/relationships/image" Target="../media/image45.png"/><Relationship Id="rId2" Type="http://schemas.openxmlformats.org/officeDocument/2006/relationships/vmlDrawing" Target="../drawings/vmlDrawing83.vml"/><Relationship Id="rId1" Type="http://schemas.openxmlformats.org/officeDocument/2006/relationships/themeOverride" Target="../theme/themeOverride24.xml"/><Relationship Id="rId6" Type="http://schemas.openxmlformats.org/officeDocument/2006/relationships/image" Target="../media/image7.emf"/><Relationship Id="rId5" Type="http://schemas.openxmlformats.org/officeDocument/2006/relationships/oleObject" Target="../embeddings/oleObject83.bin"/><Relationship Id="rId4"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3.xml"/><Relationship Id="rId1" Type="http://schemas.openxmlformats.org/officeDocument/2006/relationships/vmlDrawing" Target="../drawings/vmlDrawing84.vml"/><Relationship Id="rId6" Type="http://schemas.openxmlformats.org/officeDocument/2006/relationships/image" Target="../media/image52.png"/><Relationship Id="rId5" Type="http://schemas.openxmlformats.org/officeDocument/2006/relationships/image" Target="../media/image7.emf"/><Relationship Id="rId4" Type="http://schemas.openxmlformats.org/officeDocument/2006/relationships/oleObject" Target="../embeddings/oleObject84.bin"/></Relationships>
</file>

<file path=ppt/slideLayouts/_rels/slideLayout84.xml.rels><?xml version="1.0" encoding="UTF-8" standalone="yes"?>
<Relationships xmlns="http://schemas.openxmlformats.org/package/2006/relationships"><Relationship Id="rId3" Type="http://schemas.openxmlformats.org/officeDocument/2006/relationships/tags" Target="../tags/tag124.xml"/><Relationship Id="rId7" Type="http://schemas.openxmlformats.org/officeDocument/2006/relationships/image" Target="../media/image55.png"/><Relationship Id="rId2" Type="http://schemas.openxmlformats.org/officeDocument/2006/relationships/vmlDrawing" Target="../drawings/vmlDrawing85.vml"/><Relationship Id="rId1" Type="http://schemas.openxmlformats.org/officeDocument/2006/relationships/themeOverride" Target="../theme/themeOverride25.xml"/><Relationship Id="rId6" Type="http://schemas.openxmlformats.org/officeDocument/2006/relationships/image" Target="../media/image54.emf"/><Relationship Id="rId5" Type="http://schemas.openxmlformats.org/officeDocument/2006/relationships/oleObject" Target="../embeddings/oleObject85.bin"/><Relationship Id="rId4"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5.xml"/><Relationship Id="rId1" Type="http://schemas.openxmlformats.org/officeDocument/2006/relationships/vmlDrawing" Target="../drawings/vmlDrawing86.vml"/><Relationship Id="rId6" Type="http://schemas.openxmlformats.org/officeDocument/2006/relationships/image" Target="../media/image52.png"/><Relationship Id="rId5" Type="http://schemas.openxmlformats.org/officeDocument/2006/relationships/image" Target="../media/image7.emf"/><Relationship Id="rId4" Type="http://schemas.openxmlformats.org/officeDocument/2006/relationships/oleObject" Target="../embeddings/oleObject86.bin"/></Relationships>
</file>

<file path=ppt/slideLayouts/_rels/slideLayout86.xml.rels><?xml version="1.0" encoding="UTF-8" standalone="yes"?>
<Relationships xmlns="http://schemas.openxmlformats.org/package/2006/relationships"><Relationship Id="rId3" Type="http://schemas.openxmlformats.org/officeDocument/2006/relationships/tags" Target="../tags/tag126.xml"/><Relationship Id="rId7" Type="http://schemas.openxmlformats.org/officeDocument/2006/relationships/image" Target="../media/image45.png"/><Relationship Id="rId2" Type="http://schemas.openxmlformats.org/officeDocument/2006/relationships/vmlDrawing" Target="../drawings/vmlDrawing87.vml"/><Relationship Id="rId1" Type="http://schemas.openxmlformats.org/officeDocument/2006/relationships/themeOverride" Target="../theme/themeOverride26.xml"/><Relationship Id="rId6" Type="http://schemas.openxmlformats.org/officeDocument/2006/relationships/image" Target="../media/image7.emf"/><Relationship Id="rId5" Type="http://schemas.openxmlformats.org/officeDocument/2006/relationships/oleObject" Target="../embeddings/oleObject87.bin"/><Relationship Id="rId4"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7.xml"/><Relationship Id="rId1" Type="http://schemas.openxmlformats.org/officeDocument/2006/relationships/vmlDrawing" Target="../drawings/vmlDrawing88.vml"/><Relationship Id="rId6" Type="http://schemas.openxmlformats.org/officeDocument/2006/relationships/image" Target="../media/image52.png"/><Relationship Id="rId5" Type="http://schemas.openxmlformats.org/officeDocument/2006/relationships/image" Target="../media/image7.emf"/><Relationship Id="rId4" Type="http://schemas.openxmlformats.org/officeDocument/2006/relationships/oleObject" Target="../embeddings/oleObject88.bin"/></Relationships>
</file>

<file path=ppt/slideLayouts/_rels/slideLayout88.xml.rels><?xml version="1.0" encoding="UTF-8" standalone="yes"?>
<Relationships xmlns="http://schemas.openxmlformats.org/package/2006/relationships"><Relationship Id="rId3" Type="http://schemas.openxmlformats.org/officeDocument/2006/relationships/tags" Target="../tags/tag128.xml"/><Relationship Id="rId7" Type="http://schemas.openxmlformats.org/officeDocument/2006/relationships/image" Target="../media/image45.png"/><Relationship Id="rId2" Type="http://schemas.openxmlformats.org/officeDocument/2006/relationships/vmlDrawing" Target="../drawings/vmlDrawing89.vml"/><Relationship Id="rId1" Type="http://schemas.openxmlformats.org/officeDocument/2006/relationships/themeOverride" Target="../theme/themeOverride27.xml"/><Relationship Id="rId6" Type="http://schemas.openxmlformats.org/officeDocument/2006/relationships/image" Target="../media/image7.emf"/><Relationship Id="rId5" Type="http://schemas.openxmlformats.org/officeDocument/2006/relationships/oleObject" Target="../embeddings/oleObject89.bin"/><Relationship Id="rId4"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9.xml"/><Relationship Id="rId1" Type="http://schemas.openxmlformats.org/officeDocument/2006/relationships/vmlDrawing" Target="../drawings/vmlDrawing90.vml"/><Relationship Id="rId6" Type="http://schemas.openxmlformats.org/officeDocument/2006/relationships/image" Target="../media/image52.png"/><Relationship Id="rId5" Type="http://schemas.openxmlformats.org/officeDocument/2006/relationships/image" Target="../media/image7.emf"/><Relationship Id="rId4" Type="http://schemas.openxmlformats.org/officeDocument/2006/relationships/oleObject" Target="../embeddings/oleObject90.bin"/></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15.xml"/><Relationship Id="rId7" Type="http://schemas.openxmlformats.org/officeDocument/2006/relationships/image" Target="../media/image20.jpeg"/><Relationship Id="rId2" Type="http://schemas.openxmlformats.org/officeDocument/2006/relationships/vmlDrawing" Target="../drawings/vmlDrawing10.vml"/><Relationship Id="rId1" Type="http://schemas.openxmlformats.org/officeDocument/2006/relationships/themeOverride" Target="../theme/themeOverride5.xml"/><Relationship Id="rId6" Type="http://schemas.openxmlformats.org/officeDocument/2006/relationships/image" Target="../media/image7.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tags" Target="../tags/tag130.xml"/><Relationship Id="rId2" Type="http://schemas.openxmlformats.org/officeDocument/2006/relationships/vmlDrawing" Target="../drawings/vmlDrawing91.vml"/><Relationship Id="rId1" Type="http://schemas.openxmlformats.org/officeDocument/2006/relationships/themeOverride" Target="../theme/themeOverride28.xml"/><Relationship Id="rId6" Type="http://schemas.openxmlformats.org/officeDocument/2006/relationships/image" Target="../media/image7.emf"/><Relationship Id="rId5" Type="http://schemas.openxmlformats.org/officeDocument/2006/relationships/oleObject" Target="../embeddings/oleObject91.bin"/><Relationship Id="rId4"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1.xml"/><Relationship Id="rId1" Type="http://schemas.openxmlformats.org/officeDocument/2006/relationships/vmlDrawing" Target="../drawings/vmlDrawing92.vml"/><Relationship Id="rId5" Type="http://schemas.openxmlformats.org/officeDocument/2006/relationships/image" Target="../media/image7.emf"/><Relationship Id="rId4" Type="http://schemas.openxmlformats.org/officeDocument/2006/relationships/oleObject" Target="../embeddings/oleObject92.bin"/></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2.xml"/><Relationship Id="rId1" Type="http://schemas.openxmlformats.org/officeDocument/2006/relationships/vmlDrawing" Target="../drawings/vmlDrawing93.vml"/><Relationship Id="rId6" Type="http://schemas.openxmlformats.org/officeDocument/2006/relationships/image" Target="../media/image10.png"/><Relationship Id="rId5" Type="http://schemas.openxmlformats.org/officeDocument/2006/relationships/image" Target="../media/image54.emf"/><Relationship Id="rId4" Type="http://schemas.openxmlformats.org/officeDocument/2006/relationships/oleObject" Target="../embeddings/oleObject93.bin"/></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3.xml"/><Relationship Id="rId1" Type="http://schemas.openxmlformats.org/officeDocument/2006/relationships/vmlDrawing" Target="../drawings/vmlDrawing94.vml"/><Relationship Id="rId5" Type="http://schemas.openxmlformats.org/officeDocument/2006/relationships/image" Target="../media/image7.emf"/><Relationship Id="rId4" Type="http://schemas.openxmlformats.org/officeDocument/2006/relationships/oleObject" Target="../embeddings/oleObject94.bin"/></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4.xml"/><Relationship Id="rId1" Type="http://schemas.openxmlformats.org/officeDocument/2006/relationships/vmlDrawing" Target="../drawings/vmlDrawing95.vml"/><Relationship Id="rId5" Type="http://schemas.openxmlformats.org/officeDocument/2006/relationships/image" Target="../media/image7.emf"/><Relationship Id="rId4" Type="http://schemas.openxmlformats.org/officeDocument/2006/relationships/oleObject" Target="../embeddings/oleObject95.bin"/></Relationships>
</file>

<file path=ppt/slideLayouts/_rels/slideLayout95.xml.rels><?xml version="1.0" encoding="UTF-8" standalone="yes"?>
<Relationships xmlns="http://schemas.openxmlformats.org/package/2006/relationships"><Relationship Id="rId3" Type="http://schemas.openxmlformats.org/officeDocument/2006/relationships/tags" Target="../tags/tag135.xml"/><Relationship Id="rId2" Type="http://schemas.openxmlformats.org/officeDocument/2006/relationships/vmlDrawing" Target="../drawings/vmlDrawing96.vml"/><Relationship Id="rId1" Type="http://schemas.openxmlformats.org/officeDocument/2006/relationships/themeOverride" Target="../theme/themeOverride29.xml"/><Relationship Id="rId6" Type="http://schemas.openxmlformats.org/officeDocument/2006/relationships/image" Target="../media/image7.emf"/><Relationship Id="rId5" Type="http://schemas.openxmlformats.org/officeDocument/2006/relationships/oleObject" Target="../embeddings/oleObject96.bin"/><Relationship Id="rId4" Type="http://schemas.openxmlformats.org/officeDocument/2006/relationships/slideMaster" Target="../slideMasters/slideMaster1.xml"/></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6.xml"/><Relationship Id="rId1" Type="http://schemas.openxmlformats.org/officeDocument/2006/relationships/vmlDrawing" Target="../drawings/vmlDrawing97.vml"/><Relationship Id="rId5" Type="http://schemas.openxmlformats.org/officeDocument/2006/relationships/image" Target="../media/image7.emf"/><Relationship Id="rId4" Type="http://schemas.openxmlformats.org/officeDocument/2006/relationships/oleObject" Target="../embeddings/oleObject97.bin"/></Relationships>
</file>

<file path=ppt/slideLayouts/_rels/slideLayout97.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openxmlformats.org/officeDocument/2006/relationships/image" Target="../media/image63.png"/><Relationship Id="rId2" Type="http://schemas.openxmlformats.org/officeDocument/2006/relationships/tags" Target="../tags/tag137.xml"/><Relationship Id="rId1" Type="http://schemas.openxmlformats.org/officeDocument/2006/relationships/vmlDrawing" Target="../drawings/vmlDrawing98.vml"/><Relationship Id="rId6" Type="http://schemas.openxmlformats.org/officeDocument/2006/relationships/image" Target="../media/image3.jpeg"/><Relationship Id="rId5" Type="http://schemas.openxmlformats.org/officeDocument/2006/relationships/image" Target="../media/image2.emf"/><Relationship Id="rId4" Type="http://schemas.openxmlformats.org/officeDocument/2006/relationships/oleObject" Target="../embeddings/oleObject98.bin"/></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8.xml"/><Relationship Id="rId1" Type="http://schemas.openxmlformats.org/officeDocument/2006/relationships/vmlDrawing" Target="../drawings/vmlDrawing99.vml"/><Relationship Id="rId5" Type="http://schemas.openxmlformats.org/officeDocument/2006/relationships/image" Target="../media/image7.emf"/><Relationship Id="rId4" Type="http://schemas.openxmlformats.org/officeDocument/2006/relationships/oleObject" Target="../embeddings/oleObject99.bin"/></Relationships>
</file>

<file path=ppt/slideLayouts/_rels/slideLayout99.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40.xml"/><Relationship Id="rId7" Type="http://schemas.openxmlformats.org/officeDocument/2006/relationships/image" Target="../media/image3.jpeg"/><Relationship Id="rId2" Type="http://schemas.openxmlformats.org/officeDocument/2006/relationships/tags" Target="../tags/tag139.xml"/><Relationship Id="rId1" Type="http://schemas.openxmlformats.org/officeDocument/2006/relationships/vmlDrawing" Target="../drawings/vmlDrawing100.vml"/><Relationship Id="rId6" Type="http://schemas.openxmlformats.org/officeDocument/2006/relationships/image" Target="../media/image2.emf"/><Relationship Id="rId5" Type="http://schemas.openxmlformats.org/officeDocument/2006/relationships/oleObject" Target="../embeddings/oleObject100.bin"/><Relationship Id="rId10" Type="http://schemas.openxmlformats.org/officeDocument/2006/relationships/image" Target="../media/image6.png"/><Relationship Id="rId4" Type="http://schemas.openxmlformats.org/officeDocument/2006/relationships/slideMaster" Target="../slideMasters/slideMaster1.xml"/><Relationship Id="rId9" Type="http://schemas.openxmlformats.org/officeDocument/2006/relationships/image" Target="../media/image5.jpe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064490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9" name="Diapositive think-cell" r:id="rId5" imgW="384" imgH="384" progId="TCLayout.ActiveDocument.1">
                  <p:embed/>
                </p:oleObj>
              </mc:Choice>
              <mc:Fallback>
                <p:oleObj name="Diapositive think-cell"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pic>
        <p:nvPicPr>
          <p:cNvPr id="35" name="Picture 34">
            <a:extLst>
              <a:ext uri="{FF2B5EF4-FFF2-40B4-BE49-F238E27FC236}">
                <a16:creationId xmlns:a16="http://schemas.microsoft.com/office/drawing/2014/main" id="{4F68A1FE-0ADA-40E5-8DEC-5CBA3D600E93}"/>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36" name="Rectangle 35">
            <a:extLst>
              <a:ext uri="{FF2B5EF4-FFF2-40B4-BE49-F238E27FC236}">
                <a16:creationId xmlns:a16="http://schemas.microsoft.com/office/drawing/2014/main" id="{9F899E99-8899-433B-917A-E2210D4948FD}"/>
              </a:ext>
            </a:extLst>
          </p:cNvPr>
          <p:cNvSpPr/>
          <p:nvPr userDrawn="1"/>
        </p:nvSpPr>
        <p:spPr>
          <a:xfrm rot="10800000">
            <a:off x="-1" y="0"/>
            <a:ext cx="12192000" cy="6858000"/>
          </a:xfrm>
          <a:prstGeom prst="rect">
            <a:avLst/>
          </a:prstGeom>
          <a:gradFill flip="none" rotWithShape="1">
            <a:gsLst>
              <a:gs pos="100000">
                <a:srgbClr val="222222">
                  <a:alpha val="69000"/>
                </a:srgbClr>
              </a:gs>
              <a:gs pos="0">
                <a:srgbClr val="222222">
                  <a:alpha val="0"/>
                </a:srgbClr>
              </a:gs>
            </a:gsLst>
            <a:lin ang="0" scaled="1"/>
            <a:tileRect/>
          </a:gra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n-lt"/>
              <a:ea typeface="+mn-ea"/>
              <a:cs typeface="+mn-cs"/>
            </a:endParaRPr>
          </a:p>
        </p:txBody>
      </p:sp>
      <p:sp>
        <p:nvSpPr>
          <p:cNvPr id="56" name="Text Placeholder 8">
            <a:extLst>
              <a:ext uri="{FF2B5EF4-FFF2-40B4-BE49-F238E27FC236}">
                <a16:creationId xmlns:a16="http://schemas.microsoft.com/office/drawing/2014/main" id="{6EDB98C5-D7BE-4C40-9A2F-B1D6DD47EC98}"/>
              </a:ext>
            </a:extLst>
          </p:cNvPr>
          <p:cNvSpPr>
            <a:spLocks noGrp="1"/>
          </p:cNvSpPr>
          <p:nvPr>
            <p:ph type="body" sz="quarter" idx="15" hasCustomPrompt="1"/>
          </p:nvPr>
        </p:nvSpPr>
        <p:spPr>
          <a:xfrm>
            <a:off x="1117416" y="5715105"/>
            <a:ext cx="5528014" cy="327149"/>
          </a:xfrm>
          <a:prstGeom prst="rect">
            <a:avLst/>
          </a:prstGeom>
        </p:spPr>
        <p:txBody>
          <a:bodyPr vert="horz" wrap="square" lIns="0" tIns="0" rIns="0" bIns="0" anchor="ctr" anchorCtr="0">
            <a:normAutofit/>
          </a:bodyPr>
          <a:lstStyle>
            <a:lvl1pPr>
              <a:buNone/>
              <a:defRPr sz="1200" b="1" kern="0" cap="all" baseline="0">
                <a:solidFill>
                  <a:schemeClr val="bg1"/>
                </a:solidFill>
                <a:latin typeface="+mn-lt"/>
                <a:ea typeface="+mn-ea"/>
                <a:cs typeface="+mn-cs"/>
              </a:defRPr>
            </a:lvl1pPr>
          </a:lstStyle>
          <a:p>
            <a:pPr lvl="0"/>
            <a:r>
              <a:rPr lang="en-US"/>
              <a:t>Click to edit date/place</a:t>
            </a:r>
          </a:p>
        </p:txBody>
      </p:sp>
      <p:sp>
        <p:nvSpPr>
          <p:cNvPr id="9" name="Text Placeholder 8">
            <a:extLst>
              <a:ext uri="{FF2B5EF4-FFF2-40B4-BE49-F238E27FC236}">
                <a16:creationId xmlns:a16="http://schemas.microsoft.com/office/drawing/2014/main" id="{44CEB0F6-9E52-4856-9623-686C6B7D01B3}"/>
              </a:ext>
            </a:extLst>
          </p:cNvPr>
          <p:cNvSpPr>
            <a:spLocks noGrp="1"/>
          </p:cNvSpPr>
          <p:nvPr>
            <p:ph type="body" sz="quarter" idx="14" hasCustomPrompt="1"/>
          </p:nvPr>
        </p:nvSpPr>
        <p:spPr>
          <a:xfrm>
            <a:off x="1117414" y="4184612"/>
            <a:ext cx="5528015" cy="436195"/>
          </a:xfrm>
          <a:prstGeom prst="rect">
            <a:avLst/>
          </a:prstGeom>
        </p:spPr>
        <p:txBody>
          <a:bodyPr vert="horz" wrap="square" lIns="0" tIns="0" rIns="0" bIns="0" anchor="t" anchorCtr="0">
            <a:noAutofit/>
          </a:bodyPr>
          <a:lstStyle>
            <a:lvl1pPr>
              <a:buNone/>
              <a:defRPr sz="2000">
                <a:solidFill>
                  <a:schemeClr val="bg1"/>
                </a:solidFill>
                <a:latin typeface="+mn-lt"/>
                <a:ea typeface="+mn-ea"/>
                <a:cs typeface="+mn-cs"/>
              </a:defRPr>
            </a:lvl1pPr>
          </a:lstStyle>
          <a:p>
            <a:pPr lvl="0"/>
            <a:r>
              <a:rPr lang="en-US"/>
              <a:t>Subtitle in sentence case</a:t>
            </a:r>
          </a:p>
        </p:txBody>
      </p:sp>
      <p:cxnSp>
        <p:nvCxnSpPr>
          <p:cNvPr id="55" name="Straight Connector 54">
            <a:extLst>
              <a:ext uri="{FF2B5EF4-FFF2-40B4-BE49-F238E27FC236}">
                <a16:creationId xmlns:a16="http://schemas.microsoft.com/office/drawing/2014/main" id="{44F334D6-511D-4B62-85DA-2CEA459D78B6}"/>
              </a:ext>
            </a:extLst>
          </p:cNvPr>
          <p:cNvCxnSpPr>
            <a:cxnSpLocks/>
          </p:cNvCxnSpPr>
          <p:nvPr userDrawn="1"/>
        </p:nvCxnSpPr>
        <p:spPr>
          <a:xfrm>
            <a:off x="1117414" y="5226508"/>
            <a:ext cx="5164116" cy="0"/>
          </a:xfrm>
          <a:prstGeom prst="line">
            <a:avLst/>
          </a:prstGeom>
          <a:ln w="9525" cap="rnd">
            <a:solidFill>
              <a:schemeClr val="bg1"/>
            </a:solidFill>
            <a:prstDash val="solid"/>
            <a:round/>
          </a:ln>
        </p:spPr>
        <p:style>
          <a:lnRef idx="1">
            <a:schemeClr val="accent1"/>
          </a:lnRef>
          <a:fillRef idx="0">
            <a:schemeClr val="accent1"/>
          </a:fillRef>
          <a:effectRef idx="0">
            <a:schemeClr val="accent1"/>
          </a:effectRef>
          <a:fontRef idx="minor">
            <a:schemeClr val="tx1"/>
          </a:fontRef>
        </p:style>
      </p:cxnSp>
      <p:sp>
        <p:nvSpPr>
          <p:cNvPr id="27" name="Title 1"/>
          <p:cNvSpPr>
            <a:spLocks noGrp="1"/>
          </p:cNvSpPr>
          <p:nvPr>
            <p:ph type="ctrTitle"/>
          </p:nvPr>
        </p:nvSpPr>
        <p:spPr bwMode="ltGray">
          <a:xfrm>
            <a:off x="1117416" y="2283945"/>
            <a:ext cx="5528014" cy="1678995"/>
          </a:xfrm>
          <a:prstGeom prst="rect">
            <a:avLst/>
          </a:prstGeom>
        </p:spPr>
        <p:txBody>
          <a:bodyPr vert="horz" anchor="b">
            <a:normAutofit/>
          </a:bodyPr>
          <a:lstStyle>
            <a:lvl1pPr algn="l">
              <a:lnSpc>
                <a:spcPct val="93000"/>
              </a:lnSpc>
              <a:defRPr sz="5400" baseline="0">
                <a:solidFill>
                  <a:schemeClr val="bg1"/>
                </a:solidFill>
                <a:latin typeface="+mj-lt"/>
                <a:ea typeface="+mj-ea"/>
                <a:cs typeface="+mj-cs"/>
                <a:sym typeface="Trebuchet MS" panose="020B0603020202020204" pitchFamily="34" charset="0"/>
              </a:defRPr>
            </a:lvl1pPr>
          </a:lstStyle>
          <a:p>
            <a:r>
              <a:rPr lang="en-US"/>
              <a:t>Click to edit Master title style</a:t>
            </a:r>
          </a:p>
        </p:txBody>
      </p:sp>
      <p:grpSp>
        <p:nvGrpSpPr>
          <p:cNvPr id="16" name="Group 15">
            <a:extLst>
              <a:ext uri="{FF2B5EF4-FFF2-40B4-BE49-F238E27FC236}">
                <a16:creationId xmlns:a16="http://schemas.microsoft.com/office/drawing/2014/main" id="{82587612-7D59-4DA3-ACA7-83DB81A1EA0B}"/>
              </a:ext>
            </a:extLst>
          </p:cNvPr>
          <p:cNvGrpSpPr/>
          <p:nvPr userDrawn="1"/>
        </p:nvGrpSpPr>
        <p:grpSpPr>
          <a:xfrm>
            <a:off x="6975603" y="1458410"/>
            <a:ext cx="3708097" cy="3772029"/>
            <a:chOff x="1803027" y="0"/>
            <a:chExt cx="4712589" cy="4793839"/>
          </a:xfrm>
        </p:grpSpPr>
        <p:sp>
          <p:nvSpPr>
            <p:cNvPr id="17" name="Rectangle 16">
              <a:extLst>
                <a:ext uri="{FF2B5EF4-FFF2-40B4-BE49-F238E27FC236}">
                  <a16:creationId xmlns:a16="http://schemas.microsoft.com/office/drawing/2014/main" id="{4D07B815-82AF-49AD-8E7A-F6908E224324}"/>
                </a:ext>
              </a:extLst>
            </p:cNvPr>
            <p:cNvSpPr/>
            <p:nvPr/>
          </p:nvSpPr>
          <p:spPr>
            <a:xfrm>
              <a:off x="1803027" y="0"/>
              <a:ext cx="4712589" cy="4793839"/>
            </a:xfrm>
            <a:prstGeom prst="rect">
              <a:avLst/>
            </a:prstGeom>
            <a:solidFill>
              <a:sysClr val="window" lastClr="FFFFFF"/>
            </a:soli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n-lt"/>
                <a:ea typeface="+mn-ea"/>
                <a:cs typeface="+mn-cs"/>
              </a:endParaRPr>
            </a:p>
          </p:txBody>
        </p:sp>
        <p:sp>
          <p:nvSpPr>
            <p:cNvPr id="18" name="Rectangle 17">
              <a:extLst>
                <a:ext uri="{FF2B5EF4-FFF2-40B4-BE49-F238E27FC236}">
                  <a16:creationId xmlns:a16="http://schemas.microsoft.com/office/drawing/2014/main" id="{7CB5DBD7-AE44-4A19-A22F-91ACCE9FC002}"/>
                </a:ext>
              </a:extLst>
            </p:cNvPr>
            <p:cNvSpPr/>
            <p:nvPr/>
          </p:nvSpPr>
          <p:spPr>
            <a:xfrm>
              <a:off x="2222643" y="426851"/>
              <a:ext cx="3873357" cy="3940138"/>
            </a:xfrm>
            <a:prstGeom prst="rect">
              <a:avLst/>
            </a:prstGeom>
            <a:solidFill>
              <a:srgbClr val="EDEDED"/>
            </a:soli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n-lt"/>
                <a:ea typeface="+mn-ea"/>
                <a:cs typeface="+mn-cs"/>
              </a:endParaRPr>
            </a:p>
          </p:txBody>
        </p:sp>
      </p:grpSp>
      <p:pic>
        <p:nvPicPr>
          <p:cNvPr id="19" name="Picture 18">
            <a:extLst>
              <a:ext uri="{FF2B5EF4-FFF2-40B4-BE49-F238E27FC236}">
                <a16:creationId xmlns:a16="http://schemas.microsoft.com/office/drawing/2014/main" id="{89248675-F62D-4D3E-8670-4967D237760A}"/>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6673359" y="5432713"/>
            <a:ext cx="2772891" cy="970512"/>
          </a:xfrm>
          <a:prstGeom prst="rect">
            <a:avLst/>
          </a:prstGeom>
        </p:spPr>
      </p:pic>
      <p:pic>
        <p:nvPicPr>
          <p:cNvPr id="20" name="Picture 19">
            <a:extLst>
              <a:ext uri="{FF2B5EF4-FFF2-40B4-BE49-F238E27FC236}">
                <a16:creationId xmlns:a16="http://schemas.microsoft.com/office/drawing/2014/main" id="{6E297433-9EBF-49AC-89C8-A8DCFEB6C1C8}"/>
              </a:ext>
            </a:extLst>
          </p:cNvPr>
          <p:cNvPicPr>
            <a:picLocks noChangeAspect="1"/>
          </p:cNvPicPr>
          <p:nvPr userDrawn="1"/>
        </p:nvPicPr>
        <p:blipFill rotWithShape="1">
          <a:blip r:embed="rId9" cstate="screen">
            <a:extLst>
              <a:ext uri="{28A0092B-C50C-407E-A947-70E740481C1C}">
                <a14:useLocalDpi xmlns:a14="http://schemas.microsoft.com/office/drawing/2010/main"/>
              </a:ext>
            </a:extLst>
          </a:blip>
          <a:srcRect t="2371" r="4155" b="9442"/>
          <a:stretch/>
        </p:blipFill>
        <p:spPr>
          <a:xfrm flipH="1">
            <a:off x="7305777" y="1794277"/>
            <a:ext cx="3047747" cy="3100296"/>
          </a:xfrm>
          <a:prstGeom prst="rect">
            <a:avLst/>
          </a:prstGeom>
        </p:spPr>
      </p:pic>
      <p:pic>
        <p:nvPicPr>
          <p:cNvPr id="21" name="Picture 20">
            <a:extLst>
              <a:ext uri="{FF2B5EF4-FFF2-40B4-BE49-F238E27FC236}">
                <a16:creationId xmlns:a16="http://schemas.microsoft.com/office/drawing/2014/main" id="{2E09EC58-6BD6-4B73-9679-36978BF46CD2}"/>
              </a:ext>
            </a:extLst>
          </p:cNvPr>
          <p:cNvPicPr>
            <a:picLocks noChangeAspect="1"/>
          </p:cNvPicPr>
          <p:nvPr userDrawn="1"/>
        </p:nvPicPr>
        <p:blipFill rotWithShape="1">
          <a:blip r:embed="rId10"/>
          <a:srcRect l="40171" r="383"/>
          <a:stretch/>
        </p:blipFill>
        <p:spPr>
          <a:xfrm>
            <a:off x="9035383" y="1466825"/>
            <a:ext cx="3156618" cy="5391176"/>
          </a:xfrm>
          <a:prstGeom prst="rect">
            <a:avLst/>
          </a:prstGeom>
        </p:spPr>
      </p:pic>
    </p:spTree>
    <p:extLst>
      <p:ext uri="{BB962C8B-B14F-4D97-AF65-F5344CB8AC3E}">
        <p14:creationId xmlns:p14="http://schemas.microsoft.com/office/powerpoint/2010/main" val="151518358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Beyond layout 9">
    <p:bg>
      <p:bgPr>
        <a:solidFill>
          <a:srgbClr val="EDEDED"/>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5" name="Diapositive think-cell" r:id="rId5" imgW="352" imgH="355" progId="TCLayout.ActiveDocument.1">
                  <p:embed/>
                </p:oleObj>
              </mc:Choice>
              <mc:Fallback>
                <p:oleObj name="Diapositive think-cell"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Henderson BCG Sans" panose="020B0502030402020204" pitchFamily="34" charset="0"/>
              <a:ea typeface="+mj-ea"/>
              <a:cs typeface="+mj-cs"/>
              <a:sym typeface="Henderson BCG Sans" panose="020B0502030402020204" pitchFamily="34" charset="0"/>
            </a:endParaRPr>
          </a:p>
        </p:txBody>
      </p:sp>
      <p:pic>
        <p:nvPicPr>
          <p:cNvPr id="16" name="Picture 15"/>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kern="0">
              <a:solidFill>
                <a:prstClr val="white"/>
              </a:solidFill>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kern="0">
                <a:solidFill>
                  <a:schemeClr val="bg1"/>
                </a:solidFill>
                <a:latin typeface="+mn-lt"/>
                <a:ea typeface="+mn-ea"/>
                <a:cs typeface="+mn-cs"/>
                <a:sym typeface="+mn-lt"/>
              </a:defRPr>
            </a:lvl1pPr>
          </a:lstStyle>
          <a:p>
            <a:endParaRPr lang="en-US">
              <a:solidFill>
                <a:prstClr val="white"/>
              </a:solidFill>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mn-lt"/>
              </a:rPr>
              <a:t>Copyright © 2022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kern="0" smtClean="0">
                <a:solidFill>
                  <a:prstClr val="white"/>
                </a:solidFill>
                <a:sym typeface="+mn-lt"/>
              </a:rPr>
              <a:pPr algn="r">
                <a:defRPr/>
              </a:pPr>
              <a:t>‹#›</a:t>
            </a:fld>
            <a:endParaRPr lang="en-US" sz="1000" kern="0">
              <a:solidFill>
                <a:prstClr val="white"/>
              </a:solidFill>
              <a:sym typeface="+mn-lt"/>
            </a:endParaRPr>
          </a:p>
        </p:txBody>
      </p:sp>
      <p:sp>
        <p:nvSpPr>
          <p:cNvPr id="2" name="Title 1"/>
          <p:cNvSpPr>
            <a:spLocks noGrp="1"/>
          </p:cNvSpPr>
          <p:nvPr>
            <p:ph type="title" hasCustomPrompt="1"/>
          </p:nvPr>
        </p:nvSpPr>
        <p:spPr>
          <a:xfrm>
            <a:off x="630000" y="622800"/>
            <a:ext cx="4884109" cy="443198"/>
          </a:xfrm>
          <a:prstGeom prst="rect">
            <a:avLst/>
          </a:prstGeom>
        </p:spPr>
        <p:txBody>
          <a:bodyPr vert="horz"/>
          <a:lstStyle>
            <a:lvl1pPr>
              <a:defRPr sz="3200" b="0" kern="0">
                <a:solidFill>
                  <a:srgbClr val="21BF61"/>
                </a:solidFill>
                <a:latin typeface="+mj-lt"/>
                <a:ea typeface="+mj-ea"/>
                <a:cs typeface="+mj-cs"/>
                <a:sym typeface="+mj-lt"/>
              </a:defRPr>
            </a:lvl1pPr>
          </a:lstStyle>
          <a:p>
            <a:r>
              <a:rPr lang="en-US"/>
              <a:t>Click to add title</a:t>
            </a:r>
          </a:p>
        </p:txBody>
      </p:sp>
      <p:pic>
        <p:nvPicPr>
          <p:cNvPr id="11" name="Picture 10">
            <a:extLst>
              <a:ext uri="{FF2B5EF4-FFF2-40B4-BE49-F238E27FC236}">
                <a16:creationId xmlns:a16="http://schemas.microsoft.com/office/drawing/2014/main" id="{7C44D80E-A764-42CD-9CA9-0EFD21AE52F7}"/>
              </a:ext>
            </a:extLst>
          </p:cNvPr>
          <p:cNvPicPr>
            <a:picLocks noChangeAspect="1"/>
          </p:cNvPicPr>
          <p:nvPr userDrawn="1"/>
        </p:nvPicPr>
        <p:blipFill rotWithShape="1">
          <a:blip r:embed="rId8" cstate="screen">
            <a:extLst>
              <a:ext uri="{28A0092B-C50C-407E-A947-70E740481C1C}">
                <a14:useLocalDpi xmlns:a14="http://schemas.microsoft.com/office/drawing/2010/main"/>
              </a:ext>
            </a:extLst>
          </a:blip>
          <a:srcRect/>
          <a:stretch/>
        </p:blipFill>
        <p:spPr>
          <a:xfrm rot="5400000">
            <a:off x="5713984" y="381339"/>
            <a:ext cx="6858001" cy="6095323"/>
          </a:xfrm>
          <a:prstGeom prst="rect">
            <a:avLst/>
          </a:prstGeom>
        </p:spPr>
      </p:pic>
      <p:pic>
        <p:nvPicPr>
          <p:cNvPr id="12" name="Picture 11">
            <a:extLst>
              <a:ext uri="{FF2B5EF4-FFF2-40B4-BE49-F238E27FC236}">
                <a16:creationId xmlns:a16="http://schemas.microsoft.com/office/drawing/2014/main" id="{67840BFA-39E6-4AA5-891B-5E1DBE6A6B7D}"/>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bwMode="ltGray">
          <a:xfrm flipH="1" flipV="1">
            <a:off x="5678372" y="0"/>
            <a:ext cx="416951" cy="6858000"/>
          </a:xfrm>
          <a:prstGeom prst="rect">
            <a:avLst/>
          </a:prstGeom>
        </p:spPr>
      </p:pic>
    </p:spTree>
    <p:extLst>
      <p:ext uri="{BB962C8B-B14F-4D97-AF65-F5344CB8AC3E}">
        <p14:creationId xmlns:p14="http://schemas.microsoft.com/office/powerpoint/2010/main" val="110116840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6F6A82A-717A-4945-BB23-54878D6C953F}"/>
              </a:ext>
            </a:extLst>
          </p:cNvPr>
          <p:cNvGraphicFramePr>
            <a:graphicFrameLocks noChangeAspect="1"/>
          </p:cNvGraphicFramePr>
          <p:nvPr userDrawn="1">
            <p:custDataLst>
              <p:tags r:id="rId2"/>
            </p:custDataLst>
            <p:extLst>
              <p:ext uri="{D42A27DB-BD31-4B8C-83A1-F6EECF244321}">
                <p14:modId xmlns:p14="http://schemas.microsoft.com/office/powerpoint/2010/main" val="23047074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25" name="Diapositive think-cell" r:id="rId4" imgW="286" imgH="286" progId="TCLayout.ActiveDocument.1">
                  <p:embed/>
                </p:oleObj>
              </mc:Choice>
              <mc:Fallback>
                <p:oleObj name="Diapositive think-cell" r:id="rId4" imgW="286" imgH="286" progId="TCLayout.ActiveDocument.1">
                  <p:embed/>
                  <p:pic>
                    <p:nvPicPr>
                      <p:cNvPr id="3" name="Object 2" hidden="1">
                        <a:extLst>
                          <a:ext uri="{FF2B5EF4-FFF2-40B4-BE49-F238E27FC236}">
                            <a16:creationId xmlns:a16="http://schemas.microsoft.com/office/drawing/2014/main" id="{D6F6A82A-717A-4945-BB23-54878D6C953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8" name="Title 7"/>
          <p:cNvSpPr>
            <a:spLocks noGrp="1"/>
          </p:cNvSpPr>
          <p:nvPr>
            <p:ph type="title" hasCustomPrompt="1"/>
          </p:nvPr>
        </p:nvSpPr>
        <p:spPr>
          <a:xfrm>
            <a:off x="630000" y="622800"/>
            <a:ext cx="10933350" cy="400751"/>
          </a:xfrm>
          <a:prstGeom prst="rect">
            <a:avLst/>
          </a:prstGeom>
        </p:spPr>
        <p:txBody>
          <a:bodyPr vert="horz" wrap="square" lIns="0" tIns="0" rIns="0" bIns="0" anchor="b" anchorCtr="0">
            <a:noAutofit/>
          </a:bodyPr>
          <a:lstStyle>
            <a:lvl1pPr>
              <a:defRPr>
                <a:latin typeface="+mj-lt"/>
                <a:ea typeface="+mj-ea"/>
                <a:cs typeface="+mj-cs"/>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3F5EC6C-0240-43BD-A3CA-B94B33427FDB}"/>
              </a:ext>
            </a:extLst>
          </p:cNvPr>
          <p:cNvGraphicFramePr>
            <a:graphicFrameLocks noChangeAspect="1"/>
          </p:cNvGraphicFramePr>
          <p:nvPr userDrawn="1">
            <p:custDataLst>
              <p:tags r:id="rId2"/>
            </p:custDataLst>
            <p:extLst>
              <p:ext uri="{D42A27DB-BD31-4B8C-83A1-F6EECF244321}">
                <p14:modId xmlns:p14="http://schemas.microsoft.com/office/powerpoint/2010/main" val="19015465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449" name="Diapositive think-cell" r:id="rId4" imgW="286" imgH="286" progId="TCLayout.ActiveDocument.1">
                  <p:embed/>
                </p:oleObj>
              </mc:Choice>
              <mc:Fallback>
                <p:oleObj name="Diapositive think-cell" r:id="rId4" imgW="286" imgH="286" progId="TCLayout.ActiveDocument.1">
                  <p:embed/>
                  <p:pic>
                    <p:nvPicPr>
                      <p:cNvPr id="5" name="Object 4" hidden="1">
                        <a:extLst>
                          <a:ext uri="{FF2B5EF4-FFF2-40B4-BE49-F238E27FC236}">
                            <a16:creationId xmlns:a16="http://schemas.microsoft.com/office/drawing/2014/main" id="{F3F5EC6C-0240-43BD-A3CA-B94B33427FD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a:xfrm>
            <a:off x="630000" y="622800"/>
            <a:ext cx="10933350" cy="400751"/>
          </a:xfrm>
          <a:prstGeom prst="rect">
            <a:avLst/>
          </a:prstGeom>
        </p:spPr>
        <p:txBody>
          <a:bodyPr vert="horz" wrap="square" lIns="0" tIns="0" rIns="0" bIns="0" anchor="b" anchorCtr="0">
            <a:noAutofit/>
          </a:bodyPr>
          <a:lstStyle>
            <a:lvl1pPr>
              <a:defRPr>
                <a:latin typeface="+mj-lt"/>
                <a:ea typeface="+mj-ea"/>
                <a:cs typeface="+mj-cs"/>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atin typeface="+mn-lt"/>
                <a:ea typeface="+mn-ea"/>
                <a:cs typeface="+mn-cs"/>
              </a:defRPr>
            </a:lvl1pPr>
            <a:lvl2pPr>
              <a:lnSpc>
                <a:spcPct val="100000"/>
              </a:lnSpc>
              <a:spcBef>
                <a:spcPts val="0"/>
              </a:spcBef>
              <a:spcAft>
                <a:spcPts val="0"/>
              </a:spcAft>
              <a:defRPr>
                <a:latin typeface="+mn-lt"/>
                <a:ea typeface="+mn-ea"/>
                <a:cs typeface="+mn-cs"/>
              </a:defRPr>
            </a:lvl2pPr>
            <a:lvl3pPr>
              <a:lnSpc>
                <a:spcPct val="100000"/>
              </a:lnSpc>
              <a:spcBef>
                <a:spcPts val="0"/>
              </a:spcBef>
              <a:spcAft>
                <a:spcPts val="0"/>
              </a:spcAft>
              <a:defRPr>
                <a:latin typeface="+mn-lt"/>
                <a:ea typeface="+mn-ea"/>
                <a:cs typeface="+mn-cs"/>
              </a:defRPr>
            </a:lvl3pPr>
            <a:lvl4pPr>
              <a:lnSpc>
                <a:spcPct val="100000"/>
              </a:lnSpc>
              <a:spcBef>
                <a:spcPts val="0"/>
              </a:spcBef>
              <a:spcAft>
                <a:spcPts val="0"/>
              </a:spcAft>
              <a:defRPr>
                <a:latin typeface="+mn-lt"/>
                <a:ea typeface="+mn-ea"/>
                <a:cs typeface="+mn-cs"/>
              </a:defRPr>
            </a:lvl4pPr>
            <a:lvl5pPr>
              <a:lnSpc>
                <a:spcPct val="100000"/>
              </a:lnSpc>
              <a:spcBef>
                <a:spcPts val="0"/>
              </a:spcBef>
              <a:spcAft>
                <a:spcPts val="0"/>
              </a:spcAft>
              <a:defRPr>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E7F9216-34A7-4F1B-A164-645DC9D5FCEA}"/>
              </a:ext>
            </a:extLst>
          </p:cNvPr>
          <p:cNvGraphicFramePr>
            <a:graphicFrameLocks noChangeAspect="1"/>
          </p:cNvGraphicFramePr>
          <p:nvPr userDrawn="1">
            <p:custDataLst>
              <p:tags r:id="rId2"/>
            </p:custDataLst>
            <p:extLst>
              <p:ext uri="{D42A27DB-BD31-4B8C-83A1-F6EECF244321}">
                <p14:modId xmlns:p14="http://schemas.microsoft.com/office/powerpoint/2010/main" val="29391455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473" name="Diapositive think-cell" r:id="rId4" imgW="286" imgH="286" progId="TCLayout.ActiveDocument.1">
                  <p:embed/>
                </p:oleObj>
              </mc:Choice>
              <mc:Fallback>
                <p:oleObj name="Diapositive think-cell" r:id="rId4" imgW="286" imgH="286" progId="TCLayout.ActiveDocument.1">
                  <p:embed/>
                  <p:pic>
                    <p:nvPicPr>
                      <p:cNvPr id="3" name="Object 2" hidden="1">
                        <a:extLst>
                          <a:ext uri="{FF2B5EF4-FFF2-40B4-BE49-F238E27FC236}">
                            <a16:creationId xmlns:a16="http://schemas.microsoft.com/office/drawing/2014/main" id="{4E7F9216-34A7-4F1B-A164-645DC9D5FCE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14"/>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rgbClr val="21BF61"/>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630000" y="1227048"/>
            <a:ext cx="3744000" cy="664797"/>
          </a:xfrm>
        </p:spPr>
        <p:txBody>
          <a:bodyPr vert="horz" anchor="t">
            <a:noAutofit/>
          </a:bodyPr>
          <a:lstStyle>
            <a:lvl1pPr>
              <a:defRPr sz="2400">
                <a:solidFill>
                  <a:srgbClr val="21BF61"/>
                </a:solidFill>
                <a:latin typeface="+mj-lt"/>
                <a:ea typeface="+mj-ea"/>
                <a:cs typeface="+mj-cs"/>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B1B4FB1-7995-4DFF-854B-3DBBF0C174F2}"/>
              </a:ext>
            </a:extLst>
          </p:cNvPr>
          <p:cNvGraphicFramePr>
            <a:graphicFrameLocks noChangeAspect="1"/>
          </p:cNvGraphicFramePr>
          <p:nvPr userDrawn="1">
            <p:custDataLst>
              <p:tags r:id="rId2"/>
            </p:custDataLst>
            <p:extLst>
              <p:ext uri="{D42A27DB-BD31-4B8C-83A1-F6EECF244321}">
                <p14:modId xmlns:p14="http://schemas.microsoft.com/office/powerpoint/2010/main" val="41360444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497" name="Diapositive think-cell" r:id="rId4" imgW="286" imgH="286" progId="TCLayout.ActiveDocument.1">
                  <p:embed/>
                </p:oleObj>
              </mc:Choice>
              <mc:Fallback>
                <p:oleObj name="Diapositive think-cell" r:id="rId4" imgW="286" imgH="286" progId="TCLayout.ActiveDocument.1">
                  <p:embed/>
                  <p:pic>
                    <p:nvPicPr>
                      <p:cNvPr id="3" name="Object 2" hidden="1">
                        <a:extLst>
                          <a:ext uri="{FF2B5EF4-FFF2-40B4-BE49-F238E27FC236}">
                            <a16:creationId xmlns:a16="http://schemas.microsoft.com/office/drawing/2014/main" id="{BB1B4FB1-7995-4DFF-854B-3DBBF0C174F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21BF61"/>
                </a:solidFill>
                <a:latin typeface="+mj-lt"/>
                <a:ea typeface="+mj-ea"/>
                <a:cs typeface="+mj-cs"/>
                <a:sym typeface="Trebuchet MS" panose="020B0603020202020204" pitchFamily="34" charset="0"/>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rgbClr val="21BF6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rgbClr val="FFFFFF"/>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819F2C-7D30-42F4-BDF1-9D551A225007}"/>
              </a:ext>
            </a:extLst>
          </p:cNvPr>
          <p:cNvGraphicFramePr>
            <a:graphicFrameLocks noChangeAspect="1"/>
          </p:cNvGraphicFramePr>
          <p:nvPr userDrawn="1">
            <p:custDataLst>
              <p:tags r:id="rId2"/>
            </p:custDataLst>
            <p:extLst>
              <p:ext uri="{D42A27DB-BD31-4B8C-83A1-F6EECF244321}">
                <p14:modId xmlns:p14="http://schemas.microsoft.com/office/powerpoint/2010/main" val="9090161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521" name="Diapositive think-cell" r:id="rId4" imgW="286" imgH="286" progId="TCLayout.ActiveDocument.1">
                  <p:embed/>
                </p:oleObj>
              </mc:Choice>
              <mc:Fallback>
                <p:oleObj name="Diapositive think-cell" r:id="rId4" imgW="286" imgH="286" progId="TCLayout.ActiveDocument.1">
                  <p:embed/>
                  <p:pic>
                    <p:nvPicPr>
                      <p:cNvPr id="3" name="Object 2" hidden="1">
                        <a:extLst>
                          <a:ext uri="{FF2B5EF4-FFF2-40B4-BE49-F238E27FC236}">
                            <a16:creationId xmlns:a16="http://schemas.microsoft.com/office/drawing/2014/main" id="{C3819F2C-7D30-42F4-BDF1-9D551A2250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rgbClr val="21BF61"/>
                </a:solidFill>
                <a:latin typeface="+mj-lt"/>
                <a:ea typeface="+mj-ea"/>
                <a:cs typeface="+mj-cs"/>
                <a:sym typeface="Trebuchet MS" panose="020B0603020202020204" pitchFamily="34" charset="0"/>
              </a:defRPr>
            </a:lvl1pPr>
          </a:lstStyle>
          <a:p>
            <a:r>
              <a:rPr lang="en-US"/>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rgbClr val="21BF6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solidFill>
          <a:srgbClr val="EDEDED"/>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BE33E8A-2B34-4F5E-BF5B-2034D50008F2}"/>
              </a:ext>
            </a:extLst>
          </p:cNvPr>
          <p:cNvGraphicFramePr>
            <a:graphicFrameLocks noChangeAspect="1"/>
          </p:cNvGraphicFramePr>
          <p:nvPr userDrawn="1">
            <p:custDataLst>
              <p:tags r:id="rId3"/>
            </p:custDataLst>
            <p:extLst>
              <p:ext uri="{D42A27DB-BD31-4B8C-83A1-F6EECF244321}">
                <p14:modId xmlns:p14="http://schemas.microsoft.com/office/powerpoint/2010/main" val="20312034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545" name="Diapositive think-cell" r:id="rId5" imgW="286" imgH="286" progId="TCLayout.ActiveDocument.1">
                  <p:embed/>
                </p:oleObj>
              </mc:Choice>
              <mc:Fallback>
                <p:oleObj name="Diapositive think-cell" r:id="rId5" imgW="286" imgH="286" progId="TCLayout.ActiveDocument.1">
                  <p:embed/>
                  <p:pic>
                    <p:nvPicPr>
                      <p:cNvPr id="3" name="Object 2" hidden="1">
                        <a:extLst>
                          <a:ext uri="{FF2B5EF4-FFF2-40B4-BE49-F238E27FC236}">
                            <a16:creationId xmlns:a16="http://schemas.microsoft.com/office/drawing/2014/main" id="{FBE33E8A-2B34-4F5E-BF5B-2034D50008F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20" name="TextBox 19"/>
          <p:cNvSpPr txBox="1"/>
          <p:nvPr userDrawn="1"/>
        </p:nvSpPr>
        <p:spPr>
          <a:xfrm>
            <a:off x="11167872" y="6405037"/>
            <a:ext cx="381000" cy="153888"/>
          </a:xfrm>
          <a:prstGeom prst="rect">
            <a:avLst/>
          </a:prstGeom>
          <a:noFill/>
        </p:spPr>
        <p:txBody>
          <a:bodyPr vert="horz" wrap="square" lIns="0" tIns="0" rIns="0" bIns="0" rtlCol="0" anchor="b" anchorCtr="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0" smtClean="0">
                <a:solidFill>
                  <a:srgbClr val="7F7F7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0">
              <a:solidFill>
                <a:srgbClr val="7F7F7F"/>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24" name="Rectangle 23"/>
          <p:cNvSpPr/>
          <p:nvPr userDrawn="1"/>
        </p:nvSpPr>
        <p:spPr bwMode="white">
          <a:xfrm>
            <a:off x="0" y="0"/>
            <a:ext cx="4079508"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rgbClr val="21BF61"/>
                </a:solidFill>
                <a:latin typeface="+mj-lt"/>
                <a:ea typeface="+mj-ea"/>
                <a:cs typeface="+mj-cs"/>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25223664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solidFill>
          <a:srgbClr val="EDEDED"/>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815CE20-3266-4922-9FF7-1C2BB2346087}"/>
              </a:ext>
            </a:extLst>
          </p:cNvPr>
          <p:cNvGraphicFramePr>
            <a:graphicFrameLocks noChangeAspect="1"/>
          </p:cNvGraphicFramePr>
          <p:nvPr userDrawn="1">
            <p:custDataLst>
              <p:tags r:id="rId3"/>
            </p:custDataLst>
            <p:extLst>
              <p:ext uri="{D42A27DB-BD31-4B8C-83A1-F6EECF244321}">
                <p14:modId xmlns:p14="http://schemas.microsoft.com/office/powerpoint/2010/main" val="3796833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569" name="Diapositive think-cell" r:id="rId5" imgW="286" imgH="286" progId="TCLayout.ActiveDocument.1">
                  <p:embed/>
                </p:oleObj>
              </mc:Choice>
              <mc:Fallback>
                <p:oleObj name="Diapositive think-cell" r:id="rId5" imgW="286" imgH="286" progId="TCLayout.ActiveDocument.1">
                  <p:embed/>
                  <p:pic>
                    <p:nvPicPr>
                      <p:cNvPr id="4" name="Object 3" hidden="1">
                        <a:extLst>
                          <a:ext uri="{FF2B5EF4-FFF2-40B4-BE49-F238E27FC236}">
                            <a16:creationId xmlns:a16="http://schemas.microsoft.com/office/drawing/2014/main" id="{5815CE20-3266-4922-9FF7-1C2BB23460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19" name="TextBox 18"/>
          <p:cNvSpPr txBox="1"/>
          <p:nvPr userDrawn="1"/>
        </p:nvSpPr>
        <p:spPr>
          <a:xfrm>
            <a:off x="11167872" y="6405037"/>
            <a:ext cx="381000" cy="153888"/>
          </a:xfrm>
          <a:prstGeom prst="rect">
            <a:avLst/>
          </a:prstGeom>
          <a:noFill/>
        </p:spPr>
        <p:txBody>
          <a:bodyPr vert="horz" wrap="square" lIns="0" tIns="0" rIns="0" bIns="0" rtlCol="0" anchor="b" anchorCtr="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0" smtClean="0">
                <a:solidFill>
                  <a:srgbClr val="7F7F7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0">
              <a:solidFill>
                <a:srgbClr val="7F7F7F"/>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2" name="Title 1"/>
          <p:cNvSpPr>
            <a:spLocks noGrp="1"/>
          </p:cNvSpPr>
          <p:nvPr>
            <p:ph type="title" hasCustomPrompt="1"/>
          </p:nvPr>
        </p:nvSpPr>
        <p:spPr>
          <a:xfrm>
            <a:off x="630000" y="622800"/>
            <a:ext cx="6276529" cy="400751"/>
          </a:xfrm>
          <a:prstGeom prst="rect">
            <a:avLst/>
          </a:prstGeom>
        </p:spPr>
        <p:txBody>
          <a:bodyPr vert="horz" wrap="square" lIns="0" tIns="0" rIns="0" bIns="0" anchor="b" anchorCtr="0">
            <a:noAutofit/>
          </a:bodyPr>
          <a:lstStyle>
            <a:lvl1pPr>
              <a:defRPr>
                <a:latin typeface="+mj-lt"/>
                <a:ea typeface="+mj-ea"/>
                <a:cs typeface="+mj-cs"/>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34829456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solidFill>
          <a:srgbClr val="EDEDED"/>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B197EF9-3016-4F8E-9A84-460A12425E83}"/>
              </a:ext>
            </a:extLst>
          </p:cNvPr>
          <p:cNvGraphicFramePr>
            <a:graphicFrameLocks noChangeAspect="1"/>
          </p:cNvGraphicFramePr>
          <p:nvPr userDrawn="1">
            <p:custDataLst>
              <p:tags r:id="rId3"/>
            </p:custDataLst>
            <p:extLst>
              <p:ext uri="{D42A27DB-BD31-4B8C-83A1-F6EECF244321}">
                <p14:modId xmlns:p14="http://schemas.microsoft.com/office/powerpoint/2010/main" val="32144421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0593" name="Diapositive think-cell" r:id="rId5" imgW="286" imgH="286" progId="TCLayout.ActiveDocument.1">
                  <p:embed/>
                </p:oleObj>
              </mc:Choice>
              <mc:Fallback>
                <p:oleObj name="Diapositive think-cell" r:id="rId5" imgW="286" imgH="286" progId="TCLayout.ActiveDocument.1">
                  <p:embed/>
                  <p:pic>
                    <p:nvPicPr>
                      <p:cNvPr id="4" name="Object 3" hidden="1">
                        <a:extLst>
                          <a:ext uri="{FF2B5EF4-FFF2-40B4-BE49-F238E27FC236}">
                            <a16:creationId xmlns:a16="http://schemas.microsoft.com/office/drawing/2014/main" id="{4B197EF9-3016-4F8E-9A84-460A12425E8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5" name="TextBox 14"/>
          <p:cNvSpPr txBox="1"/>
          <p:nvPr userDrawn="1"/>
        </p:nvSpPr>
        <p:spPr>
          <a:xfrm>
            <a:off x="11167872" y="6405037"/>
            <a:ext cx="381000" cy="153888"/>
          </a:xfrm>
          <a:prstGeom prst="rect">
            <a:avLst/>
          </a:prstGeom>
          <a:noFill/>
        </p:spPr>
        <p:txBody>
          <a:bodyPr vert="horz" wrap="square" lIns="0" tIns="0" rIns="0" bIns="0" rtlCol="0" anchor="b" anchorCtr="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0" smtClean="0">
                <a:solidFill>
                  <a:srgbClr val="7F7F7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0">
              <a:solidFill>
                <a:srgbClr val="7F7F7F"/>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400751"/>
          </a:xfrm>
          <a:prstGeom prst="rect">
            <a:avLst/>
          </a:prstGeom>
        </p:spPr>
        <p:txBody>
          <a:bodyPr vert="horz" wrap="square" lIns="0" tIns="0" rIns="0" bIns="0" anchor="b" anchorCtr="0">
            <a:noAutofit/>
          </a:bodyPr>
          <a:lstStyle>
            <a:lvl1pPr>
              <a:defRPr>
                <a:latin typeface="+mj-lt"/>
                <a:ea typeface="+mj-ea"/>
                <a:cs typeface="+mj-cs"/>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37939225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solidFill>
          <a:srgbClr val="EDEDED"/>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69AEB61-B9B6-4292-81FB-67CC880216AE}"/>
              </a:ext>
            </a:extLst>
          </p:cNvPr>
          <p:cNvGraphicFramePr>
            <a:graphicFrameLocks noChangeAspect="1"/>
          </p:cNvGraphicFramePr>
          <p:nvPr userDrawn="1">
            <p:custDataLst>
              <p:tags r:id="rId3"/>
            </p:custDataLst>
            <p:extLst>
              <p:ext uri="{D42A27DB-BD31-4B8C-83A1-F6EECF244321}">
                <p14:modId xmlns:p14="http://schemas.microsoft.com/office/powerpoint/2010/main" val="5827502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1617" name="Diapositive think-cell" r:id="rId5" imgW="286" imgH="286" progId="TCLayout.ActiveDocument.1">
                  <p:embed/>
                </p:oleObj>
              </mc:Choice>
              <mc:Fallback>
                <p:oleObj name="Diapositive think-cell" r:id="rId5" imgW="286" imgH="286" progId="TCLayout.ActiveDocument.1">
                  <p:embed/>
                  <p:pic>
                    <p:nvPicPr>
                      <p:cNvPr id="3" name="Object 2" hidden="1">
                        <a:extLst>
                          <a:ext uri="{FF2B5EF4-FFF2-40B4-BE49-F238E27FC236}">
                            <a16:creationId xmlns:a16="http://schemas.microsoft.com/office/drawing/2014/main" id="{469AEB61-B9B6-4292-81FB-67CC880216A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rgbClr val="21BF61"/>
                </a:solidFill>
                <a:latin typeface="+mj-lt"/>
                <a:ea typeface="+mj-ea"/>
                <a:cs typeface="+mj-cs"/>
                <a:sym typeface="Trebuchet MS" panose="020B0603020202020204" pitchFamily="34" charset="0"/>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28" name="TextBox 27"/>
          <p:cNvSpPr txBox="1"/>
          <p:nvPr userDrawn="1"/>
        </p:nvSpPr>
        <p:spPr>
          <a:xfrm>
            <a:off x="11167872" y="6405037"/>
            <a:ext cx="381000" cy="153888"/>
          </a:xfrm>
          <a:prstGeom prst="rect">
            <a:avLst/>
          </a:prstGeom>
          <a:noFill/>
        </p:spPr>
        <p:txBody>
          <a:bodyPr vert="horz" wrap="square" lIns="0" tIns="0" rIns="0" bIns="0" rtlCol="0" anchor="b" anchorCtr="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0" smtClean="0">
                <a:solidFill>
                  <a:srgbClr val="7F7F7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0">
              <a:solidFill>
                <a:srgbClr val="7F7F7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604520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solidFill>
          <a:srgbClr val="EDEDED"/>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8E49B44-7787-4C20-800B-C236D4A07CEC}"/>
              </a:ext>
            </a:extLst>
          </p:cNvPr>
          <p:cNvGraphicFramePr>
            <a:graphicFrameLocks noChangeAspect="1"/>
          </p:cNvGraphicFramePr>
          <p:nvPr userDrawn="1">
            <p:custDataLst>
              <p:tags r:id="rId3"/>
            </p:custDataLst>
            <p:extLst>
              <p:ext uri="{D42A27DB-BD31-4B8C-83A1-F6EECF244321}">
                <p14:modId xmlns:p14="http://schemas.microsoft.com/office/powerpoint/2010/main" val="33405930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41" name="Diapositive think-cell" r:id="rId5" imgW="286" imgH="286" progId="TCLayout.ActiveDocument.1">
                  <p:embed/>
                </p:oleObj>
              </mc:Choice>
              <mc:Fallback>
                <p:oleObj name="Diapositive think-cell" r:id="rId5" imgW="286" imgH="286" progId="TCLayout.ActiveDocument.1">
                  <p:embed/>
                  <p:pic>
                    <p:nvPicPr>
                      <p:cNvPr id="3" name="Object 2" hidden="1">
                        <a:extLst>
                          <a:ext uri="{FF2B5EF4-FFF2-40B4-BE49-F238E27FC236}">
                            <a16:creationId xmlns:a16="http://schemas.microsoft.com/office/drawing/2014/main" id="{C8E49B44-7787-4C20-800B-C236D4A07CE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vert="horz" wrap="square" lIns="0" tIns="0" rIns="320040" bIns="0" anchor="ctr">
            <a:noAutofit/>
          </a:bodyPr>
          <a:lstStyle>
            <a:lvl1pPr>
              <a:defRPr sz="4400">
                <a:solidFill>
                  <a:srgbClr val="21BF61"/>
                </a:solidFill>
                <a:latin typeface="+mj-lt"/>
                <a:ea typeface="+mj-ea"/>
                <a:cs typeface="+mj-cs"/>
                <a:sym typeface="Trebuchet MS" panose="020B0603020202020204" pitchFamily="34" charset="0"/>
              </a:defRPr>
            </a:lvl1pPr>
          </a:lstStyle>
          <a:p>
            <a:r>
              <a:rPr lang="en-US"/>
              <a:t>Click to add title</a:t>
            </a:r>
          </a:p>
        </p:txBody>
      </p:sp>
      <p:sp>
        <p:nvSpPr>
          <p:cNvPr id="14" name="TextBox 13"/>
          <p:cNvSpPr txBox="1"/>
          <p:nvPr userDrawn="1"/>
        </p:nvSpPr>
        <p:spPr>
          <a:xfrm>
            <a:off x="11167872" y="6405037"/>
            <a:ext cx="381000" cy="153888"/>
          </a:xfrm>
          <a:prstGeom prst="rect">
            <a:avLst/>
          </a:prstGeom>
          <a:noFill/>
        </p:spPr>
        <p:txBody>
          <a:bodyPr vert="horz" wrap="square" lIns="0" tIns="0" rIns="0" bIns="0" rtlCol="0" anchor="b" anchorCtr="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0" smtClean="0">
                <a:solidFill>
                  <a:srgbClr val="7F7F7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0">
              <a:solidFill>
                <a:srgbClr val="7F7F7F"/>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19301659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Beyond layout 10">
    <p:bg bwMode="grayWhite">
      <p:bgPr>
        <a:solidFill>
          <a:srgbClr val="EDEDED"/>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89" name="Diapositive think-cell" r:id="rId5" imgW="352" imgH="355" progId="TCLayout.ActiveDocument.1">
                  <p:embed/>
                </p:oleObj>
              </mc:Choice>
              <mc:Fallback>
                <p:oleObj name="Diapositive think-cell"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4400">
              <a:solidFill>
                <a:srgbClr val="FFFFFF"/>
              </a:solidFill>
              <a:latin typeface="Henderson BCG Sans" panose="020B0502030402020204" pitchFamily="34" charset="0"/>
              <a:sym typeface="Henderson BCG Sans" panose="020B0502030402020204" pitchFamily="34" charset="0"/>
            </a:endParaRPr>
          </a:p>
        </p:txBody>
      </p:sp>
      <p:sp>
        <p:nvSpPr>
          <p:cNvPr id="13" name="Picture Placeholder 18"/>
          <p:cNvSpPr>
            <a:spLocks noGrp="1"/>
          </p:cNvSpPr>
          <p:nvPr>
            <p:ph type="pic" sz="quarter" idx="14" hasCustomPrompt="1"/>
          </p:nvPr>
        </p:nvSpPr>
        <p:spPr>
          <a:xfrm>
            <a:off x="41563" y="0"/>
            <a:ext cx="4041922" cy="6858000"/>
          </a:xfrm>
          <a:prstGeom prst="rect">
            <a:avLst/>
          </a:prstGeom>
          <a:noFill/>
        </p:spPr>
        <p:txBody>
          <a:bodyPr lIns="914400" tIns="914400" rIns="914400" bIns="914400"/>
          <a:lstStyle>
            <a:lvl1pPr algn="ctr">
              <a:defRPr sz="1800" kern="0" baseline="0">
                <a:latin typeface="+mn-lt"/>
                <a:ea typeface="+mn-ea"/>
                <a:cs typeface="+mn-cs"/>
                <a:sym typeface="+mn-lt"/>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4633963" y="622800"/>
            <a:ext cx="4884109" cy="443198"/>
          </a:xfrm>
          <a:prstGeom prst="rect">
            <a:avLst/>
          </a:prstGeom>
          <a:noFill/>
        </p:spPr>
        <p:txBody>
          <a:bodyPr vert="horz" wrap="square" lIns="0" tIns="0" rIns="320040" bIns="0" anchor="ctr" anchorCtr="0">
            <a:noAutofit/>
          </a:bodyPr>
          <a:lstStyle>
            <a:lvl1pPr>
              <a:lnSpc>
                <a:spcPct val="90000"/>
              </a:lnSpc>
              <a:defRPr sz="3200" kern="0">
                <a:solidFill>
                  <a:srgbClr val="21BF61"/>
                </a:solidFill>
                <a:latin typeface="+mj-lt"/>
                <a:ea typeface="+mj-ea"/>
                <a:cs typeface="+mj-cs"/>
                <a:sym typeface="+mj-lt"/>
              </a:defRPr>
            </a:lvl1pPr>
          </a:lstStyle>
          <a:p>
            <a:r>
              <a:rPr lang="en-US"/>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kern="0" smtClean="0">
                <a:solidFill>
                  <a:prstClr val="white">
                    <a:lumMod val="50000"/>
                  </a:prstClr>
                </a:solidFill>
                <a:sym typeface="+mn-lt"/>
              </a:rPr>
              <a:pPr algn="r">
                <a:defRPr/>
              </a:pPr>
              <a:t>‹#›</a:t>
            </a:fld>
            <a:endParaRPr lang="en-US" sz="800" kern="0">
              <a:solidFill>
                <a:prstClr val="white">
                  <a:lumMod val="50000"/>
                </a:prstClr>
              </a:solidFill>
              <a:sym typeface="+mn-lt"/>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kern="0">
                <a:solidFill>
                  <a:schemeClr val="bg1">
                    <a:lumMod val="50000"/>
                  </a:schemeClr>
                </a:solidFill>
                <a:latin typeface="+mn-lt"/>
                <a:ea typeface="+mn-ea"/>
                <a:cs typeface="+mn-cs"/>
                <a:sym typeface="+mn-lt"/>
              </a:defRPr>
            </a:lvl1pPr>
          </a:lstStyle>
          <a:p>
            <a:endParaRPr lang="en-US">
              <a:solidFill>
                <a:prstClr val="white">
                  <a:lumMod val="50000"/>
                </a:prstClr>
              </a:solidFill>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mn-lt"/>
              </a:rPr>
              <a:t>Copyright © 2022 by Boston Consulting Group. All rights reserved.</a:t>
            </a:r>
          </a:p>
        </p:txBody>
      </p:sp>
      <p:pic>
        <p:nvPicPr>
          <p:cNvPr id="18" name="Picture 17">
            <a:extLst>
              <a:ext uri="{FF2B5EF4-FFF2-40B4-BE49-F238E27FC236}">
                <a16:creationId xmlns:a16="http://schemas.microsoft.com/office/drawing/2014/main" id="{C1D5DAB2-551D-4C3B-90EE-723E61D253DE}"/>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bwMode="ltGray">
          <a:xfrm flipH="1">
            <a:off x="3666534" y="0"/>
            <a:ext cx="416951" cy="6858000"/>
          </a:xfrm>
          <a:prstGeom prst="rect">
            <a:avLst/>
          </a:prstGeom>
        </p:spPr>
      </p:pic>
    </p:spTree>
    <p:extLst>
      <p:ext uri="{BB962C8B-B14F-4D97-AF65-F5344CB8AC3E}">
        <p14:creationId xmlns:p14="http://schemas.microsoft.com/office/powerpoint/2010/main" val="47427122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solidFill>
          <a:srgbClr val="EDEDED"/>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3B9526F-8868-4BA1-AD04-8868AC9729EF}"/>
              </a:ext>
            </a:extLst>
          </p:cNvPr>
          <p:cNvGraphicFramePr>
            <a:graphicFrameLocks noChangeAspect="1"/>
          </p:cNvGraphicFramePr>
          <p:nvPr userDrawn="1">
            <p:custDataLst>
              <p:tags r:id="rId3"/>
            </p:custDataLst>
            <p:extLst>
              <p:ext uri="{D42A27DB-BD31-4B8C-83A1-F6EECF244321}">
                <p14:modId xmlns:p14="http://schemas.microsoft.com/office/powerpoint/2010/main" val="2650981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665" name="Diapositive think-cell" r:id="rId5" imgW="286" imgH="286" progId="TCLayout.ActiveDocument.1">
                  <p:embed/>
                </p:oleObj>
              </mc:Choice>
              <mc:Fallback>
                <p:oleObj name="Diapositive think-cell" r:id="rId5" imgW="286" imgH="286" progId="TCLayout.ActiveDocument.1">
                  <p:embed/>
                  <p:pic>
                    <p:nvPicPr>
                      <p:cNvPr id="3" name="Object 2" hidden="1">
                        <a:extLst>
                          <a:ext uri="{FF2B5EF4-FFF2-40B4-BE49-F238E27FC236}">
                            <a16:creationId xmlns:a16="http://schemas.microsoft.com/office/drawing/2014/main" id="{A3B9526F-8868-4BA1-AD04-8868AC9729E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vert="horz" anchor="ctr">
            <a:noAutofit/>
          </a:bodyPr>
          <a:lstStyle>
            <a:lvl1pPr>
              <a:defRPr sz="4400">
                <a:solidFill>
                  <a:srgbClr val="21BF61"/>
                </a:solidFill>
                <a:latin typeface="+mj-lt"/>
                <a:ea typeface="+mj-ea"/>
                <a:cs typeface="+mj-cs"/>
                <a:sym typeface="Trebuchet MS" panose="020B0603020202020204" pitchFamily="34" charset="0"/>
              </a:defRPr>
            </a:lvl1pPr>
          </a:lstStyle>
          <a:p>
            <a:r>
              <a:rPr lang="en-US"/>
              <a:t>Click to add title</a:t>
            </a:r>
          </a:p>
        </p:txBody>
      </p:sp>
      <p:sp>
        <p:nvSpPr>
          <p:cNvPr id="14" name="TextBox 13"/>
          <p:cNvSpPr txBox="1"/>
          <p:nvPr userDrawn="1"/>
        </p:nvSpPr>
        <p:spPr>
          <a:xfrm>
            <a:off x="11167872" y="6405037"/>
            <a:ext cx="381000" cy="153888"/>
          </a:xfrm>
          <a:prstGeom prst="rect">
            <a:avLst/>
          </a:prstGeom>
          <a:noFill/>
        </p:spPr>
        <p:txBody>
          <a:bodyPr vert="horz" wrap="square" lIns="0" tIns="0" rIns="0" bIns="0" rtlCol="0" anchor="b" anchorCtr="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0" smtClean="0">
                <a:solidFill>
                  <a:srgbClr val="7F7F7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0">
              <a:solidFill>
                <a:srgbClr val="7F7F7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905789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solidFill>
          <a:srgbClr val="EDEDED"/>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10483702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4689" name="Diapositive think-cell" r:id="rId5" imgW="324" imgH="324" progId="TCLayout.ActiveDocument.1">
                  <p:embed/>
                </p:oleObj>
              </mc:Choice>
              <mc:Fallback>
                <p:oleObj name="Diapositive think-cell" r:id="rId5" imgW="324" imgH="32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8" name="TextBox 17"/>
          <p:cNvSpPr txBox="1"/>
          <p:nvPr userDrawn="1"/>
        </p:nvSpPr>
        <p:spPr>
          <a:xfrm>
            <a:off x="11167872" y="6405037"/>
            <a:ext cx="381000" cy="153888"/>
          </a:xfrm>
          <a:prstGeom prst="rect">
            <a:avLst/>
          </a:prstGeom>
          <a:noFill/>
        </p:spPr>
        <p:txBody>
          <a:bodyPr vert="horz" wrap="square" lIns="0" tIns="0" rIns="0" bIns="0" rtlCol="0" anchor="b" anchorCtr="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0" smtClean="0">
                <a:solidFill>
                  <a:srgbClr val="7F7F7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0">
              <a:solidFill>
                <a:srgbClr val="7F7F7F"/>
              </a:solidFill>
              <a:latin typeface="+mn-lt"/>
              <a:ea typeface="+mn-ea"/>
              <a:cs typeface="+mn-cs"/>
              <a:sym typeface="Trebuchet MS" panose="020B0603020202020204" pitchFamily="34" charset="0"/>
            </a:endParaRP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9" name="Title 4">
            <a:extLst>
              <a:ext uri="{FF2B5EF4-FFF2-40B4-BE49-F238E27FC236}">
                <a16:creationId xmlns:a16="http://schemas.microsoft.com/office/drawing/2014/main" id="{9188EACD-0662-475D-B6BC-C3216D48C640}"/>
              </a:ext>
            </a:extLst>
          </p:cNvPr>
          <p:cNvSpPr>
            <a:spLocks noGrp="1"/>
          </p:cNvSpPr>
          <p:nvPr>
            <p:ph type="title" hasCustomPrompt="1"/>
          </p:nvPr>
        </p:nvSpPr>
        <p:spPr>
          <a:xfrm>
            <a:off x="630000" y="2764203"/>
            <a:ext cx="2478638" cy="1314311"/>
          </a:xfrm>
        </p:spPr>
        <p:txBody>
          <a:bodyPr vert="horz" anchor="ctr" anchorCtr="0">
            <a:noAutofit/>
          </a:bodyPr>
          <a:lstStyle>
            <a:lvl1pPr>
              <a:defRPr>
                <a:solidFill>
                  <a:srgbClr val="21BF61"/>
                </a:solidFill>
                <a:latin typeface="+mj-lt"/>
                <a:ea typeface="+mj-ea"/>
                <a:cs typeface="+mj-cs"/>
              </a:defRPr>
            </a:lvl1pPr>
          </a:lstStyle>
          <a:p>
            <a:r>
              <a:rPr lang="en-US"/>
              <a:t>Click to add title</a:t>
            </a:r>
          </a:p>
        </p:txBody>
      </p:sp>
    </p:spTree>
    <p:extLst>
      <p:ext uri="{BB962C8B-B14F-4D97-AF65-F5344CB8AC3E}">
        <p14:creationId xmlns:p14="http://schemas.microsoft.com/office/powerpoint/2010/main" val="2942321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C91D2DE-BB1D-40B5-950F-1880C5912451}"/>
              </a:ext>
            </a:extLst>
          </p:cNvPr>
          <p:cNvGraphicFramePr>
            <a:graphicFrameLocks noChangeAspect="1"/>
          </p:cNvGraphicFramePr>
          <p:nvPr userDrawn="1">
            <p:custDataLst>
              <p:tags r:id="rId2"/>
            </p:custDataLst>
            <p:extLst>
              <p:ext uri="{D42A27DB-BD31-4B8C-83A1-F6EECF244321}">
                <p14:modId xmlns:p14="http://schemas.microsoft.com/office/powerpoint/2010/main" val="16313336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5713" name="Diapositive think-cell" r:id="rId4" imgW="286" imgH="286" progId="TCLayout.ActiveDocument.1">
                  <p:embed/>
                </p:oleObj>
              </mc:Choice>
              <mc:Fallback>
                <p:oleObj name="Diapositive think-cell" r:id="rId4" imgW="286" imgH="286" progId="TCLayout.ActiveDocument.1">
                  <p:embed/>
                  <p:pic>
                    <p:nvPicPr>
                      <p:cNvPr id="3" name="Object 2" hidden="1">
                        <a:extLst>
                          <a:ext uri="{FF2B5EF4-FFF2-40B4-BE49-F238E27FC236}">
                            <a16:creationId xmlns:a16="http://schemas.microsoft.com/office/drawing/2014/main" id="{7C91D2DE-BB1D-40B5-950F-1880C59124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EDEDED"/>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6E6F73"/>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lnSpc>
                <a:spcPct val="90000"/>
              </a:lnSpc>
              <a:spcAft>
                <a:spcPts val="1000"/>
              </a:spcAft>
            </a:pPr>
            <a:endParaRPr lang="en-US" sz="1200">
              <a:solidFill>
                <a:srgbClr val="FFFFFF"/>
              </a:solidFill>
              <a:latin typeface="+mn-lt"/>
              <a:ea typeface="+mn-ea"/>
              <a:cs typeface="+mn-cs"/>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vert="horz" anchor="ctr" anchorCtr="0">
            <a:noAutofit/>
          </a:bodyPr>
          <a:lstStyle>
            <a:lvl1pPr>
              <a:defRPr>
                <a:solidFill>
                  <a:srgbClr val="21BF61"/>
                </a:solidFill>
                <a:latin typeface="+mj-lt"/>
                <a:ea typeface="+mj-ea"/>
                <a:cs typeface="+mj-cs"/>
              </a:defRPr>
            </a:lvl1pPr>
          </a:lstStyle>
          <a:p>
            <a:r>
              <a:rPr lang="en-US"/>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16" name="TextBox 15"/>
          <p:cNvSpPr txBox="1"/>
          <p:nvPr userDrawn="1"/>
        </p:nvSpPr>
        <p:spPr>
          <a:xfrm>
            <a:off x="11167872" y="6405037"/>
            <a:ext cx="381000" cy="153888"/>
          </a:xfrm>
          <a:prstGeom prst="rect">
            <a:avLst/>
          </a:prstGeom>
          <a:noFill/>
        </p:spPr>
        <p:txBody>
          <a:bodyPr vert="horz" wrap="square" lIns="0" tIns="0" rIns="0" bIns="0" rtlCol="0" anchor="b" anchorCtr="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0" smtClean="0">
                <a:solidFill>
                  <a:srgbClr val="7F7F7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0">
              <a:solidFill>
                <a:srgbClr val="7F7F7F"/>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solidFill>
          <a:srgbClr val="EDEDED"/>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D2829CE-C285-4492-97D2-EA2C59DC25DF}"/>
              </a:ext>
            </a:extLst>
          </p:cNvPr>
          <p:cNvGraphicFramePr>
            <a:graphicFrameLocks noChangeAspect="1"/>
          </p:cNvGraphicFramePr>
          <p:nvPr userDrawn="1">
            <p:custDataLst>
              <p:tags r:id="rId3"/>
            </p:custDataLst>
            <p:extLst>
              <p:ext uri="{D42A27DB-BD31-4B8C-83A1-F6EECF244321}">
                <p14:modId xmlns:p14="http://schemas.microsoft.com/office/powerpoint/2010/main" val="19151022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6737" name="Diapositive think-cell" r:id="rId5" imgW="286" imgH="286" progId="TCLayout.ActiveDocument.1">
                  <p:embed/>
                </p:oleObj>
              </mc:Choice>
              <mc:Fallback>
                <p:oleObj name="Diapositive think-cell" r:id="rId5" imgW="286" imgH="286" progId="TCLayout.ActiveDocument.1">
                  <p:embed/>
                  <p:pic>
                    <p:nvPicPr>
                      <p:cNvPr id="3" name="Object 2" hidden="1">
                        <a:extLst>
                          <a:ext uri="{FF2B5EF4-FFF2-40B4-BE49-F238E27FC236}">
                            <a16:creationId xmlns:a16="http://schemas.microsoft.com/office/drawing/2014/main" id="{1D2829CE-C285-4492-97D2-EA2C59DC25D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TextBox 8"/>
          <p:cNvSpPr txBox="1"/>
          <p:nvPr userDrawn="1"/>
        </p:nvSpPr>
        <p:spPr>
          <a:xfrm>
            <a:off x="11167872" y="6405037"/>
            <a:ext cx="381000" cy="153888"/>
          </a:xfrm>
          <a:prstGeom prst="rect">
            <a:avLst/>
          </a:prstGeom>
          <a:noFill/>
        </p:spPr>
        <p:txBody>
          <a:bodyPr vert="horz" wrap="square" lIns="0" tIns="0" rIns="0" bIns="0" rtlCol="0" anchor="b" anchorCtr="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0" smtClean="0">
                <a:solidFill>
                  <a:srgbClr val="7F7F7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0">
              <a:solidFill>
                <a:srgbClr val="7F7F7F"/>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21BF61"/>
                </a:solidFill>
                <a:latin typeface="+mj-lt"/>
                <a:ea typeface="+mj-ea"/>
                <a:cs typeface="+mj-cs"/>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8D4EDC2-EE2D-4200-8A52-DDFA83D576BC}"/>
              </a:ext>
            </a:extLst>
          </p:cNvPr>
          <p:cNvGraphicFramePr>
            <a:graphicFrameLocks noChangeAspect="1"/>
          </p:cNvGraphicFramePr>
          <p:nvPr userDrawn="1">
            <p:custDataLst>
              <p:tags r:id="rId2"/>
            </p:custDataLst>
            <p:extLst>
              <p:ext uri="{D42A27DB-BD31-4B8C-83A1-F6EECF244321}">
                <p14:modId xmlns:p14="http://schemas.microsoft.com/office/powerpoint/2010/main" val="18200005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7761" name="Diapositive think-cell" r:id="rId4" imgW="286" imgH="286" progId="TCLayout.ActiveDocument.1">
                  <p:embed/>
                </p:oleObj>
              </mc:Choice>
              <mc:Fallback>
                <p:oleObj name="Diapositive think-cell" r:id="rId4" imgW="286" imgH="286" progId="TCLayout.ActiveDocument.1">
                  <p:embed/>
                  <p:pic>
                    <p:nvPicPr>
                      <p:cNvPr id="3" name="Object 2" hidden="1">
                        <a:extLst>
                          <a:ext uri="{FF2B5EF4-FFF2-40B4-BE49-F238E27FC236}">
                            <a16:creationId xmlns:a16="http://schemas.microsoft.com/office/drawing/2014/main" id="{88D4EDC2-EE2D-4200-8A52-DDFA83D576B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solidFill>
            <a:srgbClr val="EDEDED"/>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6E6F73"/>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lnSpc>
                <a:spcPct val="90000"/>
              </a:lnSpc>
              <a:spcAft>
                <a:spcPts val="1000"/>
              </a:spcAft>
            </a:pPr>
            <a:endParaRPr lang="en-US" sz="1200">
              <a:solidFill>
                <a:srgbClr val="FFFFFF"/>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21BF61"/>
                </a:solidFill>
                <a:latin typeface="+mj-lt"/>
                <a:ea typeface="+mj-ea"/>
                <a:cs typeface="+mj-cs"/>
                <a:sym typeface="Trebuchet MS" panose="020B0603020202020204" pitchFamily="34" charset="0"/>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14" name="TextBox 13"/>
          <p:cNvSpPr txBox="1"/>
          <p:nvPr userDrawn="1"/>
        </p:nvSpPr>
        <p:spPr>
          <a:xfrm>
            <a:off x="11167872" y="6405037"/>
            <a:ext cx="381000" cy="153888"/>
          </a:xfrm>
          <a:prstGeom prst="rect">
            <a:avLst/>
          </a:prstGeom>
          <a:noFill/>
        </p:spPr>
        <p:txBody>
          <a:bodyPr vert="horz" wrap="square" lIns="0" tIns="0" rIns="0" bIns="0" rtlCol="0" anchor="b" anchorCtr="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0" smtClean="0">
                <a:solidFill>
                  <a:srgbClr val="7F7F7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0">
              <a:solidFill>
                <a:srgbClr val="7F7F7F"/>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solidFill>
          <a:srgbClr val="EDEDED"/>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9CAB67E-5D58-4251-862F-05D47C56B780}"/>
              </a:ext>
            </a:extLst>
          </p:cNvPr>
          <p:cNvGraphicFramePr>
            <a:graphicFrameLocks noChangeAspect="1"/>
          </p:cNvGraphicFramePr>
          <p:nvPr userDrawn="1">
            <p:custDataLst>
              <p:tags r:id="rId3"/>
            </p:custDataLst>
            <p:extLst>
              <p:ext uri="{D42A27DB-BD31-4B8C-83A1-F6EECF244321}">
                <p14:modId xmlns:p14="http://schemas.microsoft.com/office/powerpoint/2010/main" val="3600409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8785" name="Diapositive think-cell" r:id="rId5" imgW="286" imgH="286" progId="TCLayout.ActiveDocument.1">
                  <p:embed/>
                </p:oleObj>
              </mc:Choice>
              <mc:Fallback>
                <p:oleObj name="Diapositive think-cell" r:id="rId5" imgW="286" imgH="286" progId="TCLayout.ActiveDocument.1">
                  <p:embed/>
                  <p:pic>
                    <p:nvPicPr>
                      <p:cNvPr id="4" name="Object 3" hidden="1">
                        <a:extLst>
                          <a:ext uri="{FF2B5EF4-FFF2-40B4-BE49-F238E27FC236}">
                            <a16:creationId xmlns:a16="http://schemas.microsoft.com/office/drawing/2014/main" id="{59CAB67E-5D58-4251-862F-05D47C56B78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622800"/>
            <a:ext cx="4747822" cy="400751"/>
          </a:xfrm>
          <a:prstGeom prst="rect">
            <a:avLst/>
          </a:prstGeom>
        </p:spPr>
        <p:txBody>
          <a:bodyPr vert="horz" wrap="square" lIns="0" tIns="0" rIns="0" bIns="0" anchor="b" anchorCtr="0">
            <a:noAutofit/>
          </a:bodyPr>
          <a:lstStyle>
            <a:lvl1pPr>
              <a:defRPr>
                <a:latin typeface="+mj-lt"/>
                <a:ea typeface="+mj-ea"/>
                <a:cs typeface="+mj-cs"/>
                <a:sym typeface="Trebuchet MS" panose="020B0603020202020204" pitchFamily="34" charset="0"/>
              </a:defRPr>
            </a:lvl1pPr>
          </a:lstStyle>
          <a:p>
            <a:r>
              <a:rPr lang="en-US"/>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6" name="TextBox 15"/>
          <p:cNvSpPr txBox="1"/>
          <p:nvPr userDrawn="1"/>
        </p:nvSpPr>
        <p:spPr>
          <a:xfrm>
            <a:off x="11167872" y="6405037"/>
            <a:ext cx="381000" cy="153888"/>
          </a:xfrm>
          <a:prstGeom prst="rect">
            <a:avLst/>
          </a:prstGeom>
          <a:noFill/>
        </p:spPr>
        <p:txBody>
          <a:bodyPr vert="horz" wrap="square" lIns="0" tIns="0" rIns="0" bIns="0" rtlCol="0" anchor="b" anchorCtr="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0" smtClean="0">
                <a:solidFill>
                  <a:srgbClr val="7F7F7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0">
              <a:solidFill>
                <a:srgbClr val="7F7F7F"/>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19729AF-7F82-4CE6-AC58-5FFE962DE0D4}"/>
              </a:ext>
            </a:extLst>
          </p:cNvPr>
          <p:cNvGraphicFramePr>
            <a:graphicFrameLocks noChangeAspect="1"/>
          </p:cNvGraphicFramePr>
          <p:nvPr userDrawn="1">
            <p:custDataLst>
              <p:tags r:id="rId2"/>
            </p:custDataLst>
            <p:extLst>
              <p:ext uri="{D42A27DB-BD31-4B8C-83A1-F6EECF244321}">
                <p14:modId xmlns:p14="http://schemas.microsoft.com/office/powerpoint/2010/main" val="4377348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9809" name="Diapositive think-cell" r:id="rId4" imgW="286" imgH="286" progId="TCLayout.ActiveDocument.1">
                  <p:embed/>
                </p:oleObj>
              </mc:Choice>
              <mc:Fallback>
                <p:oleObj name="Diapositive think-cell" r:id="rId4" imgW="286" imgH="286" progId="TCLayout.ActiveDocument.1">
                  <p:embed/>
                  <p:pic>
                    <p:nvPicPr>
                      <p:cNvPr id="4" name="Object 3" hidden="1">
                        <a:extLst>
                          <a:ext uri="{FF2B5EF4-FFF2-40B4-BE49-F238E27FC236}">
                            <a16:creationId xmlns:a16="http://schemas.microsoft.com/office/drawing/2014/main" id="{F19729AF-7F82-4CE6-AC58-5FFE962DE0D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rgbClr val="EDEDED"/>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6E6F73"/>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lnSpc>
                <a:spcPct val="90000"/>
              </a:lnSpc>
              <a:spcAft>
                <a:spcPts val="1000"/>
              </a:spcAft>
            </a:pPr>
            <a:endParaRPr lang="en-US" sz="1200">
              <a:solidFill>
                <a:srgbClr val="FFFFFF"/>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622800"/>
            <a:ext cx="4747822" cy="400751"/>
          </a:xfrm>
          <a:prstGeom prst="rect">
            <a:avLst/>
          </a:prstGeom>
        </p:spPr>
        <p:txBody>
          <a:bodyPr vert="horz" wrap="square" lIns="0" tIns="0" rIns="0" bIns="0" anchor="b" anchorCtr="0">
            <a:noAutofit/>
          </a:bodyPr>
          <a:lstStyle>
            <a:lvl1pPr>
              <a:defRPr>
                <a:solidFill>
                  <a:srgbClr val="21BF61"/>
                </a:solidFill>
                <a:latin typeface="+mj-lt"/>
                <a:ea typeface="+mj-ea"/>
                <a:cs typeface="+mj-cs"/>
                <a:sym typeface="Trebuchet MS" panose="020B0603020202020204" pitchFamily="34" charset="0"/>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14" name="TextBox 13"/>
          <p:cNvSpPr txBox="1"/>
          <p:nvPr userDrawn="1"/>
        </p:nvSpPr>
        <p:spPr>
          <a:xfrm>
            <a:off x="11167872" y="6405037"/>
            <a:ext cx="381000" cy="153888"/>
          </a:xfrm>
          <a:prstGeom prst="rect">
            <a:avLst/>
          </a:prstGeom>
          <a:noFill/>
        </p:spPr>
        <p:txBody>
          <a:bodyPr vert="horz" wrap="square" lIns="0" tIns="0" rIns="0" bIns="0" rtlCol="0" anchor="b" anchorCtr="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0" smtClean="0">
                <a:solidFill>
                  <a:srgbClr val="7F7F7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0">
              <a:solidFill>
                <a:srgbClr val="7F7F7F"/>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solidFill>
          <a:srgbClr val="EDEDED"/>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AFE1C5-C112-4B3A-A102-794066C8D8AB}"/>
              </a:ext>
            </a:extLst>
          </p:cNvPr>
          <p:cNvGraphicFramePr>
            <a:graphicFrameLocks noChangeAspect="1"/>
          </p:cNvGraphicFramePr>
          <p:nvPr userDrawn="1">
            <p:custDataLst>
              <p:tags r:id="rId3"/>
            </p:custDataLst>
            <p:extLst>
              <p:ext uri="{D42A27DB-BD31-4B8C-83A1-F6EECF244321}">
                <p14:modId xmlns:p14="http://schemas.microsoft.com/office/powerpoint/2010/main" val="31103220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0833" name="Diapositive think-cell" r:id="rId5" imgW="286" imgH="286" progId="TCLayout.ActiveDocument.1">
                  <p:embed/>
                </p:oleObj>
              </mc:Choice>
              <mc:Fallback>
                <p:oleObj name="Diapositive think-cell" r:id="rId5" imgW="286" imgH="286" progId="TCLayout.ActiveDocument.1">
                  <p:embed/>
                  <p:pic>
                    <p:nvPicPr>
                      <p:cNvPr id="4" name="Object 3" hidden="1">
                        <a:extLst>
                          <a:ext uri="{FF2B5EF4-FFF2-40B4-BE49-F238E27FC236}">
                            <a16:creationId xmlns:a16="http://schemas.microsoft.com/office/drawing/2014/main" id="{3CAFE1C5-C112-4B3A-A102-794066C8D8A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5" name="TextBox 14"/>
          <p:cNvSpPr txBox="1"/>
          <p:nvPr userDrawn="1"/>
        </p:nvSpPr>
        <p:spPr>
          <a:xfrm>
            <a:off x="11167872" y="6405037"/>
            <a:ext cx="381000" cy="153888"/>
          </a:xfrm>
          <a:prstGeom prst="rect">
            <a:avLst/>
          </a:prstGeom>
          <a:noFill/>
        </p:spPr>
        <p:txBody>
          <a:bodyPr vert="horz" wrap="square" lIns="0" tIns="0" rIns="0" bIns="0" rtlCol="0" anchor="b" anchorCtr="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0" smtClean="0">
                <a:solidFill>
                  <a:srgbClr val="7F7F7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0">
              <a:solidFill>
                <a:srgbClr val="7F7F7F"/>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400751"/>
          </a:xfrm>
          <a:prstGeom prst="rect">
            <a:avLst/>
          </a:prstGeom>
        </p:spPr>
        <p:txBody>
          <a:bodyPr vert="horz" wrap="square" lIns="0" tIns="0" rIns="0" bIns="0" anchor="b" anchorCtr="0">
            <a:noAutofit/>
          </a:bodyPr>
          <a:lstStyle>
            <a:lvl1pPr>
              <a:defRPr>
                <a:latin typeface="+mj-lt"/>
                <a:ea typeface="+mj-ea"/>
                <a:cs typeface="+mj-cs"/>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2B9B9F5-E904-4534-9E34-4E166A29CA9A}"/>
              </a:ext>
            </a:extLst>
          </p:cNvPr>
          <p:cNvGraphicFramePr>
            <a:graphicFrameLocks noChangeAspect="1"/>
          </p:cNvGraphicFramePr>
          <p:nvPr userDrawn="1">
            <p:custDataLst>
              <p:tags r:id="rId2"/>
            </p:custDataLst>
            <p:extLst>
              <p:ext uri="{D42A27DB-BD31-4B8C-83A1-F6EECF244321}">
                <p14:modId xmlns:p14="http://schemas.microsoft.com/office/powerpoint/2010/main" val="42067630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1857" name="Diapositive think-cell" r:id="rId4" imgW="286" imgH="286" progId="TCLayout.ActiveDocument.1">
                  <p:embed/>
                </p:oleObj>
              </mc:Choice>
              <mc:Fallback>
                <p:oleObj name="Diapositive think-cell" r:id="rId4" imgW="286" imgH="286" progId="TCLayout.ActiveDocument.1">
                  <p:embed/>
                  <p:pic>
                    <p:nvPicPr>
                      <p:cNvPr id="4" name="Object 3" hidden="1">
                        <a:extLst>
                          <a:ext uri="{FF2B5EF4-FFF2-40B4-BE49-F238E27FC236}">
                            <a16:creationId xmlns:a16="http://schemas.microsoft.com/office/drawing/2014/main" id="{82B9B9F5-E904-4534-9E34-4E166A29CA9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EDEDED"/>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6E6F73"/>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lnSpc>
                <a:spcPct val="90000"/>
              </a:lnSpc>
              <a:spcAft>
                <a:spcPts val="1000"/>
              </a:spcAft>
            </a:pPr>
            <a:endParaRPr lang="en-US" sz="1200">
              <a:solidFill>
                <a:srgbClr val="FFFFFF"/>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400751"/>
          </a:xfrm>
          <a:prstGeom prst="rect">
            <a:avLst/>
          </a:prstGeom>
        </p:spPr>
        <p:txBody>
          <a:bodyPr vert="horz" wrap="square" lIns="0" tIns="0" rIns="0" bIns="0" anchor="b" anchorCtr="0">
            <a:noAutofit/>
          </a:bodyPr>
          <a:lstStyle>
            <a:lvl1pPr>
              <a:defRPr>
                <a:solidFill>
                  <a:srgbClr val="21BF61"/>
                </a:solidFill>
                <a:latin typeface="+mj-lt"/>
                <a:ea typeface="+mj-ea"/>
                <a:cs typeface="+mj-cs"/>
                <a:sym typeface="Trebuchet MS" panose="020B0603020202020204" pitchFamily="34" charset="0"/>
              </a:defRPr>
            </a:lvl1pPr>
          </a:lstStyle>
          <a:p>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18" name="TextBox 17"/>
          <p:cNvSpPr txBox="1"/>
          <p:nvPr userDrawn="1"/>
        </p:nvSpPr>
        <p:spPr>
          <a:xfrm>
            <a:off x="11167872" y="6405037"/>
            <a:ext cx="381000" cy="153888"/>
          </a:xfrm>
          <a:prstGeom prst="rect">
            <a:avLst/>
          </a:prstGeom>
          <a:noFill/>
        </p:spPr>
        <p:txBody>
          <a:bodyPr vert="horz" wrap="square" lIns="0" tIns="0" rIns="0" bIns="0" rtlCol="0" anchor="b" anchorCtr="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0" smtClean="0">
                <a:solidFill>
                  <a:srgbClr val="7F7F7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0">
              <a:solidFill>
                <a:srgbClr val="7F7F7F"/>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solidFill>
          <a:srgbClr val="EDEDED"/>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A509AAD-F6E0-4DC6-8B4B-334955466499}"/>
              </a:ext>
            </a:extLst>
          </p:cNvPr>
          <p:cNvGraphicFramePr>
            <a:graphicFrameLocks noChangeAspect="1"/>
          </p:cNvGraphicFramePr>
          <p:nvPr userDrawn="1">
            <p:custDataLst>
              <p:tags r:id="rId3"/>
            </p:custDataLst>
            <p:extLst>
              <p:ext uri="{D42A27DB-BD31-4B8C-83A1-F6EECF244321}">
                <p14:modId xmlns:p14="http://schemas.microsoft.com/office/powerpoint/2010/main" val="3640521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881" name="Diapositive think-cell" r:id="rId5" imgW="286" imgH="286" progId="TCLayout.ActiveDocument.1">
                  <p:embed/>
                </p:oleObj>
              </mc:Choice>
              <mc:Fallback>
                <p:oleObj name="Diapositive think-cell" r:id="rId5" imgW="286" imgH="286" progId="TCLayout.ActiveDocument.1">
                  <p:embed/>
                  <p:pic>
                    <p:nvPicPr>
                      <p:cNvPr id="3" name="Object 2" hidden="1">
                        <a:extLst>
                          <a:ext uri="{FF2B5EF4-FFF2-40B4-BE49-F238E27FC236}">
                            <a16:creationId xmlns:a16="http://schemas.microsoft.com/office/drawing/2014/main" id="{4A509AAD-F6E0-4DC6-8B4B-33495546649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0" name="TextBox 9"/>
          <p:cNvSpPr txBox="1"/>
          <p:nvPr userDrawn="1"/>
        </p:nvSpPr>
        <p:spPr>
          <a:xfrm>
            <a:off x="11167872" y="6405037"/>
            <a:ext cx="381000" cy="153888"/>
          </a:xfrm>
          <a:prstGeom prst="rect">
            <a:avLst/>
          </a:prstGeom>
          <a:noFill/>
        </p:spPr>
        <p:txBody>
          <a:bodyPr vert="horz" wrap="square" lIns="0" tIns="0" rIns="0" bIns="0" rtlCol="0" anchor="b" anchorCtr="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0" smtClean="0">
                <a:solidFill>
                  <a:srgbClr val="7F7F7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0">
              <a:solidFill>
                <a:srgbClr val="7F7F7F"/>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21BF61"/>
                </a:solidFill>
                <a:latin typeface="+mj-lt"/>
                <a:ea typeface="+mj-ea"/>
                <a:cs typeface="+mj-cs"/>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5850758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Beyond layout 11">
    <p:bg bwMode="grayWhite">
      <p:bgPr>
        <a:solidFill>
          <a:srgbClr val="EDEDED"/>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3" name="Diapositive think-cell" r:id="rId5" imgW="352" imgH="355" progId="TCLayout.ActiveDocument.1">
                  <p:embed/>
                </p:oleObj>
              </mc:Choice>
              <mc:Fallback>
                <p:oleObj name="Diapositive think-cell"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4400">
              <a:solidFill>
                <a:srgbClr val="FFFFFF"/>
              </a:solidFill>
              <a:latin typeface="Henderson BCG Sans" panose="020B0502030402020204" pitchFamily="34" charset="0"/>
              <a:sym typeface="Henderson BCG Sans" panose="020B0502030402020204" pitchFamily="34" charset="0"/>
            </a:endParaRPr>
          </a:p>
        </p:txBody>
      </p:sp>
      <p:sp>
        <p:nvSpPr>
          <p:cNvPr id="13" name="Picture Placeholder 18"/>
          <p:cNvSpPr>
            <a:spLocks noGrp="1"/>
          </p:cNvSpPr>
          <p:nvPr>
            <p:ph type="pic" sz="quarter" idx="14" hasCustomPrompt="1"/>
          </p:nvPr>
        </p:nvSpPr>
        <p:spPr>
          <a:xfrm>
            <a:off x="41563" y="0"/>
            <a:ext cx="5012540" cy="6858000"/>
          </a:xfrm>
          <a:prstGeom prst="rect">
            <a:avLst/>
          </a:prstGeom>
          <a:noFill/>
        </p:spPr>
        <p:txBody>
          <a:bodyPr lIns="914400" tIns="914400" rIns="914400" bIns="914400"/>
          <a:lstStyle>
            <a:lvl1pPr algn="ctr">
              <a:defRPr sz="1800" kern="0" baseline="0">
                <a:latin typeface="+mn-lt"/>
                <a:ea typeface="+mn-ea"/>
                <a:cs typeface="+mn-cs"/>
                <a:sym typeface="+mn-lt"/>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096000" y="1785600"/>
            <a:ext cx="4388400" cy="3286801"/>
          </a:xfrm>
          <a:prstGeom prst="rect">
            <a:avLst/>
          </a:prstGeom>
          <a:noFill/>
        </p:spPr>
        <p:txBody>
          <a:bodyPr vert="horz" wrap="square" lIns="0" tIns="0" rIns="320040" bIns="0" anchor="ctr">
            <a:noAutofit/>
          </a:bodyPr>
          <a:lstStyle>
            <a:lvl1pPr>
              <a:defRPr sz="4400" kern="0">
                <a:solidFill>
                  <a:srgbClr val="21BF61"/>
                </a:solidFill>
                <a:latin typeface="+mj-lt"/>
                <a:ea typeface="+mj-ea"/>
                <a:cs typeface="+mj-cs"/>
                <a:sym typeface="+mj-lt"/>
              </a:defRPr>
            </a:lvl1pPr>
          </a:lstStyle>
          <a:p>
            <a:r>
              <a:rPr lang="en-US"/>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kern="0" smtClean="0">
                <a:solidFill>
                  <a:prstClr val="white">
                    <a:lumMod val="50000"/>
                  </a:prstClr>
                </a:solidFill>
                <a:sym typeface="+mn-lt"/>
              </a:rPr>
              <a:pPr algn="r">
                <a:defRPr/>
              </a:pPr>
              <a:t>‹#›</a:t>
            </a:fld>
            <a:endParaRPr lang="en-US" sz="800" kern="0">
              <a:solidFill>
                <a:prstClr val="white">
                  <a:lumMod val="50000"/>
                </a:prstClr>
              </a:solidFill>
              <a:sym typeface="+mn-lt"/>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kern="0">
                <a:solidFill>
                  <a:schemeClr val="bg1">
                    <a:lumMod val="50000"/>
                  </a:schemeClr>
                </a:solidFill>
                <a:latin typeface="+mn-lt"/>
                <a:ea typeface="+mn-ea"/>
                <a:cs typeface="+mn-cs"/>
                <a:sym typeface="+mn-lt"/>
              </a:defRPr>
            </a:lvl1pPr>
          </a:lstStyle>
          <a:p>
            <a:endParaRPr lang="en-US">
              <a:solidFill>
                <a:prstClr val="white">
                  <a:lumMod val="50000"/>
                </a:prstClr>
              </a:solidFill>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mn-lt"/>
              </a:rPr>
              <a:t>Copyright © 2022 by Boston Consulting Group. All rights reserved.</a:t>
            </a:r>
          </a:p>
        </p:txBody>
      </p:sp>
      <p:pic>
        <p:nvPicPr>
          <p:cNvPr id="17" name="Picture 16">
            <a:extLst>
              <a:ext uri="{FF2B5EF4-FFF2-40B4-BE49-F238E27FC236}">
                <a16:creationId xmlns:a16="http://schemas.microsoft.com/office/drawing/2014/main" id="{66CEEEE9-5895-498A-A309-86690F3144D4}"/>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bwMode="ltGray">
          <a:xfrm flipH="1">
            <a:off x="4634343" y="0"/>
            <a:ext cx="416951" cy="6858000"/>
          </a:xfrm>
          <a:prstGeom prst="rect">
            <a:avLst/>
          </a:prstGeom>
        </p:spPr>
      </p:pic>
    </p:spTree>
    <p:extLst>
      <p:ext uri="{BB962C8B-B14F-4D97-AF65-F5344CB8AC3E}">
        <p14:creationId xmlns:p14="http://schemas.microsoft.com/office/powerpoint/2010/main" val="65756004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9886B2E-AC6F-4FF0-96A9-CAF35B584EB7}"/>
              </a:ext>
            </a:extLst>
          </p:cNvPr>
          <p:cNvGraphicFramePr>
            <a:graphicFrameLocks noChangeAspect="1"/>
          </p:cNvGraphicFramePr>
          <p:nvPr userDrawn="1">
            <p:custDataLst>
              <p:tags r:id="rId2"/>
            </p:custDataLst>
            <p:extLst>
              <p:ext uri="{D42A27DB-BD31-4B8C-83A1-F6EECF244321}">
                <p14:modId xmlns:p14="http://schemas.microsoft.com/office/powerpoint/2010/main" val="30216296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905" name="Diapositive think-cell" r:id="rId4" imgW="286" imgH="286" progId="TCLayout.ActiveDocument.1">
                  <p:embed/>
                </p:oleObj>
              </mc:Choice>
              <mc:Fallback>
                <p:oleObj name="Diapositive think-cell" r:id="rId4" imgW="286" imgH="286" progId="TCLayout.ActiveDocument.1">
                  <p:embed/>
                  <p:pic>
                    <p:nvPicPr>
                      <p:cNvPr id="3" name="Object 2" hidden="1">
                        <a:extLst>
                          <a:ext uri="{FF2B5EF4-FFF2-40B4-BE49-F238E27FC236}">
                            <a16:creationId xmlns:a16="http://schemas.microsoft.com/office/drawing/2014/main" id="{D9886B2E-AC6F-4FF0-96A9-CAF35B584EB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Date Placeholder 7"/>
          <p:cNvSpPr>
            <a:spLocks noGrp="1"/>
          </p:cNvSpPr>
          <p:nvPr>
            <p:ph type="dt" sz="half" idx="10"/>
          </p:nvPr>
        </p:nvSpPr>
        <p:spPr/>
        <p:txBody>
          <a:bodyPr/>
          <a:lstStyle>
            <a:lvl1pPr>
              <a:defRPr>
                <a:latin typeface="+mn-lt"/>
                <a:ea typeface="+mn-ea"/>
                <a:cs typeface="+mn-cs"/>
                <a:sym typeface="Trebuchet MS" panose="020B0603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6" name="Rectangle 5"/>
          <p:cNvSpPr/>
          <p:nvPr userDrawn="1"/>
        </p:nvSpPr>
        <p:spPr bwMode="white">
          <a:xfrm>
            <a:off x="630000" y="625475"/>
            <a:ext cx="932688" cy="932688"/>
          </a:xfrm>
          <a:prstGeom prst="rect">
            <a:avLst/>
          </a:prstGeom>
          <a:noFill/>
          <a:ln>
            <a:solidFill>
              <a:srgbClr val="21BF6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21BF61"/>
                </a:solidFill>
                <a:latin typeface="+mj-lt"/>
                <a:ea typeface="+mj-ea"/>
                <a:cs typeface="+mj-cs"/>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rgbClr val="EDEDED"/>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2495689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4929" name="Diapositive think-cell" r:id="rId4" imgW="384" imgH="384" progId="TCLayout.ActiveDocument.1">
                  <p:embed/>
                </p:oleObj>
              </mc:Choice>
              <mc:Fallback>
                <p:oleObj name="Diapositive think-cell" r:id="rId4" imgW="384" imgH="38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F8F8F8"/>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Trebuchet MS" panose="020B0603020202020204" pitchFamily="34" charset="0"/>
            </a:endParaRPr>
          </a:p>
        </p:txBody>
      </p:sp>
      <p:sp>
        <p:nvSpPr>
          <p:cNvPr id="8" name="TextBox 7">
            <a:extLst>
              <a:ext uri="{FF2B5EF4-FFF2-40B4-BE49-F238E27FC236}">
                <a16:creationId xmlns:a16="http://schemas.microsoft.com/office/drawing/2014/main" id="{7F97CDD7-5E8D-425D-ADEF-37EAD41B7D81}"/>
              </a:ext>
            </a:extLst>
          </p:cNvPr>
          <p:cNvSpPr txBox="1"/>
          <p:nvPr userDrawn="1"/>
        </p:nvSpPr>
        <p:spPr bwMode="white">
          <a:xfrm>
            <a:off x="11167872" y="6405037"/>
            <a:ext cx="381000" cy="153888"/>
          </a:xfrm>
          <a:prstGeom prst="rect">
            <a:avLst/>
          </a:prstGeom>
          <a:noFill/>
        </p:spPr>
        <p:txBody>
          <a:bodyPr vert="horz" wrap="square" lIns="0" tIns="0" rIns="0" bIns="0" rtlCol="0" anchor="b" anchorCtr="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0" smtClean="0">
                <a:solidFill>
                  <a:srgbClr val="7F7F7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0">
              <a:solidFill>
                <a:srgbClr val="7F7F7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4C02B0B-66B0-426C-8FEC-6707422423E9}"/>
              </a:ext>
            </a:extLst>
          </p:cNvPr>
          <p:cNvGraphicFramePr>
            <a:graphicFrameLocks noChangeAspect="1"/>
          </p:cNvGraphicFramePr>
          <p:nvPr userDrawn="1">
            <p:custDataLst>
              <p:tags r:id="rId2"/>
            </p:custDataLst>
            <p:extLst>
              <p:ext uri="{D42A27DB-BD31-4B8C-83A1-F6EECF244321}">
                <p14:modId xmlns:p14="http://schemas.microsoft.com/office/powerpoint/2010/main" val="42576170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5953" name="Diapositive think-cell" r:id="rId4" imgW="286" imgH="286" progId="TCLayout.ActiveDocument.1">
                  <p:embed/>
                </p:oleObj>
              </mc:Choice>
              <mc:Fallback>
                <p:oleObj name="Diapositive think-cell" r:id="rId4" imgW="286" imgH="286" progId="TCLayout.ActiveDocument.1">
                  <p:embed/>
                  <p:pic>
                    <p:nvPicPr>
                      <p:cNvPr id="6" name="Object 5" hidden="1">
                        <a:extLst>
                          <a:ext uri="{FF2B5EF4-FFF2-40B4-BE49-F238E27FC236}">
                            <a16:creationId xmlns:a16="http://schemas.microsoft.com/office/drawing/2014/main" id="{04C02B0B-66B0-426C-8FEC-6707422423E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2" name="Title 1"/>
          <p:cNvSpPr>
            <a:spLocks noGrp="1"/>
          </p:cNvSpPr>
          <p:nvPr>
            <p:ph type="title" hasCustomPrompt="1"/>
          </p:nvPr>
        </p:nvSpPr>
        <p:spPr>
          <a:xfrm>
            <a:off x="630000" y="622800"/>
            <a:ext cx="10933200" cy="400751"/>
          </a:xfrm>
          <a:prstGeom prst="rect">
            <a:avLst/>
          </a:prstGeom>
        </p:spPr>
        <p:txBody>
          <a:bodyPr vert="horz" wrap="square" lIns="0" tIns="0" rIns="0" bIns="0" anchor="b" anchorCtr="0">
            <a:noAutofit/>
          </a:bodyPr>
          <a:lstStyle>
            <a:lvl1pPr>
              <a:defRPr>
                <a:solidFill>
                  <a:srgbClr val="FFFFFF"/>
                </a:solidFill>
                <a:latin typeface="+mj-lt"/>
                <a:ea typeface="+mj-ea"/>
                <a:cs typeface="+mj-cs"/>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solidFill>
          <a:srgbClr val="EDEDED"/>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E9D1F7A-E25E-467D-B61E-64916C3D77C1}"/>
              </a:ext>
            </a:extLst>
          </p:cNvPr>
          <p:cNvGraphicFramePr>
            <a:graphicFrameLocks noChangeAspect="1"/>
          </p:cNvGraphicFramePr>
          <p:nvPr userDrawn="1">
            <p:custDataLst>
              <p:tags r:id="rId3"/>
            </p:custDataLst>
            <p:extLst>
              <p:ext uri="{D42A27DB-BD31-4B8C-83A1-F6EECF244321}">
                <p14:modId xmlns:p14="http://schemas.microsoft.com/office/powerpoint/2010/main" val="3134848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6977" name="Diapositive think-cell" r:id="rId5" imgW="286" imgH="286" progId="TCLayout.ActiveDocument.1">
                  <p:embed/>
                </p:oleObj>
              </mc:Choice>
              <mc:Fallback>
                <p:oleObj name="Diapositive think-cell" r:id="rId5" imgW="286" imgH="286" progId="TCLayout.ActiveDocument.1">
                  <p:embed/>
                  <p:pic>
                    <p:nvPicPr>
                      <p:cNvPr id="2" name="Object 1" hidden="1">
                        <a:extLst>
                          <a:ext uri="{FF2B5EF4-FFF2-40B4-BE49-F238E27FC236}">
                            <a16:creationId xmlns:a16="http://schemas.microsoft.com/office/drawing/2014/main" id="{DE9D1F7A-E25E-467D-B61E-64916C3D77C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rgbClr val="21BF61"/>
                </a:solidFill>
                <a:latin typeface="+mj-lt"/>
                <a:ea typeface="+mn-ea"/>
                <a:cs typeface="+mn-cs"/>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9" name="TextBox 18"/>
          <p:cNvSpPr txBox="1"/>
          <p:nvPr userDrawn="1"/>
        </p:nvSpPr>
        <p:spPr>
          <a:xfrm>
            <a:off x="11167872" y="6405037"/>
            <a:ext cx="381000" cy="153888"/>
          </a:xfrm>
          <a:prstGeom prst="rect">
            <a:avLst/>
          </a:prstGeom>
          <a:noFill/>
        </p:spPr>
        <p:txBody>
          <a:bodyPr vert="horz" wrap="square" lIns="0" tIns="0" rIns="0" bIns="0" rtlCol="0" anchor="b" anchorCtr="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0" smtClean="0">
                <a:solidFill>
                  <a:srgbClr val="7F7F7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0">
              <a:solidFill>
                <a:srgbClr val="7F7F7F"/>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p:cSld name="D. Blank green">
    <p:bg>
      <p:bgPr>
        <a:solidFill>
          <a:srgbClr val="EDEDED"/>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CD651BE-D96B-495E-99A7-F9787064CCB2}"/>
              </a:ext>
            </a:extLst>
          </p:cNvPr>
          <p:cNvGraphicFramePr>
            <a:graphicFrameLocks noChangeAspect="1"/>
          </p:cNvGraphicFramePr>
          <p:nvPr userDrawn="1">
            <p:custDataLst>
              <p:tags r:id="rId3"/>
            </p:custDataLst>
            <p:extLst>
              <p:ext uri="{D42A27DB-BD31-4B8C-83A1-F6EECF244321}">
                <p14:modId xmlns:p14="http://schemas.microsoft.com/office/powerpoint/2010/main" val="13840286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8001" name="Diapositive think-cell" r:id="rId5" imgW="286" imgH="286" progId="TCLayout.ActiveDocument.1">
                  <p:embed/>
                </p:oleObj>
              </mc:Choice>
              <mc:Fallback>
                <p:oleObj name="Diapositive think-cell" r:id="rId5" imgW="286" imgH="286" progId="TCLayout.ActiveDocument.1">
                  <p:embed/>
                  <p:pic>
                    <p:nvPicPr>
                      <p:cNvPr id="2" name="Object 1" hidden="1">
                        <a:extLst>
                          <a:ext uri="{FF2B5EF4-FFF2-40B4-BE49-F238E27FC236}">
                            <a16:creationId xmlns:a16="http://schemas.microsoft.com/office/drawing/2014/main" id="{CCD651BE-D96B-495E-99A7-F9787064CCB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1" name="TextBox 10"/>
          <p:cNvSpPr txBox="1"/>
          <p:nvPr userDrawn="1"/>
        </p:nvSpPr>
        <p:spPr>
          <a:xfrm>
            <a:off x="11167872" y="6405037"/>
            <a:ext cx="381000" cy="153888"/>
          </a:xfrm>
          <a:prstGeom prst="rect">
            <a:avLst/>
          </a:prstGeom>
          <a:noFill/>
        </p:spPr>
        <p:txBody>
          <a:bodyPr vert="horz" wrap="square" lIns="0" tIns="0" rIns="0" bIns="0" rtlCol="0" anchor="b" anchorCtr="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0" smtClean="0">
                <a:solidFill>
                  <a:srgbClr val="7F7F7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0">
              <a:solidFill>
                <a:srgbClr val="7F7F7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408276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D. Blank">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E3BDE81-248D-498E-AA73-F9BAC2696C13}"/>
              </a:ext>
            </a:extLst>
          </p:cNvPr>
          <p:cNvGraphicFramePr>
            <a:graphicFrameLocks noChangeAspect="1"/>
          </p:cNvGraphicFramePr>
          <p:nvPr userDrawn="1">
            <p:custDataLst>
              <p:tags r:id="rId2"/>
            </p:custDataLst>
            <p:extLst>
              <p:ext uri="{D42A27DB-BD31-4B8C-83A1-F6EECF244321}">
                <p14:modId xmlns:p14="http://schemas.microsoft.com/office/powerpoint/2010/main" val="26861665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9025" name="Diapositive think-cell" r:id="rId4" imgW="286" imgH="286" progId="TCLayout.ActiveDocument.1">
                  <p:embed/>
                </p:oleObj>
              </mc:Choice>
              <mc:Fallback>
                <p:oleObj name="Diapositive think-cell" r:id="rId4" imgW="286" imgH="286" progId="TCLayout.ActiveDocument.1">
                  <p:embed/>
                  <p:pic>
                    <p:nvPicPr>
                      <p:cNvPr id="2" name="Object 1" hidden="1">
                        <a:extLst>
                          <a:ext uri="{FF2B5EF4-FFF2-40B4-BE49-F238E27FC236}">
                            <a16:creationId xmlns:a16="http://schemas.microsoft.com/office/drawing/2014/main" id="{6E3BDE81-248D-498E-AA73-F9BAC2696C1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Trebuchet MS" panose="020B0603020202020204" pitchFamily="34" charset="0"/>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D. Disclaim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BE0E40E-B8A6-4AA7-A8D0-AB274566FCC4}"/>
              </a:ext>
            </a:extLst>
          </p:cNvPr>
          <p:cNvGraphicFramePr>
            <a:graphicFrameLocks noChangeAspect="1"/>
          </p:cNvGraphicFramePr>
          <p:nvPr userDrawn="1">
            <p:custDataLst>
              <p:tags r:id="rId2"/>
            </p:custDataLst>
            <p:extLst>
              <p:ext uri="{D42A27DB-BD31-4B8C-83A1-F6EECF244321}">
                <p14:modId xmlns:p14="http://schemas.microsoft.com/office/powerpoint/2010/main" val="16074413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0049" name="Diapositive think-cell" r:id="rId4" imgW="286" imgH="286" progId="TCLayout.ActiveDocument.1">
                  <p:embed/>
                </p:oleObj>
              </mc:Choice>
              <mc:Fallback>
                <p:oleObj name="Diapositive think-cell" r:id="rId4" imgW="286" imgH="286" progId="TCLayout.ActiveDocument.1">
                  <p:embed/>
                  <p:pic>
                    <p:nvPicPr>
                      <p:cNvPr id="2" name="Object 1" hidden="1">
                        <a:extLst>
                          <a:ext uri="{FF2B5EF4-FFF2-40B4-BE49-F238E27FC236}">
                            <a16:creationId xmlns:a16="http://schemas.microsoft.com/office/drawing/2014/main" id="{0BE0E40E-B8A6-4AA7-A8D0-AB274566FCC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10"/>
          </p:nvPr>
        </p:nvSpPr>
        <p:spPr/>
        <p:txBody>
          <a:bodyPr/>
          <a:lstStyle>
            <a:lvl1pPr>
              <a:defRPr>
                <a:latin typeface="+mn-lt"/>
                <a:ea typeface="+mn-ea"/>
                <a:cs typeface="+mn-cs"/>
                <a:sym typeface="Trebuchet MS" panose="020B0603020202020204" pitchFamily="34" charset="0"/>
              </a:defRPr>
            </a:lvl1pPr>
          </a:lstStyle>
          <a:p>
            <a:endParaRPr lang="en-US"/>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5" name="Text Placeholder 3">
            <a:extLst>
              <a:ext uri="{FF2B5EF4-FFF2-40B4-BE49-F238E27FC236}">
                <a16:creationId xmlns:a16="http://schemas.microsoft.com/office/drawing/2014/main" id="{A2CBB161-AA58-4461-BF56-A96454313FB5}"/>
              </a:ext>
            </a:extLst>
          </p:cNvPr>
          <p:cNvSpPr>
            <a:spLocks noGrp="1"/>
          </p:cNvSpPr>
          <p:nvPr>
            <p:ph type="body" sz="quarter" idx="11"/>
          </p:nvPr>
        </p:nvSpPr>
        <p:spPr>
          <a:xfrm>
            <a:off x="5021826" y="1664256"/>
            <a:ext cx="6209072" cy="3323987"/>
          </a:xfrm>
        </p:spPr>
        <p:txBody>
          <a:bodyPr wrap="square" lIns="0" tIns="0" rIns="0" bIns="0" anchor="t">
            <a:noAutofit/>
          </a:bodyPr>
          <a:lstStyle>
            <a:lvl1pPr>
              <a:defRPr lang="en-US" sz="900" b="0" dirty="0">
                <a:solidFill>
                  <a:schemeClr val="tx1"/>
                </a:solidFill>
                <a:latin typeface="+mn-lt"/>
                <a:ea typeface="+mn-ea"/>
                <a:cs typeface="+mn-cs"/>
              </a:defRPr>
            </a:lvl1pPr>
          </a:lstStyle>
          <a:p>
            <a:pPr lvl="0">
              <a:lnSpc>
                <a:spcPct val="100000"/>
              </a:lnSpc>
            </a:pPr>
            <a:endParaRPr lang="en-US"/>
          </a:p>
        </p:txBody>
      </p:sp>
      <p:sp>
        <p:nvSpPr>
          <p:cNvPr id="6" name="Title 6">
            <a:extLst>
              <a:ext uri="{FF2B5EF4-FFF2-40B4-BE49-F238E27FC236}">
                <a16:creationId xmlns:a16="http://schemas.microsoft.com/office/drawing/2014/main" id="{578BBEF8-6DEC-4D63-AD1C-D1800CC45F94}"/>
              </a:ext>
            </a:extLst>
          </p:cNvPr>
          <p:cNvSpPr txBox="1">
            <a:spLocks/>
          </p:cNvSpPr>
          <p:nvPr userDrawn="1"/>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a:solidFill>
                  <a:srgbClr val="21BF61"/>
                </a:solidFill>
                <a:latin typeface="+mn-lt"/>
                <a:ea typeface="+mn-ea"/>
                <a:cs typeface="+mn-cs"/>
                <a:sym typeface="Trebuchet MS" panose="020B0603020202020204" pitchFamily="34" charset="0"/>
              </a:rPr>
              <a:t>Disclaimer</a:t>
            </a:r>
          </a:p>
        </p:txBody>
      </p:sp>
      <p:cxnSp>
        <p:nvCxnSpPr>
          <p:cNvPr id="7" name="Straight Connector 6">
            <a:extLst>
              <a:ext uri="{FF2B5EF4-FFF2-40B4-BE49-F238E27FC236}">
                <a16:creationId xmlns:a16="http://schemas.microsoft.com/office/drawing/2014/main" id="{7421FA14-3EBA-49A2-9852-682B214F2537}"/>
              </a:ext>
            </a:extLst>
          </p:cNvPr>
          <p:cNvCxnSpPr/>
          <p:nvPr userDrawn="1"/>
        </p:nvCxnSpPr>
        <p:spPr>
          <a:xfrm>
            <a:off x="4418698" y="1664256"/>
            <a:ext cx="0" cy="3392129"/>
          </a:xfrm>
          <a:prstGeom prst="line">
            <a:avLst/>
          </a:prstGeom>
          <a:ln w="9525">
            <a:solidFill>
              <a:srgbClr val="21BF61"/>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0281930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1073" name="Diapositive think-cell" r:id="rId4" imgW="384" imgH="384" progId="TCLayout.ActiveDocument.1">
                  <p:embed/>
                </p:oleObj>
              </mc:Choice>
              <mc:Fallback>
                <p:oleObj name="Diapositive think-cell"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16184CD5-9B9F-464B-8C76-6A19BB16E965}"/>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1" name="Rectangle 10">
            <a:extLst>
              <a:ext uri="{FF2B5EF4-FFF2-40B4-BE49-F238E27FC236}">
                <a16:creationId xmlns:a16="http://schemas.microsoft.com/office/drawing/2014/main" id="{A3B05542-83B9-4911-87D3-B3EC5496A5CB}"/>
              </a:ext>
            </a:extLst>
          </p:cNvPr>
          <p:cNvSpPr/>
          <p:nvPr userDrawn="1"/>
        </p:nvSpPr>
        <p:spPr>
          <a:xfrm rot="10800000">
            <a:off x="-1" y="0"/>
            <a:ext cx="12192000" cy="6858000"/>
          </a:xfrm>
          <a:prstGeom prst="rect">
            <a:avLst/>
          </a:prstGeom>
          <a:gradFill flip="none" rotWithShape="1">
            <a:gsLst>
              <a:gs pos="100000">
                <a:srgbClr val="222222">
                  <a:alpha val="69000"/>
                </a:srgbClr>
              </a:gs>
              <a:gs pos="0">
                <a:srgbClr val="222222">
                  <a:alpha val="0"/>
                </a:srgbClr>
              </a:gs>
            </a:gsLst>
            <a:lin ang="0" scaled="1"/>
            <a:tileRect/>
          </a:gra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n-lt"/>
              <a:ea typeface="+mn-ea"/>
              <a:cs typeface="+mn-cs"/>
            </a:endParaRPr>
          </a:p>
        </p:txBody>
      </p:sp>
      <p:grpSp>
        <p:nvGrpSpPr>
          <p:cNvPr id="12" name="Group 11">
            <a:extLst>
              <a:ext uri="{FF2B5EF4-FFF2-40B4-BE49-F238E27FC236}">
                <a16:creationId xmlns:a16="http://schemas.microsoft.com/office/drawing/2014/main" id="{BC1562DA-750F-4D77-BE60-0648D3CCAB7A}"/>
              </a:ext>
            </a:extLst>
          </p:cNvPr>
          <p:cNvGrpSpPr/>
          <p:nvPr userDrawn="1"/>
        </p:nvGrpSpPr>
        <p:grpSpPr>
          <a:xfrm>
            <a:off x="4242626" y="1458410"/>
            <a:ext cx="3708097" cy="3772029"/>
            <a:chOff x="1803027" y="0"/>
            <a:chExt cx="4712589" cy="4793839"/>
          </a:xfrm>
        </p:grpSpPr>
        <p:sp>
          <p:nvSpPr>
            <p:cNvPr id="13" name="Rectangle 12">
              <a:extLst>
                <a:ext uri="{FF2B5EF4-FFF2-40B4-BE49-F238E27FC236}">
                  <a16:creationId xmlns:a16="http://schemas.microsoft.com/office/drawing/2014/main" id="{56882D84-E891-43E8-B2F8-40E83A5C76C9}"/>
                </a:ext>
              </a:extLst>
            </p:cNvPr>
            <p:cNvSpPr/>
            <p:nvPr/>
          </p:nvSpPr>
          <p:spPr>
            <a:xfrm>
              <a:off x="1803027" y="0"/>
              <a:ext cx="4712589" cy="4793839"/>
            </a:xfrm>
            <a:prstGeom prst="rect">
              <a:avLst/>
            </a:prstGeom>
            <a:solidFill>
              <a:sysClr val="window" lastClr="FFFFFF"/>
            </a:soli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n-lt"/>
                <a:ea typeface="+mn-ea"/>
                <a:cs typeface="+mn-cs"/>
              </a:endParaRPr>
            </a:p>
          </p:txBody>
        </p:sp>
        <p:sp>
          <p:nvSpPr>
            <p:cNvPr id="14" name="Rectangle 13">
              <a:extLst>
                <a:ext uri="{FF2B5EF4-FFF2-40B4-BE49-F238E27FC236}">
                  <a16:creationId xmlns:a16="http://schemas.microsoft.com/office/drawing/2014/main" id="{B7D3B8FF-A659-4EC0-ACCD-535FCF3CE28E}"/>
                </a:ext>
              </a:extLst>
            </p:cNvPr>
            <p:cNvSpPr/>
            <p:nvPr/>
          </p:nvSpPr>
          <p:spPr>
            <a:xfrm>
              <a:off x="2222643" y="426851"/>
              <a:ext cx="3873357" cy="3940138"/>
            </a:xfrm>
            <a:prstGeom prst="rect">
              <a:avLst/>
            </a:prstGeom>
            <a:solidFill>
              <a:srgbClr val="EDEDED"/>
            </a:soli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n-lt"/>
                <a:ea typeface="+mn-ea"/>
                <a:cs typeface="+mn-cs"/>
              </a:endParaRPr>
            </a:p>
          </p:txBody>
        </p:sp>
      </p:grpSp>
      <p:sp>
        <p:nvSpPr>
          <p:cNvPr id="16" name="Title 2">
            <a:extLst>
              <a:ext uri="{FF2B5EF4-FFF2-40B4-BE49-F238E27FC236}">
                <a16:creationId xmlns:a16="http://schemas.microsoft.com/office/drawing/2014/main" id="{FB356914-3CB9-483C-A8C8-9771820E5683}"/>
              </a:ext>
            </a:extLst>
          </p:cNvPr>
          <p:cNvSpPr txBox="1">
            <a:spLocks/>
          </p:cNvSpPr>
          <p:nvPr userDrawn="1"/>
        </p:nvSpPr>
        <p:spPr>
          <a:xfrm>
            <a:off x="4572800" y="2031697"/>
            <a:ext cx="3047749" cy="1678995"/>
          </a:xfrm>
          <a:prstGeom prst="rect">
            <a:avLst/>
          </a:prstGeom>
        </p:spPr>
        <p:txBody>
          <a:bodyPr vert="horz" wrap="square" lIns="0" tIns="0" rIns="0" bIns="0" rtlCol="0" anchor="b">
            <a:noAutofit/>
          </a:bodyPr>
          <a:lstStyle>
            <a:lvl1pPr algn="l" defTabSz="914400" rtl="0" eaLnBrk="1" latinLnBrk="0" hangingPunct="1">
              <a:lnSpc>
                <a:spcPct val="93000"/>
              </a:lnSpc>
              <a:spcBef>
                <a:spcPct val="0"/>
              </a:spcBef>
              <a:buNone/>
              <a:defRPr sz="4000" b="0" kern="0">
                <a:solidFill>
                  <a:srgbClr val="575757"/>
                </a:solidFill>
                <a:latin typeface="+mj-lt"/>
                <a:ea typeface="+mj-ea"/>
                <a:cs typeface="+mj-cs"/>
                <a:sym typeface="+mj-lt"/>
              </a:defRPr>
            </a:lvl1pPr>
          </a:lstStyle>
          <a:p>
            <a:pPr algn="ctr"/>
            <a:r>
              <a:rPr lang="en-US">
                <a:solidFill>
                  <a:srgbClr val="21BF61"/>
                </a:solidFill>
                <a:latin typeface="+mn-lt"/>
                <a:ea typeface="+mn-ea"/>
                <a:cs typeface="+mn-cs"/>
              </a:rPr>
              <a:t>Thank you</a:t>
            </a:r>
          </a:p>
        </p:txBody>
      </p:sp>
      <p:pic>
        <p:nvPicPr>
          <p:cNvPr id="17" name="Picture 16">
            <a:extLst>
              <a:ext uri="{FF2B5EF4-FFF2-40B4-BE49-F238E27FC236}">
                <a16:creationId xmlns:a16="http://schemas.microsoft.com/office/drawing/2014/main" id="{7E6D10B2-6B33-47CE-93F1-ABE7D980C050}"/>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t="-2"/>
          <a:stretch/>
        </p:blipFill>
        <p:spPr>
          <a:xfrm>
            <a:off x="27558" y="1526299"/>
            <a:ext cx="12164441" cy="5331701"/>
          </a:xfrm>
          <a:prstGeom prst="rect">
            <a:avLst/>
          </a:prstGeom>
        </p:spPr>
      </p:pic>
      <p:pic>
        <p:nvPicPr>
          <p:cNvPr id="18" name="Picture 17">
            <a:extLst>
              <a:ext uri="{FF2B5EF4-FFF2-40B4-BE49-F238E27FC236}">
                <a16:creationId xmlns:a16="http://schemas.microsoft.com/office/drawing/2014/main" id="{08731258-39CA-4C45-9D91-F71495E7DC06}"/>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974921" y="5570166"/>
            <a:ext cx="2772891" cy="970512"/>
          </a:xfrm>
          <a:prstGeom prst="rect">
            <a:avLst/>
          </a:prstGeom>
        </p:spPr>
      </p:pic>
    </p:spTree>
    <p:extLst>
      <p:ext uri="{BB962C8B-B14F-4D97-AF65-F5344CB8AC3E}">
        <p14:creationId xmlns:p14="http://schemas.microsoft.com/office/powerpoint/2010/main" val="235162189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6551A41-C742-4723-92E8-FDB2F776193D}"/>
              </a:ext>
            </a:extLst>
          </p:cNvPr>
          <p:cNvGraphicFramePr>
            <a:graphicFrameLocks noChangeAspect="1"/>
          </p:cNvGraphicFramePr>
          <p:nvPr userDrawn="1">
            <p:custDataLst>
              <p:tags r:id="rId2"/>
            </p:custDataLst>
            <p:extLst>
              <p:ext uri="{D42A27DB-BD31-4B8C-83A1-F6EECF244321}">
                <p14:modId xmlns:p14="http://schemas.microsoft.com/office/powerpoint/2010/main" val="17384721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2097" name="Diapositive think-cell" r:id="rId4" imgW="286" imgH="286" progId="TCLayout.ActiveDocument.1">
                  <p:embed/>
                </p:oleObj>
              </mc:Choice>
              <mc:Fallback>
                <p:oleObj name="Diapositive think-cell" r:id="rId4" imgW="286" imgH="286" progId="TCLayout.ActiveDocument.1">
                  <p:embed/>
                  <p:pic>
                    <p:nvPicPr>
                      <p:cNvPr id="3" name="Object 2" hidden="1">
                        <a:extLst>
                          <a:ext uri="{FF2B5EF4-FFF2-40B4-BE49-F238E27FC236}">
                            <a16:creationId xmlns:a16="http://schemas.microsoft.com/office/drawing/2014/main" id="{96551A41-C742-4723-92E8-FDB2F776193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grpSp>
        <p:nvGrpSpPr>
          <p:cNvPr id="50" name="Group 49">
            <a:extLst>
              <a:ext uri="{FF2B5EF4-FFF2-40B4-BE49-F238E27FC236}">
                <a16:creationId xmlns:a16="http://schemas.microsoft.com/office/drawing/2014/main" id="{D7E254BB-92F7-41DF-B5FB-9E58D48C86D3}"/>
              </a:ext>
            </a:extLst>
          </p:cNvPr>
          <p:cNvGrpSpPr/>
          <p:nvPr userDrawn="1"/>
        </p:nvGrpSpPr>
        <p:grpSpPr>
          <a:xfrm>
            <a:off x="-600" y="-1"/>
            <a:ext cx="12193800" cy="6858001"/>
            <a:chOff x="-600" y="-1"/>
            <a:chExt cx="12193800" cy="6858001"/>
          </a:xfrm>
        </p:grpSpPr>
        <p:sp>
          <p:nvSpPr>
            <p:cNvPr id="51" name="No fly zone">
              <a:extLst>
                <a:ext uri="{FF2B5EF4-FFF2-40B4-BE49-F238E27FC236}">
                  <a16:creationId xmlns:a16="http://schemas.microsoft.com/office/drawing/2014/main" id="{D4ADE087-A4A7-4848-9158-57FD4B0A1983}"/>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endParaRPr>
            </a:p>
          </p:txBody>
        </p:sp>
        <p:grpSp>
          <p:nvGrpSpPr>
            <p:cNvPr id="52" name="Baselines / anchors">
              <a:extLst>
                <a:ext uri="{FF2B5EF4-FFF2-40B4-BE49-F238E27FC236}">
                  <a16:creationId xmlns:a16="http://schemas.microsoft.com/office/drawing/2014/main" id="{C2EB2C12-41F8-486A-8F96-FCD0494757B9}"/>
                </a:ext>
              </a:extLst>
            </p:cNvPr>
            <p:cNvGrpSpPr/>
            <p:nvPr userDrawn="1"/>
          </p:nvGrpSpPr>
          <p:grpSpPr>
            <a:xfrm>
              <a:off x="-600" y="622800"/>
              <a:ext cx="12193200" cy="5536800"/>
              <a:chOff x="12623800" y="622800"/>
              <a:chExt cx="11176000" cy="5536800"/>
            </a:xfrm>
          </p:grpSpPr>
          <p:cxnSp>
            <p:nvCxnSpPr>
              <p:cNvPr id="77" name="Straight Connector 76">
                <a:extLst>
                  <a:ext uri="{FF2B5EF4-FFF2-40B4-BE49-F238E27FC236}">
                    <a16:creationId xmlns:a16="http://schemas.microsoft.com/office/drawing/2014/main" id="{1E6CA37E-2A52-4030-B04F-44204AC099B1}"/>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1A116F11-CAE6-471A-A3EF-0550E9C309DC}"/>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B4C603C3-8C53-4977-A75C-D7AB4B77460A}"/>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A7E333CE-6512-4D52-AF0C-A7A1643CBE62}"/>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D22CBB63-6985-482D-A95F-D484A52B13E1}"/>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639391D6-F480-436B-BD88-6D7079D03228}"/>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DB1B084B-01C6-445E-81A2-5B612AC2D253}"/>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1FC42410-102D-4EC9-B8D7-F317F91C32C0}"/>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75AC53EB-C18D-44B0-A014-7721F95E3E6C}"/>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64256923-9742-4FFF-931A-F65AD6C8A5B1}"/>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E8562D6E-F494-4F5F-BAF5-197F273210EA}"/>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18822045-4E4C-4A79-9985-43F67A2F3BD4}"/>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C4179353-3B4C-4FFC-ABA0-7D9D5D261C73}"/>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D2ECE32D-D4C8-4C08-BA90-07992539343F}"/>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D859C8BD-0DFC-4E22-B561-91A557C93D07}"/>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769ED6B1-6A4C-4268-976A-C58FE3E49AD2}"/>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6FE5DF1C-2C4D-49E8-BC87-41B656ACABE1}"/>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DF680822-0B08-41CB-BA5B-D76F141F38FB}"/>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FA17E9E-A758-468D-990B-D9D6CE6AEC80}"/>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B51FE3C8-3F51-4F86-84FE-E131C803B863}"/>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3" name="Gutter space">
              <a:extLst>
                <a:ext uri="{FF2B5EF4-FFF2-40B4-BE49-F238E27FC236}">
                  <a16:creationId xmlns:a16="http://schemas.microsoft.com/office/drawing/2014/main" id="{B2A4AF33-AA82-427F-B674-88774DF745D2}"/>
                </a:ext>
              </a:extLst>
            </p:cNvPr>
            <p:cNvGrpSpPr/>
            <p:nvPr userDrawn="1"/>
          </p:nvGrpSpPr>
          <p:grpSpPr>
            <a:xfrm>
              <a:off x="1277000" y="623550"/>
              <a:ext cx="9638000" cy="5537047"/>
              <a:chOff x="1277000" y="623550"/>
              <a:chExt cx="9638000" cy="5537047"/>
            </a:xfrm>
          </p:grpSpPr>
          <p:sp>
            <p:nvSpPr>
              <p:cNvPr id="66" name="Rectangle 34">
                <a:extLst>
                  <a:ext uri="{FF2B5EF4-FFF2-40B4-BE49-F238E27FC236}">
                    <a16:creationId xmlns:a16="http://schemas.microsoft.com/office/drawing/2014/main" id="{D58F2A4A-D9C8-471C-87FD-278637635CDA}"/>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7" name="Rectangle 35">
                <a:extLst>
                  <a:ext uri="{FF2B5EF4-FFF2-40B4-BE49-F238E27FC236}">
                    <a16:creationId xmlns:a16="http://schemas.microsoft.com/office/drawing/2014/main" id="{ECA2EB20-532D-4E12-8316-39A1F33024EC}"/>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8" name="Rectangle 36">
                <a:extLst>
                  <a:ext uri="{FF2B5EF4-FFF2-40B4-BE49-F238E27FC236}">
                    <a16:creationId xmlns:a16="http://schemas.microsoft.com/office/drawing/2014/main" id="{6AA46D17-067D-4984-BA98-3FA5D0B8D6EA}"/>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9" name="Rectangle 37">
                <a:extLst>
                  <a:ext uri="{FF2B5EF4-FFF2-40B4-BE49-F238E27FC236}">
                    <a16:creationId xmlns:a16="http://schemas.microsoft.com/office/drawing/2014/main" id="{51F8BE30-3EDA-4353-B9AF-C442387CB4E1}"/>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0" name="Rectangle 38">
                <a:extLst>
                  <a:ext uri="{FF2B5EF4-FFF2-40B4-BE49-F238E27FC236}">
                    <a16:creationId xmlns:a16="http://schemas.microsoft.com/office/drawing/2014/main" id="{D0AA0F31-276E-474F-81A4-BBE4A9A0F65E}"/>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1" name="Rectangle 39">
                <a:extLst>
                  <a:ext uri="{FF2B5EF4-FFF2-40B4-BE49-F238E27FC236}">
                    <a16:creationId xmlns:a16="http://schemas.microsoft.com/office/drawing/2014/main" id="{466CDFE6-3F93-4E7C-9C89-686C63027D60}"/>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2" name="Rectangle 40">
                <a:extLst>
                  <a:ext uri="{FF2B5EF4-FFF2-40B4-BE49-F238E27FC236}">
                    <a16:creationId xmlns:a16="http://schemas.microsoft.com/office/drawing/2014/main" id="{73F79B1B-6260-41DB-AC24-C8C959C7B798}"/>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3" name="Rectangle 41">
                <a:extLst>
                  <a:ext uri="{FF2B5EF4-FFF2-40B4-BE49-F238E27FC236}">
                    <a16:creationId xmlns:a16="http://schemas.microsoft.com/office/drawing/2014/main" id="{5AED508B-85F1-4F4B-B082-323A1332919B}"/>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4" name="Rectangle 42">
                <a:extLst>
                  <a:ext uri="{FF2B5EF4-FFF2-40B4-BE49-F238E27FC236}">
                    <a16:creationId xmlns:a16="http://schemas.microsoft.com/office/drawing/2014/main" id="{EA4D8D9C-F22F-4C4A-BCC8-16C51B065E02}"/>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5" name="Rectangle 43">
                <a:extLst>
                  <a:ext uri="{FF2B5EF4-FFF2-40B4-BE49-F238E27FC236}">
                    <a16:creationId xmlns:a16="http://schemas.microsoft.com/office/drawing/2014/main" id="{0253A87B-12C7-4382-8799-54DC11371D85}"/>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6" name="Rectangle 44">
                <a:extLst>
                  <a:ext uri="{FF2B5EF4-FFF2-40B4-BE49-F238E27FC236}">
                    <a16:creationId xmlns:a16="http://schemas.microsoft.com/office/drawing/2014/main" id="{ADC2BACD-9273-46CF-80F9-E64070409EC1}"/>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grpSp>
        <p:sp>
          <p:nvSpPr>
            <p:cNvPr id="54" name="Slide edges">
              <a:extLst>
                <a:ext uri="{FF2B5EF4-FFF2-40B4-BE49-F238E27FC236}">
                  <a16:creationId xmlns:a16="http://schemas.microsoft.com/office/drawing/2014/main" id="{01278601-2189-4626-8AB0-E0C2B36F0780}"/>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55" name="Footnote measure">
              <a:extLst>
                <a:ext uri="{FF2B5EF4-FFF2-40B4-BE49-F238E27FC236}">
                  <a16:creationId xmlns:a16="http://schemas.microsoft.com/office/drawing/2014/main" id="{A4C9CB1B-E8B3-4648-938B-BB8E3063F2A7}"/>
                </a:ext>
              </a:extLst>
            </p:cNvPr>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57" name="Whitespace measure">
              <a:extLst>
                <a:ext uri="{FF2B5EF4-FFF2-40B4-BE49-F238E27FC236}">
                  <a16:creationId xmlns:a16="http://schemas.microsoft.com/office/drawing/2014/main" id="{84FDD29F-211E-4E8F-A8A8-96F68F522ED4}"/>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grpSp>
          <p:nvGrpSpPr>
            <p:cNvPr id="58" name="Five column measure">
              <a:extLst>
                <a:ext uri="{FF2B5EF4-FFF2-40B4-BE49-F238E27FC236}">
                  <a16:creationId xmlns:a16="http://schemas.microsoft.com/office/drawing/2014/main" id="{AFBC3433-903F-458F-AD40-B2C28B19D134}"/>
                </a:ext>
              </a:extLst>
            </p:cNvPr>
            <p:cNvGrpSpPr/>
            <p:nvPr userDrawn="1"/>
          </p:nvGrpSpPr>
          <p:grpSpPr>
            <a:xfrm>
              <a:off x="629400" y="5975122"/>
              <a:ext cx="10933200" cy="79536"/>
              <a:chOff x="629400" y="5975122"/>
              <a:chExt cx="10933200" cy="79536"/>
            </a:xfrm>
          </p:grpSpPr>
          <p:sp>
            <p:nvSpPr>
              <p:cNvPr id="61" name="Rectangle 5">
                <a:extLst>
                  <a:ext uri="{FF2B5EF4-FFF2-40B4-BE49-F238E27FC236}">
                    <a16:creationId xmlns:a16="http://schemas.microsoft.com/office/drawing/2014/main" id="{9C652544-DDFB-46CA-9035-AE0805330CEF}"/>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2" name="Rectangle 7">
                <a:extLst>
                  <a:ext uri="{FF2B5EF4-FFF2-40B4-BE49-F238E27FC236}">
                    <a16:creationId xmlns:a16="http://schemas.microsoft.com/office/drawing/2014/main" id="{321551DA-A27B-4695-B6DB-ADA7126AA55F}"/>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3" name="Rectangle 9">
                <a:extLst>
                  <a:ext uri="{FF2B5EF4-FFF2-40B4-BE49-F238E27FC236}">
                    <a16:creationId xmlns:a16="http://schemas.microsoft.com/office/drawing/2014/main" id="{83FDC664-BEC6-471E-910A-3E56FCD6E30D}"/>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4" name="Rectangle 11">
                <a:extLst>
                  <a:ext uri="{FF2B5EF4-FFF2-40B4-BE49-F238E27FC236}">
                    <a16:creationId xmlns:a16="http://schemas.microsoft.com/office/drawing/2014/main" id="{573BD9D1-2408-4C8C-9DC7-C012BE0CA2A7}"/>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5" name="Rectangle 13">
                <a:extLst>
                  <a:ext uri="{FF2B5EF4-FFF2-40B4-BE49-F238E27FC236}">
                    <a16:creationId xmlns:a16="http://schemas.microsoft.com/office/drawing/2014/main" id="{32332941-464B-49EB-94D3-B19535DD5A7A}"/>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grpSp>
        <p:sp>
          <p:nvSpPr>
            <p:cNvPr id="59" name="Live area">
              <a:extLst>
                <a:ext uri="{FF2B5EF4-FFF2-40B4-BE49-F238E27FC236}">
                  <a16:creationId xmlns:a16="http://schemas.microsoft.com/office/drawing/2014/main" id="{B90CF630-23F3-4C70-8206-019674B66A6D}"/>
                </a:ext>
              </a:extLst>
            </p:cNvPr>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endParaRPr>
            </a:p>
          </p:txBody>
        </p:sp>
        <p:sp>
          <p:nvSpPr>
            <p:cNvPr id="60" name="Footnote example">
              <a:extLst>
                <a:ext uri="{FF2B5EF4-FFF2-40B4-BE49-F238E27FC236}">
                  <a16:creationId xmlns:a16="http://schemas.microsoft.com/office/drawing/2014/main" id="{8FBA1F22-6D74-45D3-B5EA-E63FDCDD1A91}"/>
                </a:ext>
              </a:extLst>
            </p:cNvPr>
            <p:cNvSpPr txBox="1"/>
            <p:nvPr/>
          </p:nvSpPr>
          <p:spPr>
            <a:xfrm>
              <a:off x="630000" y="6185991"/>
              <a:ext cx="9953693" cy="373949"/>
            </a:xfrm>
            <a:prstGeom prst="rect">
              <a:avLst/>
            </a:prstGeom>
            <a:noFill/>
          </p:spPr>
          <p:txBody>
            <a:bodyPr vert="horz" wrap="square" lIns="0" tIns="0" rIns="0" bIns="0" rtlCol="0" anchor="b" anchorCtr="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9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solidFill>
          <a:srgbClr val="EDEDED"/>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13539025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121" name="Diapositive think-cell" r:id="rId6" imgW="270" imgH="270" progId="TCLayout.ActiveDocument.1">
                  <p:embed/>
                </p:oleObj>
              </mc:Choice>
              <mc:Fallback>
                <p:oleObj name="Diapositive think-cell" r:id="rId6" imgW="270" imgH="270" progId="TCLayout.ActiveDocument.1">
                  <p:embed/>
                  <p:pic>
                    <p:nvPicPr>
                      <p:cNvPr id="3" name="Object 2"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5037"/>
            <a:ext cx="381000" cy="153888"/>
          </a:xfrm>
          <a:prstGeom prst="rect">
            <a:avLst/>
          </a:prstGeom>
          <a:noFill/>
        </p:spPr>
        <p:txBody>
          <a:bodyPr vert="horz" wrap="square" lIns="0" tIns="0" rIns="0" bIns="0" rtlCol="0" anchor="b" anchorCtr="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0" smtClean="0">
                <a:solidFill>
                  <a:srgbClr val="7F7F7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0">
              <a:solidFill>
                <a:srgbClr val="7F7F7F"/>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1" name="Rectangle 10"/>
          <p:cNvSpPr/>
          <p:nvPr userDrawn="1"/>
        </p:nvSpPr>
        <p:spPr bwMode="invGray">
          <a:xfrm>
            <a:off x="1388145" y="4691187"/>
            <a:ext cx="929337" cy="995874"/>
          </a:xfrm>
          <a:prstGeom prst="rect">
            <a:avLst/>
          </a:prstGeom>
          <a:noFill/>
          <a:ln w="9525" cap="flat" cmpd="sng" algn="ctr">
            <a:solidFill>
              <a:srgbClr val="21BF6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endParaRPr>
          </a:p>
        </p:txBody>
      </p:sp>
      <p:sp>
        <p:nvSpPr>
          <p:cNvPr id="12" name="Rectangle 11"/>
          <p:cNvSpPr/>
          <p:nvPr userDrawn="1">
            <p:custDataLst>
              <p:tags r:id="rId4"/>
            </p:custDataLst>
          </p:nvPr>
        </p:nvSpPr>
        <p:spPr>
          <a:xfrm>
            <a:off x="2509482" y="4691187"/>
            <a:ext cx="1570152" cy="1468176"/>
          </a:xfrm>
          <a:prstGeom prst="rect">
            <a:avLst/>
          </a:prstGeom>
          <a:noFill/>
          <a:ln w="9525" cap="flat" cmpd="sng" algn="ctr">
            <a:solidFill>
              <a:srgbClr val="21BF61"/>
            </a:solidFill>
            <a:prstDash val="solid"/>
            <a:miter lim="800000"/>
            <a:headEnd type="none" w="med" len="med"/>
            <a:tailEnd type="none" w="med" len="med"/>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endParaRPr>
          </a:p>
        </p:txBody>
      </p:sp>
      <p:sp>
        <p:nvSpPr>
          <p:cNvPr id="2" name="TextBox 1"/>
          <p:cNvSpPr txBox="1"/>
          <p:nvPr userDrawn="1"/>
        </p:nvSpPr>
        <p:spPr>
          <a:xfrm>
            <a:off x="630000" y="907199"/>
            <a:ext cx="3448800" cy="3488400"/>
          </a:xfrm>
          <a:prstGeom prst="rect">
            <a:avLst/>
          </a:prstGeom>
          <a:noFill/>
          <a:ln w="9525" cap="flat" cmpd="sng" algn="ctr">
            <a:solidFill>
              <a:srgbClr val="21BF61"/>
            </a:solidFill>
            <a:prstDash val="solid"/>
            <a:round/>
            <a:headEnd type="none" w="med" len="med"/>
            <a:tailEnd type="none" w="med" len="med"/>
          </a:ln>
        </p:spPr>
        <p:txBody>
          <a:bodyPr wrap="square" lIns="612000" tIns="468000" rIns="0" bIns="0" rtlCol="0" anchor="t">
            <a:noAutofit/>
          </a:bodyPr>
          <a:lstStyle/>
          <a:p>
            <a:pPr>
              <a:lnSpc>
                <a:spcPct val="90000"/>
              </a:lnSpc>
              <a:spcAft>
                <a:spcPts val="600"/>
              </a:spcAft>
            </a:pPr>
            <a:endParaRPr lang="en-US" sz="5400">
              <a:solidFill>
                <a:schemeClr val="bg1"/>
              </a:solidFill>
              <a:latin typeface="+mn-lt"/>
              <a:ea typeface="+mn-ea"/>
              <a:cs typeface="+mn-cs"/>
            </a:endParaRPr>
          </a:p>
        </p:txBody>
      </p:sp>
      <p:sp>
        <p:nvSpPr>
          <p:cNvPr id="10" name="TextBox 1"/>
          <p:cNvSpPr txBox="1"/>
          <p:nvPr userDrawn="1"/>
        </p:nvSpPr>
        <p:spPr>
          <a:xfrm>
            <a:off x="1199396" y="1115416"/>
            <a:ext cx="2309287" cy="881780"/>
          </a:xfrm>
          <a:prstGeom prst="rect">
            <a:avLst/>
          </a:prstGeom>
          <a:noFill/>
        </p:spPr>
        <p:txBody>
          <a:bodyPr wrap="none" rtlCol="0">
            <a:spAutoFit/>
          </a:bodyPr>
          <a:lstStyle/>
          <a:p>
            <a:pPr algn="ctr" fontAlgn="auto">
              <a:lnSpc>
                <a:spcPct val="95000"/>
              </a:lnSpc>
              <a:spcBef>
                <a:spcPts val="0"/>
              </a:spcBef>
              <a:spcAft>
                <a:spcPts val="0"/>
              </a:spcAft>
            </a:pPr>
            <a:r>
              <a:rPr lang="en-US" sz="5400">
                <a:solidFill>
                  <a:srgbClr val="21BF61"/>
                </a:solidFill>
                <a:latin typeface="+mj-lt"/>
                <a:ea typeface="+mn-ea"/>
                <a:cs typeface="+mn-cs"/>
              </a:rPr>
              <a:t>Agenda</a:t>
            </a:r>
          </a:p>
        </p:txBody>
      </p:sp>
    </p:spTree>
    <p:extLst>
      <p:ext uri="{BB962C8B-B14F-4D97-AF65-F5344CB8AC3E}">
        <p14:creationId xmlns:p14="http://schemas.microsoft.com/office/powerpoint/2010/main" val="25703140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Beyond layout 12">
    <p:bg bwMode="grayWhite">
      <p:bgPr>
        <a:solidFill>
          <a:srgbClr val="EDEDED"/>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7" name="Diapositive think-cell" r:id="rId5" imgW="352" imgH="355" progId="TCLayout.ActiveDocument.1">
                  <p:embed/>
                </p:oleObj>
              </mc:Choice>
              <mc:Fallback>
                <p:oleObj name="Diapositive think-cell"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4400">
              <a:solidFill>
                <a:srgbClr val="FFFFFF"/>
              </a:solidFill>
              <a:latin typeface="Henderson BCG Sans" panose="020B0502030402020204" pitchFamily="34" charset="0"/>
              <a:sym typeface="Henderson BCG Sans" panose="020B0502030402020204" pitchFamily="34" charset="0"/>
            </a:endParaRPr>
          </a:p>
        </p:txBody>
      </p:sp>
      <p:pic>
        <p:nvPicPr>
          <p:cNvPr id="11" name="Picture 10"/>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rgbClr val="F8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kern="0">
              <a:solidFill>
                <a:prstClr val="white"/>
              </a:solidFill>
              <a:sym typeface="+mn-lt"/>
            </a:endParaRPr>
          </a:p>
        </p:txBody>
      </p:sp>
      <p:sp>
        <p:nvSpPr>
          <p:cNvPr id="13" name="Picture Placeholder 18"/>
          <p:cNvSpPr>
            <a:spLocks noGrp="1"/>
          </p:cNvSpPr>
          <p:nvPr>
            <p:ph type="pic" sz="quarter" idx="14" hasCustomPrompt="1"/>
          </p:nvPr>
        </p:nvSpPr>
        <p:spPr>
          <a:xfrm>
            <a:off x="0" y="0"/>
            <a:ext cx="6095999" cy="6858000"/>
          </a:xfrm>
          <a:prstGeom prst="rect">
            <a:avLst/>
          </a:prstGeom>
          <a:noFill/>
        </p:spPr>
        <p:txBody>
          <a:bodyPr lIns="914400" tIns="914400" rIns="914400" bIns="914400"/>
          <a:lstStyle>
            <a:lvl1pPr algn="ctr">
              <a:defRPr sz="1800" kern="0" baseline="0">
                <a:latin typeface="+mn-lt"/>
                <a:ea typeface="+mn-ea"/>
                <a:cs typeface="+mn-cs"/>
                <a:sym typeface="+mn-lt"/>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875998" y="1785600"/>
            <a:ext cx="4388400" cy="3286801"/>
          </a:xfrm>
          <a:prstGeom prst="rect">
            <a:avLst/>
          </a:prstGeom>
          <a:noFill/>
        </p:spPr>
        <p:txBody>
          <a:bodyPr vert="horz" wrap="square" lIns="0" tIns="0" rIns="320040" bIns="0" anchor="ctr">
            <a:noAutofit/>
          </a:bodyPr>
          <a:lstStyle>
            <a:lvl1pPr>
              <a:defRPr sz="4400" kern="0">
                <a:solidFill>
                  <a:srgbClr val="21BF61"/>
                </a:solidFill>
                <a:latin typeface="+mj-lt"/>
                <a:ea typeface="+mj-ea"/>
                <a:cs typeface="+mj-cs"/>
                <a:sym typeface="+mj-lt"/>
              </a:defRPr>
            </a:lvl1pPr>
          </a:lstStyle>
          <a:p>
            <a:r>
              <a:rPr lang="en-US"/>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kern="0" smtClean="0">
                <a:solidFill>
                  <a:prstClr val="white">
                    <a:lumMod val="50000"/>
                  </a:prstClr>
                </a:solidFill>
                <a:sym typeface="+mn-lt"/>
              </a:rPr>
              <a:pPr algn="r">
                <a:defRPr/>
              </a:pPr>
              <a:t>‹#›</a:t>
            </a:fld>
            <a:endParaRPr lang="en-US" sz="800" kern="0">
              <a:solidFill>
                <a:prstClr val="white">
                  <a:lumMod val="50000"/>
                </a:prstClr>
              </a:solidFill>
              <a:sym typeface="+mn-lt"/>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kern="0">
                <a:solidFill>
                  <a:schemeClr val="bg1">
                    <a:lumMod val="50000"/>
                  </a:schemeClr>
                </a:solidFill>
                <a:latin typeface="+mn-lt"/>
                <a:ea typeface="+mn-ea"/>
                <a:cs typeface="+mn-cs"/>
                <a:sym typeface="+mn-lt"/>
              </a:defRPr>
            </a:lvl1pPr>
          </a:lstStyle>
          <a:p>
            <a:endParaRPr lang="en-US">
              <a:solidFill>
                <a:prstClr val="white">
                  <a:lumMod val="50000"/>
                </a:prstClr>
              </a:solidFill>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mn-lt"/>
              </a:rPr>
              <a:t>Copyright © 2022 by Boston Consulting Group. All rights reserved.</a:t>
            </a:r>
          </a:p>
        </p:txBody>
      </p:sp>
    </p:spTree>
    <p:extLst>
      <p:ext uri="{BB962C8B-B14F-4D97-AF65-F5344CB8AC3E}">
        <p14:creationId xmlns:p14="http://schemas.microsoft.com/office/powerpoint/2010/main" val="238997579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solidFill>
          <a:srgbClr val="EDEDED"/>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1874324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4145" name="Diapositive think-cell" r:id="rId5" imgW="270" imgH="270" progId="TCLayout.ActiveDocument.1">
                  <p:embed/>
                </p:oleObj>
              </mc:Choice>
              <mc:Fallback>
                <p:oleObj name="Diapositive think-cell"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5037"/>
            <a:ext cx="381000" cy="153888"/>
          </a:xfrm>
          <a:prstGeom prst="rect">
            <a:avLst/>
          </a:prstGeom>
          <a:noFill/>
        </p:spPr>
        <p:txBody>
          <a:bodyPr vert="horz" wrap="square" lIns="0" tIns="0" rIns="0" bIns="0" rtlCol="0" anchor="b" anchorCtr="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0" smtClean="0">
                <a:solidFill>
                  <a:srgbClr val="7F7F7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0">
              <a:solidFill>
                <a:srgbClr val="7F7F7F"/>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0" name="Rectangle 9"/>
          <p:cNvSpPr/>
          <p:nvPr userDrawn="1"/>
        </p:nvSpPr>
        <p:spPr bwMode="white">
          <a:xfrm>
            <a:off x="1284743" y="1428131"/>
            <a:ext cx="947672" cy="947672"/>
          </a:xfrm>
          <a:prstGeom prst="rect">
            <a:avLst/>
          </a:prstGeom>
          <a:noFill/>
          <a:ln w="9525" cap="flat" cmpd="sng" algn="ctr">
            <a:solidFill>
              <a:srgbClr val="21BF6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cap="flat" cmpd="sng" algn="ctr">
            <a:solidFill>
              <a:srgbClr val="21BF6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endParaRPr>
          </a:p>
        </p:txBody>
      </p:sp>
    </p:spTree>
    <p:extLst>
      <p:ext uri="{BB962C8B-B14F-4D97-AF65-F5344CB8AC3E}">
        <p14:creationId xmlns:p14="http://schemas.microsoft.com/office/powerpoint/2010/main" val="3729285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solidFill>
          <a:srgbClr val="EDEDED"/>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9366831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5169" name="Diapositive think-cell" r:id="rId5" imgW="270" imgH="270" progId="TCLayout.ActiveDocument.1">
                  <p:embed/>
                </p:oleObj>
              </mc:Choice>
              <mc:Fallback>
                <p:oleObj name="Diapositive think-cell"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5037"/>
            <a:ext cx="381000" cy="153888"/>
          </a:xfrm>
          <a:prstGeom prst="rect">
            <a:avLst/>
          </a:prstGeom>
          <a:noFill/>
        </p:spPr>
        <p:txBody>
          <a:bodyPr vert="horz" wrap="square" lIns="0" tIns="0" rIns="0" bIns="0" rtlCol="0" anchor="b" anchorCtr="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0" smtClean="0">
                <a:solidFill>
                  <a:srgbClr val="7F7F7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0">
              <a:solidFill>
                <a:srgbClr val="7F7F7F"/>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rgbClr val="21BF61"/>
                </a:solidFill>
                <a:latin typeface="+mj-lt"/>
                <a:ea typeface="+mn-ea"/>
                <a:cs typeface="+mn-cs"/>
              </a:rPr>
              <a:t>Agenda</a:t>
            </a:r>
          </a:p>
        </p:txBody>
      </p:sp>
      <p:cxnSp>
        <p:nvCxnSpPr>
          <p:cNvPr id="13" name="Straight Connector 12"/>
          <p:cNvCxnSpPr/>
          <p:nvPr userDrawn="1"/>
        </p:nvCxnSpPr>
        <p:spPr bwMode="white">
          <a:xfrm>
            <a:off x="618898" y="1206000"/>
            <a:ext cx="11576304" cy="0"/>
          </a:xfrm>
          <a:prstGeom prst="line">
            <a:avLst/>
          </a:prstGeom>
          <a:ln w="9525" cap="flat" cmpd="sng" algn="ctr">
            <a:solidFill>
              <a:srgbClr val="21BF6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solidFill>
          <a:srgbClr val="EDEDED"/>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39066514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6193" name="Diapositive think-cell" r:id="rId5" imgW="270" imgH="270" progId="TCLayout.ActiveDocument.1">
                  <p:embed/>
                </p:oleObj>
              </mc:Choice>
              <mc:Fallback>
                <p:oleObj name="Diapositive think-cell"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5" name="TextBox 14"/>
          <p:cNvSpPr txBox="1"/>
          <p:nvPr userDrawn="1"/>
        </p:nvSpPr>
        <p:spPr>
          <a:xfrm>
            <a:off x="11167872" y="6405037"/>
            <a:ext cx="381000" cy="153888"/>
          </a:xfrm>
          <a:prstGeom prst="rect">
            <a:avLst/>
          </a:prstGeom>
          <a:noFill/>
        </p:spPr>
        <p:txBody>
          <a:bodyPr vert="horz" wrap="square" lIns="0" tIns="0" rIns="0" bIns="0" rtlCol="0" anchor="b" anchorCtr="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0" smtClean="0">
                <a:solidFill>
                  <a:srgbClr val="7F7F7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0">
              <a:solidFill>
                <a:srgbClr val="7F7F7F"/>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a:solidFill>
                  <a:srgbClr val="21BF61"/>
                </a:solidFill>
                <a:latin typeface="+mj-lt"/>
                <a:ea typeface="+mn-ea"/>
                <a:cs typeface="+mn-cs"/>
              </a:rPr>
              <a:t>Agenda</a:t>
            </a:r>
          </a:p>
        </p:txBody>
      </p:sp>
    </p:spTree>
    <p:extLst>
      <p:ext uri="{BB962C8B-B14F-4D97-AF65-F5344CB8AC3E}">
        <p14:creationId xmlns:p14="http://schemas.microsoft.com/office/powerpoint/2010/main" val="22701909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7595839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7217" name="Diapositive think-cell" r:id="rId5" imgW="270" imgH="270" progId="TCLayout.ActiveDocument.1">
                  <p:embed/>
                </p:oleObj>
              </mc:Choice>
              <mc:Fallback>
                <p:oleObj name="Diapositive think-cell"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8" name="Rectangle 7"/>
          <p:cNvSpPr/>
          <p:nvPr userDrawn="1"/>
        </p:nvSpPr>
        <p:spPr bwMode="invGray">
          <a:xfrm>
            <a:off x="1388145" y="4691187"/>
            <a:ext cx="929337" cy="995874"/>
          </a:xfrm>
          <a:prstGeom prst="rect">
            <a:avLst/>
          </a:prstGeom>
          <a:noFill/>
          <a:ln w="9525">
            <a:solidFill>
              <a:srgbClr val="00F26D"/>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rgbClr val="00F26D"/>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endParaRPr>
          </a:p>
        </p:txBody>
      </p:sp>
      <p:sp>
        <p:nvSpPr>
          <p:cNvPr id="11" name="TextBox 10"/>
          <p:cNvSpPr txBox="1"/>
          <p:nvPr userDrawn="1"/>
        </p:nvSpPr>
        <p:spPr>
          <a:xfrm>
            <a:off x="630000" y="907199"/>
            <a:ext cx="3448800" cy="3488400"/>
          </a:xfrm>
          <a:prstGeom prst="rect">
            <a:avLst/>
          </a:prstGeom>
          <a:noFill/>
          <a:ln w="9525" cap="flat" cmpd="sng" algn="ctr">
            <a:solidFill>
              <a:srgbClr val="21BF61"/>
            </a:solidFill>
            <a:prstDash val="solid"/>
            <a:round/>
            <a:headEnd type="none" w="med" len="med"/>
            <a:tailEnd type="none" w="med" len="med"/>
          </a:ln>
        </p:spPr>
        <p:txBody>
          <a:bodyPr wrap="square" lIns="612000" tIns="468000" rIns="0" bIns="0" rtlCol="0" anchor="t">
            <a:noAutofit/>
          </a:bodyPr>
          <a:lstStyle/>
          <a:p>
            <a:pPr>
              <a:lnSpc>
                <a:spcPct val="90000"/>
              </a:lnSpc>
              <a:spcAft>
                <a:spcPts val="600"/>
              </a:spcAft>
            </a:pPr>
            <a:endParaRPr lang="en-US" sz="5400">
              <a:solidFill>
                <a:schemeClr val="accent4"/>
              </a:solidFill>
              <a:latin typeface="+mn-lt"/>
              <a:ea typeface="+mn-ea"/>
              <a:cs typeface="+mn-cs"/>
            </a:endParaRPr>
          </a:p>
        </p:txBody>
      </p:sp>
      <p:sp>
        <p:nvSpPr>
          <p:cNvPr id="9" name="TextBox 1"/>
          <p:cNvSpPr txBox="1"/>
          <p:nvPr userDrawn="1"/>
        </p:nvSpPr>
        <p:spPr>
          <a:xfrm>
            <a:off x="1199396" y="1115416"/>
            <a:ext cx="2309287"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a:solidFill>
                  <a:srgbClr val="21BF61"/>
                </a:solidFill>
                <a:latin typeface="+mj-lt"/>
                <a:ea typeface="+mn-ea"/>
                <a:cs typeface="+mn-cs"/>
              </a:rPr>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355430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8241" name="Diapositive think-cell" r:id="rId4" imgW="270" imgH="270" progId="TCLayout.ActiveDocument.1">
                  <p:embed/>
                </p:oleObj>
              </mc:Choice>
              <mc:Fallback>
                <p:oleObj name="Diapositive think-cell"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8" name="Rectangle 7"/>
          <p:cNvSpPr/>
          <p:nvPr userDrawn="1"/>
        </p:nvSpPr>
        <p:spPr bwMode="white">
          <a:xfrm>
            <a:off x="1284743" y="1428131"/>
            <a:ext cx="947672" cy="947672"/>
          </a:xfrm>
          <a:prstGeom prst="rect">
            <a:avLst/>
          </a:prstGeom>
          <a:noFill/>
          <a:ln w="9525" cap="flat" cmpd="sng" algn="ctr">
            <a:solidFill>
              <a:srgbClr val="21BF6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cap="flat" cmpd="sng" algn="ctr">
            <a:solidFill>
              <a:srgbClr val="21BF6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205599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9265" name="Diapositive think-cell" r:id="rId4" imgW="270" imgH="270" progId="TCLayout.ActiveDocument.1">
                  <p:embed/>
                </p:oleObj>
              </mc:Choice>
              <mc:Fallback>
                <p:oleObj name="Diapositive think-cell"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b="0">
                <a:solidFill>
                  <a:srgbClr val="21BF61"/>
                </a:solidFill>
                <a:latin typeface="+mj-lt"/>
                <a:ea typeface="+mn-ea"/>
                <a:cs typeface="+mn-cs"/>
              </a:rPr>
              <a:t>Agenda</a:t>
            </a:r>
          </a:p>
        </p:txBody>
      </p:sp>
      <p:cxnSp>
        <p:nvCxnSpPr>
          <p:cNvPr id="9" name="Straight Connector 8"/>
          <p:cNvCxnSpPr/>
          <p:nvPr userDrawn="1"/>
        </p:nvCxnSpPr>
        <p:spPr bwMode="white">
          <a:xfrm>
            <a:off x="618898" y="1206000"/>
            <a:ext cx="11576304" cy="0"/>
          </a:xfrm>
          <a:prstGeom prst="line">
            <a:avLst/>
          </a:prstGeom>
          <a:ln w="9525" cap="flat" cmpd="sng" algn="ctr">
            <a:solidFill>
              <a:srgbClr val="21BF6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solidFill>
          <a:srgbClr val="EDEDED"/>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14079401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0289" name="Diapositive think-cell" r:id="rId5" imgW="270" imgH="270" progId="TCLayout.ActiveDocument.1">
                  <p:embed/>
                </p:oleObj>
              </mc:Choice>
              <mc:Fallback>
                <p:oleObj name="Diapositive think-cell"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28" name="TextBox 27"/>
          <p:cNvSpPr txBox="1"/>
          <p:nvPr userDrawn="1"/>
        </p:nvSpPr>
        <p:spPr>
          <a:xfrm>
            <a:off x="11167872" y="6405037"/>
            <a:ext cx="381000" cy="153888"/>
          </a:xfrm>
          <a:prstGeom prst="rect">
            <a:avLst/>
          </a:prstGeom>
          <a:noFill/>
        </p:spPr>
        <p:txBody>
          <a:bodyPr vert="horz" wrap="square" lIns="0" tIns="0" rIns="0" bIns="0" rtlCol="0" anchor="b" anchorCtr="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0" smtClean="0">
                <a:solidFill>
                  <a:srgbClr val="7F7F7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0">
              <a:solidFill>
                <a:srgbClr val="7F7F7F"/>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a:solidFill>
                  <a:srgbClr val="21BF61"/>
                </a:solidFill>
                <a:latin typeface="+mj-lt"/>
                <a:ea typeface="+mn-ea"/>
                <a:cs typeface="+mn-cs"/>
              </a:rPr>
              <a:t>Agenda</a:t>
            </a:r>
          </a:p>
        </p:txBody>
      </p:sp>
    </p:spTree>
    <p:extLst>
      <p:ext uri="{BB962C8B-B14F-4D97-AF65-F5344CB8AC3E}">
        <p14:creationId xmlns:p14="http://schemas.microsoft.com/office/powerpoint/2010/main" val="17847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solidFill>
          <a:srgbClr val="EDEDED"/>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35497538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1313" name="Diapositive think-cell" r:id="rId5" imgW="270" imgH="270" progId="TCLayout.ActiveDocument.1">
                  <p:embed/>
                </p:oleObj>
              </mc:Choice>
              <mc:Fallback>
                <p:oleObj name="Diapositive think-cell"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rgbClr val="21BF61"/>
                </a:solidFill>
                <a:latin typeface="+mj-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9" name="TextBox 18"/>
          <p:cNvSpPr txBox="1"/>
          <p:nvPr userDrawn="1"/>
        </p:nvSpPr>
        <p:spPr>
          <a:xfrm>
            <a:off x="11167872" y="6405037"/>
            <a:ext cx="381000" cy="153888"/>
          </a:xfrm>
          <a:prstGeom prst="rect">
            <a:avLst/>
          </a:prstGeom>
          <a:noFill/>
        </p:spPr>
        <p:txBody>
          <a:bodyPr vert="horz" wrap="square" lIns="0" tIns="0" rIns="0" bIns="0" rtlCol="0" anchor="b" anchorCtr="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0" smtClean="0">
                <a:solidFill>
                  <a:srgbClr val="7F7F7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0">
              <a:solidFill>
                <a:srgbClr val="7F7F7F"/>
              </a:solidFill>
              <a:latin typeface="+mn-lt"/>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userDrawn="1">
  <p:cSld name="Title Slide 15">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5449031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2337" name="Diapositive think-cell" r:id="rId5" imgW="384" imgH="384" progId="TCLayout.ActiveDocument.1">
                  <p:embed/>
                </p:oleObj>
              </mc:Choice>
              <mc:Fallback>
                <p:oleObj name="Diapositive think-cell"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FA7F754D-7090-4C45-9501-3713D8B252DE}"/>
              </a:ext>
            </a:extLst>
          </p:cNvPr>
          <p:cNvPicPr>
            <a:picLocks noChangeAspect="1"/>
          </p:cNvPicPr>
          <p:nvPr userDrawn="1"/>
        </p:nvPicPr>
        <p:blipFill>
          <a:blip r:embed="rId7"/>
          <a:stretch>
            <a:fillRect/>
          </a:stretch>
        </p:blipFill>
        <p:spPr>
          <a:xfrm>
            <a:off x="0" y="0"/>
            <a:ext cx="12192000" cy="6858000"/>
          </a:xfrm>
          <a:prstGeom prst="rect">
            <a:avLst/>
          </a:prstGeom>
        </p:spPr>
      </p:pic>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sp>
        <p:nvSpPr>
          <p:cNvPr id="56" name="Text Placeholder 8">
            <a:extLst>
              <a:ext uri="{FF2B5EF4-FFF2-40B4-BE49-F238E27FC236}">
                <a16:creationId xmlns:a16="http://schemas.microsoft.com/office/drawing/2014/main" id="{6EDB98C5-D7BE-4C40-9A2F-B1D6DD47EC98}"/>
              </a:ext>
            </a:extLst>
          </p:cNvPr>
          <p:cNvSpPr>
            <a:spLocks noGrp="1"/>
          </p:cNvSpPr>
          <p:nvPr>
            <p:ph type="body" sz="quarter" idx="15" hasCustomPrompt="1"/>
          </p:nvPr>
        </p:nvSpPr>
        <p:spPr>
          <a:xfrm>
            <a:off x="1117416" y="5715105"/>
            <a:ext cx="5528014" cy="327149"/>
          </a:xfrm>
          <a:prstGeom prst="rect">
            <a:avLst/>
          </a:prstGeom>
        </p:spPr>
        <p:txBody>
          <a:bodyPr vert="horz" wrap="square" lIns="0" tIns="0" rIns="0" bIns="0" anchor="ctr" anchorCtr="0">
            <a:normAutofit/>
          </a:bodyPr>
          <a:lstStyle>
            <a:lvl1pPr>
              <a:buNone/>
              <a:defRPr sz="1200" b="1" kern="0" cap="all" baseline="0">
                <a:solidFill>
                  <a:schemeClr val="bg1"/>
                </a:solidFill>
                <a:latin typeface="+mn-lt"/>
                <a:ea typeface="+mn-ea"/>
                <a:cs typeface="+mn-cs"/>
              </a:defRPr>
            </a:lvl1pPr>
          </a:lstStyle>
          <a:p>
            <a:pPr lvl="0"/>
            <a:r>
              <a:rPr lang="en-US"/>
              <a:t>Click to edit date/place</a:t>
            </a:r>
          </a:p>
        </p:txBody>
      </p:sp>
      <p:sp>
        <p:nvSpPr>
          <p:cNvPr id="9" name="Text Placeholder 8">
            <a:extLst>
              <a:ext uri="{FF2B5EF4-FFF2-40B4-BE49-F238E27FC236}">
                <a16:creationId xmlns:a16="http://schemas.microsoft.com/office/drawing/2014/main" id="{44CEB0F6-9E52-4856-9623-686C6B7D01B3}"/>
              </a:ext>
            </a:extLst>
          </p:cNvPr>
          <p:cNvSpPr>
            <a:spLocks noGrp="1"/>
          </p:cNvSpPr>
          <p:nvPr>
            <p:ph type="body" sz="quarter" idx="14" hasCustomPrompt="1"/>
          </p:nvPr>
        </p:nvSpPr>
        <p:spPr>
          <a:xfrm>
            <a:off x="1117414" y="4184612"/>
            <a:ext cx="5528015" cy="436195"/>
          </a:xfrm>
          <a:prstGeom prst="rect">
            <a:avLst/>
          </a:prstGeom>
        </p:spPr>
        <p:txBody>
          <a:bodyPr vert="horz" wrap="square" lIns="0" tIns="0" rIns="0" bIns="0" anchor="t" anchorCtr="0">
            <a:noAutofit/>
          </a:bodyPr>
          <a:lstStyle>
            <a:lvl1pPr>
              <a:buNone/>
              <a:defRPr sz="2000">
                <a:solidFill>
                  <a:schemeClr val="bg1"/>
                </a:solidFill>
                <a:latin typeface="+mn-lt"/>
                <a:ea typeface="+mn-ea"/>
                <a:cs typeface="+mn-cs"/>
              </a:defRPr>
            </a:lvl1pPr>
          </a:lstStyle>
          <a:p>
            <a:pPr lvl="0"/>
            <a:r>
              <a:rPr lang="en-US"/>
              <a:t>Subtitle in sentence case</a:t>
            </a:r>
          </a:p>
        </p:txBody>
      </p:sp>
      <p:cxnSp>
        <p:nvCxnSpPr>
          <p:cNvPr id="55" name="Straight Connector 54">
            <a:extLst>
              <a:ext uri="{FF2B5EF4-FFF2-40B4-BE49-F238E27FC236}">
                <a16:creationId xmlns:a16="http://schemas.microsoft.com/office/drawing/2014/main" id="{44F334D6-511D-4B62-85DA-2CEA459D78B6}"/>
              </a:ext>
            </a:extLst>
          </p:cNvPr>
          <p:cNvCxnSpPr>
            <a:cxnSpLocks/>
          </p:cNvCxnSpPr>
          <p:nvPr userDrawn="1"/>
        </p:nvCxnSpPr>
        <p:spPr>
          <a:xfrm>
            <a:off x="1117414" y="5226508"/>
            <a:ext cx="5164116" cy="0"/>
          </a:xfrm>
          <a:prstGeom prst="line">
            <a:avLst/>
          </a:prstGeom>
          <a:ln w="9525" cap="rnd">
            <a:solidFill>
              <a:schemeClr val="bg1"/>
            </a:solidFill>
            <a:prstDash val="solid"/>
            <a:round/>
          </a:ln>
        </p:spPr>
        <p:style>
          <a:lnRef idx="1">
            <a:schemeClr val="accent1"/>
          </a:lnRef>
          <a:fillRef idx="0">
            <a:schemeClr val="accent1"/>
          </a:fillRef>
          <a:effectRef idx="0">
            <a:schemeClr val="accent1"/>
          </a:effectRef>
          <a:fontRef idx="minor">
            <a:schemeClr val="tx1"/>
          </a:fontRef>
        </p:style>
      </p:cxnSp>
      <p:sp>
        <p:nvSpPr>
          <p:cNvPr id="27" name="Title 1"/>
          <p:cNvSpPr>
            <a:spLocks noGrp="1"/>
          </p:cNvSpPr>
          <p:nvPr>
            <p:ph type="ctrTitle"/>
          </p:nvPr>
        </p:nvSpPr>
        <p:spPr bwMode="ltGray">
          <a:xfrm>
            <a:off x="1117416" y="2283945"/>
            <a:ext cx="5528014" cy="1678995"/>
          </a:xfrm>
          <a:prstGeom prst="rect">
            <a:avLst/>
          </a:prstGeom>
        </p:spPr>
        <p:txBody>
          <a:bodyPr vert="horz" anchor="b">
            <a:normAutofit/>
          </a:bodyPr>
          <a:lstStyle>
            <a:lvl1pPr algn="l">
              <a:lnSpc>
                <a:spcPct val="93000"/>
              </a:lnSpc>
              <a:defRPr sz="5400" baseline="0">
                <a:solidFill>
                  <a:schemeClr val="bg1"/>
                </a:solidFill>
                <a:latin typeface="+mj-lt"/>
                <a:ea typeface="+mj-ea"/>
                <a:cs typeface="+mj-cs"/>
                <a:sym typeface="Trebuchet MS" panose="020B0603020202020204" pitchFamily="34" charset="0"/>
              </a:defRPr>
            </a:lvl1pPr>
          </a:lstStyle>
          <a:p>
            <a:r>
              <a:rPr lang="en-US"/>
              <a:t>Click to edit Master title style</a:t>
            </a:r>
          </a:p>
        </p:txBody>
      </p:sp>
    </p:spTree>
    <p:extLst>
      <p:ext uri="{BB962C8B-B14F-4D97-AF65-F5344CB8AC3E}">
        <p14:creationId xmlns:p14="http://schemas.microsoft.com/office/powerpoint/2010/main" val="98775380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800" b="0" i="0">
                <a:solidFill>
                  <a:srgbClr val="9A9CA1"/>
                </a:solidFill>
                <a:latin typeface="Trebuchet MS"/>
                <a:cs typeface="Trebuchet MS"/>
              </a:defRPr>
            </a:lvl1pPr>
          </a:lstStyle>
          <a:p>
            <a:endParaRPr/>
          </a:p>
        </p:txBody>
      </p:sp>
      <p:sp>
        <p:nvSpPr>
          <p:cNvPr id="3" name="Holder 3"/>
          <p:cNvSpPr>
            <a:spLocks noGrp="1"/>
          </p:cNvSpPr>
          <p:nvPr>
            <p:ph type="body" idx="1"/>
          </p:nvPr>
        </p:nvSpPr>
        <p:spPr/>
        <p:txBody>
          <a:bodyPr lIns="0" tIns="0" rIns="0" bIns="0"/>
          <a:lstStyle>
            <a:lvl1pPr>
              <a:defRPr sz="2800" b="0" i="0">
                <a:solidFill>
                  <a:srgbClr val="9A9CA1"/>
                </a:solidFill>
                <a:latin typeface="Trebuchet MS"/>
                <a:cs typeface="Trebuchet MS"/>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endParaRPr lang="en-US"/>
          </a:p>
        </p:txBody>
      </p:sp>
      <p:sp>
        <p:nvSpPr>
          <p:cNvPr id="6" name="Holder 6"/>
          <p:cNvSpPr>
            <a:spLocks noGrp="1"/>
          </p:cNvSpPr>
          <p:nvPr>
            <p:ph type="sldNum" sz="quarter" idx="7"/>
          </p:nvPr>
        </p:nvSpPr>
        <p:spPr/>
        <p:txBody>
          <a:bodyPr lIns="0" tIns="0" rIns="0" bIns="0"/>
          <a:lstStyle>
            <a:lvl1pPr>
              <a:defRPr sz="1050" b="0" i="0">
                <a:solidFill>
                  <a:srgbClr val="7E7E7E"/>
                </a:solidFill>
                <a:latin typeface="Microsoft Sans Serif"/>
                <a:cs typeface="Microsoft Sans Serif"/>
              </a:defRPr>
            </a:lvl1pPr>
          </a:lstStyle>
          <a:p>
            <a:pPr marL="38100">
              <a:lnSpc>
                <a:spcPts val="1255"/>
              </a:lnSpc>
            </a:pPr>
            <a:fld id="{81D60167-4931-47E6-BA6A-407CBD079E47}" type="slidenum">
              <a:rPr spc="-45" dirty="0"/>
              <a:t>‹#›</a:t>
            </a:fld>
            <a:endParaRPr spc="-45"/>
          </a:p>
        </p:txBody>
      </p:sp>
    </p:spTree>
    <p:extLst>
      <p:ext uri="{BB962C8B-B14F-4D97-AF65-F5344CB8AC3E}">
        <p14:creationId xmlns:p14="http://schemas.microsoft.com/office/powerpoint/2010/main" val="263835958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Beyond layout 13">
    <p:bg bwMode="grayWhite">
      <p:bgPr>
        <a:solidFill>
          <a:srgbClr val="EDEDED"/>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1" name="Diapositive think-cell" r:id="rId5" imgW="352" imgH="355" progId="TCLayout.ActiveDocument.1">
                  <p:embed/>
                </p:oleObj>
              </mc:Choice>
              <mc:Fallback>
                <p:oleObj name="Diapositive think-cell"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4400">
              <a:solidFill>
                <a:srgbClr val="FFFFFF"/>
              </a:solidFill>
              <a:latin typeface="Henderson BCG Sans" panose="020B0502030402020204" pitchFamily="34" charset="0"/>
              <a:sym typeface="Henderson BCG Sans" panose="020B0502030402020204" pitchFamily="34" charset="0"/>
            </a:endParaRPr>
          </a:p>
        </p:txBody>
      </p:sp>
      <p:sp>
        <p:nvSpPr>
          <p:cNvPr id="13" name="Picture Placeholder 18"/>
          <p:cNvSpPr>
            <a:spLocks noGrp="1"/>
          </p:cNvSpPr>
          <p:nvPr>
            <p:ph type="pic" sz="quarter" idx="14" hasCustomPrompt="1"/>
          </p:nvPr>
        </p:nvSpPr>
        <p:spPr>
          <a:xfrm>
            <a:off x="8146471" y="0"/>
            <a:ext cx="4041922" cy="6858000"/>
          </a:xfrm>
          <a:prstGeom prst="rect">
            <a:avLst/>
          </a:prstGeom>
          <a:noFill/>
        </p:spPr>
        <p:txBody>
          <a:bodyPr lIns="914400" tIns="914400" rIns="914400" bIns="914400"/>
          <a:lstStyle>
            <a:lvl1pPr algn="ctr">
              <a:defRPr sz="1800" kern="0" baseline="0">
                <a:latin typeface="+mn-lt"/>
                <a:ea typeface="+mn-ea"/>
                <a:cs typeface="+mn-cs"/>
                <a:sym typeface="+mn-lt"/>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622800"/>
            <a:ext cx="4884109" cy="443198"/>
          </a:xfrm>
          <a:prstGeom prst="rect">
            <a:avLst/>
          </a:prstGeom>
          <a:noFill/>
        </p:spPr>
        <p:txBody>
          <a:bodyPr vert="horz" wrap="square" lIns="0" tIns="0" rIns="320040" bIns="0" anchor="ctr" anchorCtr="0">
            <a:noAutofit/>
          </a:bodyPr>
          <a:lstStyle>
            <a:lvl1pPr>
              <a:lnSpc>
                <a:spcPct val="90000"/>
              </a:lnSpc>
              <a:defRPr sz="3200" kern="0">
                <a:solidFill>
                  <a:srgbClr val="21BF61"/>
                </a:solidFill>
                <a:latin typeface="+mj-lt"/>
                <a:ea typeface="+mj-ea"/>
                <a:cs typeface="+mj-cs"/>
                <a:sym typeface="+mj-lt"/>
              </a:defRPr>
            </a:lvl1pPr>
          </a:lstStyle>
          <a:p>
            <a:r>
              <a:rPr lang="en-US"/>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kern="0" smtClean="0">
                <a:solidFill>
                  <a:prstClr val="white">
                    <a:lumMod val="50000"/>
                  </a:prstClr>
                </a:solidFill>
                <a:sym typeface="+mn-lt"/>
              </a:rPr>
              <a:pPr algn="r">
                <a:defRPr/>
              </a:pPr>
              <a:t>‹#›</a:t>
            </a:fld>
            <a:endParaRPr lang="en-US" sz="800" kern="0">
              <a:solidFill>
                <a:prstClr val="white">
                  <a:lumMod val="50000"/>
                </a:prstClr>
              </a:solidFill>
              <a:sym typeface="+mn-lt"/>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kern="0">
                <a:solidFill>
                  <a:schemeClr val="bg1">
                    <a:lumMod val="50000"/>
                  </a:schemeClr>
                </a:solidFill>
                <a:latin typeface="+mn-lt"/>
                <a:ea typeface="+mn-ea"/>
                <a:cs typeface="+mn-cs"/>
                <a:sym typeface="+mn-lt"/>
              </a:defRPr>
            </a:lvl1pPr>
          </a:lstStyle>
          <a:p>
            <a:endParaRPr lang="en-US">
              <a:solidFill>
                <a:prstClr val="white">
                  <a:lumMod val="50000"/>
                </a:prstClr>
              </a:solidFill>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mn-lt"/>
              </a:rPr>
              <a:t>Copyright © 2022 by Boston Consulting Group. All rights reserved.</a:t>
            </a:r>
          </a:p>
        </p:txBody>
      </p:sp>
      <p:pic>
        <p:nvPicPr>
          <p:cNvPr id="17" name="Picture 16">
            <a:extLst>
              <a:ext uri="{FF2B5EF4-FFF2-40B4-BE49-F238E27FC236}">
                <a16:creationId xmlns:a16="http://schemas.microsoft.com/office/drawing/2014/main" id="{CE306549-9C94-461E-902F-71B43033C908}"/>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bwMode="ltGray">
          <a:xfrm>
            <a:off x="8142863" y="0"/>
            <a:ext cx="416951" cy="6858000"/>
          </a:xfrm>
          <a:prstGeom prst="rect">
            <a:avLst/>
          </a:prstGeom>
        </p:spPr>
      </p:pic>
    </p:spTree>
    <p:extLst>
      <p:ext uri="{BB962C8B-B14F-4D97-AF65-F5344CB8AC3E}">
        <p14:creationId xmlns:p14="http://schemas.microsoft.com/office/powerpoint/2010/main" val="384476394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Beyond layout 14">
    <p:bg bwMode="grayWhite">
      <p:bgPr>
        <a:solidFill>
          <a:srgbClr val="EDEDED"/>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5" name="Diapositive think-cell" r:id="rId5" imgW="352" imgH="355" progId="TCLayout.ActiveDocument.1">
                  <p:embed/>
                </p:oleObj>
              </mc:Choice>
              <mc:Fallback>
                <p:oleObj name="Diapositive think-cell"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4400">
              <a:solidFill>
                <a:srgbClr val="FFFFFF"/>
              </a:solidFill>
              <a:latin typeface="Henderson BCG Sans" panose="020B0502030402020204" pitchFamily="34" charset="0"/>
              <a:sym typeface="Henderson BCG Sans" panose="020B0502030402020204" pitchFamily="34" charset="0"/>
            </a:endParaRPr>
          </a:p>
        </p:txBody>
      </p:sp>
      <p:sp>
        <p:nvSpPr>
          <p:cNvPr id="13" name="Picture Placeholder 18"/>
          <p:cNvSpPr>
            <a:spLocks noGrp="1"/>
          </p:cNvSpPr>
          <p:nvPr>
            <p:ph type="pic" sz="quarter" idx="14" hasCustomPrompt="1"/>
          </p:nvPr>
        </p:nvSpPr>
        <p:spPr>
          <a:xfrm>
            <a:off x="7165605" y="0"/>
            <a:ext cx="5012540" cy="6858000"/>
          </a:xfrm>
          <a:prstGeom prst="rect">
            <a:avLst/>
          </a:prstGeom>
          <a:noFill/>
        </p:spPr>
        <p:txBody>
          <a:bodyPr lIns="914400" tIns="914400" rIns="914400" bIns="914400"/>
          <a:lstStyle>
            <a:lvl1pPr algn="ctr">
              <a:defRPr sz="1800" kern="0" baseline="0">
                <a:latin typeface="+mn-lt"/>
                <a:ea typeface="+mn-ea"/>
                <a:cs typeface="+mn-cs"/>
                <a:sym typeface="+mn-lt"/>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1"/>
          </a:xfrm>
          <a:prstGeom prst="rect">
            <a:avLst/>
          </a:prstGeom>
          <a:noFill/>
        </p:spPr>
        <p:txBody>
          <a:bodyPr vert="horz" wrap="square" lIns="0" tIns="0" rIns="320040" bIns="0" anchor="ctr">
            <a:noAutofit/>
          </a:bodyPr>
          <a:lstStyle>
            <a:lvl1pPr>
              <a:defRPr sz="4400" kern="0">
                <a:solidFill>
                  <a:srgbClr val="21BF61"/>
                </a:solidFill>
                <a:latin typeface="+mj-lt"/>
                <a:ea typeface="+mj-ea"/>
                <a:cs typeface="+mj-cs"/>
                <a:sym typeface="+mj-lt"/>
              </a:defRPr>
            </a:lvl1pPr>
          </a:lstStyle>
          <a:p>
            <a:r>
              <a:rPr lang="en-US"/>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kern="0" smtClean="0">
                <a:solidFill>
                  <a:prstClr val="white">
                    <a:lumMod val="50000"/>
                  </a:prstClr>
                </a:solidFill>
                <a:sym typeface="+mn-lt"/>
              </a:rPr>
              <a:pPr algn="r">
                <a:defRPr/>
              </a:pPr>
              <a:t>‹#›</a:t>
            </a:fld>
            <a:endParaRPr lang="en-US" sz="800" kern="0">
              <a:solidFill>
                <a:prstClr val="white">
                  <a:lumMod val="50000"/>
                </a:prstClr>
              </a:solidFill>
              <a:sym typeface="+mn-lt"/>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kern="0">
                <a:solidFill>
                  <a:schemeClr val="bg1">
                    <a:lumMod val="50000"/>
                  </a:schemeClr>
                </a:solidFill>
                <a:latin typeface="+mn-lt"/>
                <a:ea typeface="+mn-ea"/>
                <a:cs typeface="+mn-cs"/>
                <a:sym typeface="+mn-lt"/>
              </a:defRPr>
            </a:lvl1pPr>
          </a:lstStyle>
          <a:p>
            <a:endParaRPr lang="en-US">
              <a:solidFill>
                <a:prstClr val="white">
                  <a:lumMod val="50000"/>
                </a:prstClr>
              </a:solidFill>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mn-lt"/>
              </a:rPr>
              <a:t>Copyright © 2022 by Boston Consulting Group. All rights reserved.</a:t>
            </a:r>
          </a:p>
        </p:txBody>
      </p:sp>
      <p:pic>
        <p:nvPicPr>
          <p:cNvPr id="17" name="Picture 16">
            <a:extLst>
              <a:ext uri="{FF2B5EF4-FFF2-40B4-BE49-F238E27FC236}">
                <a16:creationId xmlns:a16="http://schemas.microsoft.com/office/drawing/2014/main" id="{E3CC80A7-73C5-4158-8C8E-84AA2F766EDA}"/>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bwMode="ltGray">
          <a:xfrm>
            <a:off x="7161491" y="0"/>
            <a:ext cx="416951" cy="6858000"/>
          </a:xfrm>
          <a:prstGeom prst="rect">
            <a:avLst/>
          </a:prstGeom>
        </p:spPr>
      </p:pic>
    </p:spTree>
    <p:extLst>
      <p:ext uri="{BB962C8B-B14F-4D97-AF65-F5344CB8AC3E}">
        <p14:creationId xmlns:p14="http://schemas.microsoft.com/office/powerpoint/2010/main" val="257434256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Beyond layout 15">
    <p:bg bwMode="grayWhite">
      <p:bgPr>
        <a:solidFill>
          <a:srgbClr val="EDEDED"/>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09" name="Diapositive think-cell" r:id="rId5" imgW="352" imgH="355" progId="TCLayout.ActiveDocument.1">
                  <p:embed/>
                </p:oleObj>
              </mc:Choice>
              <mc:Fallback>
                <p:oleObj name="Diapositive think-cell"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4400">
              <a:solidFill>
                <a:srgbClr val="FFFFFF"/>
              </a:solidFill>
              <a:latin typeface="Henderson BCG Sans" panose="020B0502030402020204" pitchFamily="34" charset="0"/>
              <a:sym typeface="Henderson BCG Sans" panose="020B0502030402020204" pitchFamily="34" charset="0"/>
            </a:endParaRPr>
          </a:p>
        </p:txBody>
      </p:sp>
      <p:pic>
        <p:nvPicPr>
          <p:cNvPr id="11" name="Picture 10"/>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bwMode="ltGray">
          <a:xfrm flipH="1">
            <a:off x="5689582" y="0"/>
            <a:ext cx="416951" cy="6858000"/>
          </a:xfrm>
          <a:prstGeom prst="rect">
            <a:avLst/>
          </a:prstGeom>
        </p:spPr>
      </p:pic>
      <p:sp>
        <p:nvSpPr>
          <p:cNvPr id="13" name="Picture Placeholder 18"/>
          <p:cNvSpPr>
            <a:spLocks noGrp="1"/>
          </p:cNvSpPr>
          <p:nvPr>
            <p:ph type="pic" sz="quarter" idx="14" hasCustomPrompt="1"/>
          </p:nvPr>
        </p:nvSpPr>
        <p:spPr>
          <a:xfrm>
            <a:off x="6096000" y="0"/>
            <a:ext cx="6095999" cy="6858000"/>
          </a:xfrm>
          <a:prstGeom prst="rect">
            <a:avLst/>
          </a:prstGeom>
          <a:noFill/>
        </p:spPr>
        <p:txBody>
          <a:bodyPr lIns="914400" tIns="914400" rIns="914400" bIns="914400"/>
          <a:lstStyle>
            <a:lvl1pPr algn="ctr">
              <a:defRPr sz="1800" kern="0" baseline="0">
                <a:latin typeface="+mn-lt"/>
                <a:ea typeface="+mn-ea"/>
                <a:cs typeface="+mn-cs"/>
                <a:sym typeface="+mn-lt"/>
              </a:defRPr>
            </a:lvl1pPr>
          </a:lstStyle>
          <a:p>
            <a:r>
              <a:rPr lang="en-US"/>
              <a:t>Click icon below to insert an image or remove this placeholder to use the whitespace in another way</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kern="0" smtClean="0">
                <a:solidFill>
                  <a:prstClr val="white">
                    <a:lumMod val="50000"/>
                  </a:prstClr>
                </a:solidFill>
                <a:sym typeface="+mn-lt"/>
              </a:rPr>
              <a:pPr algn="r">
                <a:defRPr/>
              </a:pPr>
              <a:t>‹#›</a:t>
            </a:fld>
            <a:endParaRPr lang="en-US" sz="800" kern="0">
              <a:solidFill>
                <a:prstClr val="white">
                  <a:lumMod val="50000"/>
                </a:prstClr>
              </a:solidFill>
              <a:sym typeface="+mn-lt"/>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kern="0">
                <a:solidFill>
                  <a:schemeClr val="bg1">
                    <a:lumMod val="50000"/>
                  </a:schemeClr>
                </a:solidFill>
                <a:latin typeface="+mn-lt"/>
                <a:ea typeface="+mn-ea"/>
                <a:cs typeface="+mn-cs"/>
                <a:sym typeface="+mn-lt"/>
              </a:defRPr>
            </a:lvl1pPr>
          </a:lstStyle>
          <a:p>
            <a:endParaRPr lang="en-US">
              <a:solidFill>
                <a:prstClr val="white">
                  <a:lumMod val="50000"/>
                </a:prstClr>
              </a:solidFill>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mn-lt"/>
              </a:rPr>
              <a:t>Copyright © 2022 by Boston Consulting Group. All rights reserved.</a:t>
            </a:r>
          </a:p>
        </p:txBody>
      </p:sp>
      <p:sp>
        <p:nvSpPr>
          <p:cNvPr id="17" name="Title 1">
            <a:extLst>
              <a:ext uri="{FF2B5EF4-FFF2-40B4-BE49-F238E27FC236}">
                <a16:creationId xmlns:a16="http://schemas.microsoft.com/office/drawing/2014/main" id="{A717B77E-3801-4E1E-91E8-532F439601E6}"/>
              </a:ext>
            </a:extLst>
          </p:cNvPr>
          <p:cNvSpPr>
            <a:spLocks noGrp="1"/>
          </p:cNvSpPr>
          <p:nvPr>
            <p:ph type="title" hasCustomPrompt="1"/>
          </p:nvPr>
        </p:nvSpPr>
        <p:spPr bwMode="black">
          <a:xfrm>
            <a:off x="630000" y="1785600"/>
            <a:ext cx="4388400" cy="3286801"/>
          </a:xfrm>
          <a:prstGeom prst="rect">
            <a:avLst/>
          </a:prstGeom>
          <a:noFill/>
        </p:spPr>
        <p:txBody>
          <a:bodyPr vert="horz" wrap="square" lIns="0" tIns="0" rIns="320040" bIns="0" anchor="ctr">
            <a:noAutofit/>
          </a:bodyPr>
          <a:lstStyle>
            <a:lvl1pPr>
              <a:defRPr sz="4400" kern="0">
                <a:solidFill>
                  <a:srgbClr val="21BF61"/>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98713890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Beyond layout 16">
    <p:bg bwMode="grayWhite">
      <p:bgPr>
        <a:solidFill>
          <a:srgbClr val="EDEDED"/>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3" name="Diapositive think-cell" r:id="rId5" imgW="352" imgH="355" progId="TCLayout.ActiveDocument.1">
                  <p:embed/>
                </p:oleObj>
              </mc:Choice>
              <mc:Fallback>
                <p:oleObj name="Diapositive think-cell"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4400">
              <a:solidFill>
                <a:srgbClr val="FFFFFF"/>
              </a:solidFill>
              <a:latin typeface="Henderson BCG Sans" panose="020B0502030402020204" pitchFamily="34" charset="0"/>
              <a:sym typeface="Henderson BCG Sans" panose="020B0502030402020204" pitchFamily="34" charset="0"/>
            </a:endParaRPr>
          </a:p>
        </p:txBody>
      </p:sp>
      <p:pic>
        <p:nvPicPr>
          <p:cNvPr id="11" name="Picture 10"/>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rgbClr val="F8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kern="0">
              <a:solidFill>
                <a:prstClr val="white"/>
              </a:solidFill>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kern="0" smtClean="0">
                <a:solidFill>
                  <a:prstClr val="white">
                    <a:lumMod val="50000"/>
                  </a:prstClr>
                </a:solidFill>
                <a:sym typeface="+mn-lt"/>
              </a:rPr>
              <a:pPr algn="r">
                <a:defRPr/>
              </a:pPr>
              <a:t>‹#›</a:t>
            </a:fld>
            <a:endParaRPr lang="en-US" sz="800" kern="0">
              <a:solidFill>
                <a:prstClr val="white">
                  <a:lumMod val="50000"/>
                </a:prstClr>
              </a:solidFill>
              <a:sym typeface="+mn-lt"/>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kern="0">
                <a:solidFill>
                  <a:schemeClr val="bg1">
                    <a:lumMod val="50000"/>
                  </a:schemeClr>
                </a:solidFill>
                <a:latin typeface="+mn-lt"/>
                <a:ea typeface="+mn-ea"/>
                <a:cs typeface="+mn-cs"/>
                <a:sym typeface="+mn-lt"/>
              </a:defRPr>
            </a:lvl1pPr>
          </a:lstStyle>
          <a:p>
            <a:endParaRPr lang="en-US">
              <a:solidFill>
                <a:prstClr val="white">
                  <a:lumMod val="50000"/>
                </a:prstClr>
              </a:solidFill>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mn-lt"/>
              </a:rPr>
              <a:t>Copyright © 2022 by Boston Consulting Group. All rights reserved.</a:t>
            </a:r>
          </a:p>
        </p:txBody>
      </p:sp>
      <p:pic>
        <p:nvPicPr>
          <p:cNvPr id="24" name="Picture 23">
            <a:extLst>
              <a:ext uri="{FF2B5EF4-FFF2-40B4-BE49-F238E27FC236}">
                <a16:creationId xmlns:a16="http://schemas.microsoft.com/office/drawing/2014/main" id="{8B984D0E-B7AD-4AC2-A41F-FCC129D413A3}"/>
              </a:ext>
            </a:extLst>
          </p:cNvPr>
          <p:cNvPicPr>
            <a:picLocks noChangeAspect="1"/>
          </p:cNvPicPr>
          <p:nvPr userDrawn="1"/>
        </p:nvPicPr>
        <p:blipFill rotWithShape="1">
          <a:blip r:embed="rId8" cstate="screen">
            <a:extLst>
              <a:ext uri="{28A0092B-C50C-407E-A947-70E740481C1C}">
                <a14:useLocalDpi xmlns:a14="http://schemas.microsoft.com/office/drawing/2010/main"/>
              </a:ext>
            </a:extLst>
          </a:blip>
          <a:srcRect/>
          <a:stretch/>
        </p:blipFill>
        <p:spPr>
          <a:xfrm>
            <a:off x="-1" y="1"/>
            <a:ext cx="6151421" cy="6858000"/>
          </a:xfrm>
          <a:prstGeom prst="rect">
            <a:avLst/>
          </a:prstGeom>
          <a:ln>
            <a:noFill/>
          </a:ln>
        </p:spPr>
      </p:pic>
      <p:grpSp>
        <p:nvGrpSpPr>
          <p:cNvPr id="25" name="Group 24">
            <a:extLst>
              <a:ext uri="{FF2B5EF4-FFF2-40B4-BE49-F238E27FC236}">
                <a16:creationId xmlns:a16="http://schemas.microsoft.com/office/drawing/2014/main" id="{3676AD3D-7BCF-4459-A752-DDDED00276C3}"/>
              </a:ext>
            </a:extLst>
          </p:cNvPr>
          <p:cNvGrpSpPr/>
          <p:nvPr userDrawn="1"/>
        </p:nvGrpSpPr>
        <p:grpSpPr>
          <a:xfrm>
            <a:off x="720656" y="1032080"/>
            <a:ext cx="4712589" cy="4793839"/>
            <a:chOff x="1803027" y="0"/>
            <a:chExt cx="4712589" cy="4793839"/>
          </a:xfrm>
        </p:grpSpPr>
        <p:sp>
          <p:nvSpPr>
            <p:cNvPr id="26" name="Rectangle 25">
              <a:extLst>
                <a:ext uri="{FF2B5EF4-FFF2-40B4-BE49-F238E27FC236}">
                  <a16:creationId xmlns:a16="http://schemas.microsoft.com/office/drawing/2014/main" id="{483E9982-9481-40E7-93A1-18498164AF58}"/>
                </a:ext>
              </a:extLst>
            </p:cNvPr>
            <p:cNvSpPr/>
            <p:nvPr/>
          </p:nvSpPr>
          <p:spPr>
            <a:xfrm>
              <a:off x="1803027" y="0"/>
              <a:ext cx="4712589" cy="4793839"/>
            </a:xfrm>
            <a:prstGeom prst="rect">
              <a:avLst/>
            </a:prstGeom>
            <a:solidFill>
              <a:sysClr val="window" lastClr="FFFFFF"/>
            </a:soli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Henderson BCG Sans Light"/>
                <a:ea typeface="+mn-ea"/>
                <a:cs typeface="+mn-cs"/>
              </a:endParaRPr>
            </a:p>
          </p:txBody>
        </p:sp>
        <p:sp>
          <p:nvSpPr>
            <p:cNvPr id="27" name="Rectangle 26">
              <a:extLst>
                <a:ext uri="{FF2B5EF4-FFF2-40B4-BE49-F238E27FC236}">
                  <a16:creationId xmlns:a16="http://schemas.microsoft.com/office/drawing/2014/main" id="{75B1CB9D-E75A-43EF-A418-21FC20F3BE04}"/>
                </a:ext>
              </a:extLst>
            </p:cNvPr>
            <p:cNvSpPr/>
            <p:nvPr/>
          </p:nvSpPr>
          <p:spPr>
            <a:xfrm>
              <a:off x="2222643" y="426851"/>
              <a:ext cx="3873357" cy="3940138"/>
            </a:xfrm>
            <a:prstGeom prst="rect">
              <a:avLst/>
            </a:prstGeom>
            <a:solidFill>
              <a:srgbClr val="EDEDED"/>
            </a:soli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Henderson BCG Sans Light"/>
                <a:ea typeface="+mn-ea"/>
                <a:cs typeface="+mn-cs"/>
              </a:endParaRPr>
            </a:p>
          </p:txBody>
        </p:sp>
      </p:grpSp>
      <p:pic>
        <p:nvPicPr>
          <p:cNvPr id="29" name="Picture 28">
            <a:extLst>
              <a:ext uri="{FF2B5EF4-FFF2-40B4-BE49-F238E27FC236}">
                <a16:creationId xmlns:a16="http://schemas.microsoft.com/office/drawing/2014/main" id="{9DDC4B24-FF8D-421C-B52D-14880FD814EE}"/>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bwMode="ltGray">
          <a:xfrm flipV="1">
            <a:off x="6151420" y="0"/>
            <a:ext cx="416951" cy="6858000"/>
          </a:xfrm>
          <a:prstGeom prst="rect">
            <a:avLst/>
          </a:prstGeom>
        </p:spPr>
      </p:pic>
      <p:sp>
        <p:nvSpPr>
          <p:cNvPr id="13" name="Picture Placeholder 18"/>
          <p:cNvSpPr>
            <a:spLocks noGrp="1"/>
          </p:cNvSpPr>
          <p:nvPr>
            <p:ph type="pic" sz="quarter" idx="14" hasCustomPrompt="1"/>
          </p:nvPr>
        </p:nvSpPr>
        <p:spPr>
          <a:xfrm>
            <a:off x="1157863" y="1458932"/>
            <a:ext cx="3855766" cy="3940138"/>
          </a:xfrm>
          <a:prstGeom prst="rect">
            <a:avLst/>
          </a:prstGeom>
          <a:noFill/>
        </p:spPr>
        <p:txBody>
          <a:bodyPr lIns="914400" tIns="914400" rIns="914400" bIns="914400"/>
          <a:lstStyle>
            <a:lvl1pPr algn="ctr">
              <a:defRPr sz="1800" kern="0" baseline="0">
                <a:latin typeface="+mn-lt"/>
                <a:ea typeface="+mn-ea"/>
                <a:cs typeface="+mn-cs"/>
                <a:sym typeface="+mn-lt"/>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718282" y="622800"/>
            <a:ext cx="4871640" cy="443198"/>
          </a:xfrm>
          <a:prstGeom prst="rect">
            <a:avLst/>
          </a:prstGeom>
          <a:noFill/>
        </p:spPr>
        <p:txBody>
          <a:bodyPr vert="horz" wrap="square" lIns="91440" tIns="0" rIns="320040" bIns="0" anchor="ctr">
            <a:noAutofit/>
          </a:bodyPr>
          <a:lstStyle>
            <a:lvl1pPr>
              <a:defRPr sz="3200" kern="0">
                <a:solidFill>
                  <a:srgbClr val="21BF61"/>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357134214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Beyond layout 17">
    <p:bg bwMode="grayWhite">
      <p:bgPr>
        <a:solidFill>
          <a:srgbClr val="EDEDED"/>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7" name="Diapositive think-cell" r:id="rId5" imgW="352" imgH="355" progId="TCLayout.ActiveDocument.1">
                  <p:embed/>
                </p:oleObj>
              </mc:Choice>
              <mc:Fallback>
                <p:oleObj name="Diapositive think-cell"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6" name="Picture 25">
            <a:extLst>
              <a:ext uri="{FF2B5EF4-FFF2-40B4-BE49-F238E27FC236}">
                <a16:creationId xmlns:a16="http://schemas.microsoft.com/office/drawing/2014/main" id="{BD3EC2A2-4C36-484D-AA2F-45407688594A}"/>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bwMode="ltGray">
          <a:xfrm flipH="1">
            <a:off x="5689582" y="0"/>
            <a:ext cx="416951" cy="6858000"/>
          </a:xfrm>
          <a:prstGeom prst="rect">
            <a:avLst/>
          </a:prstGeom>
        </p:spPr>
      </p:pic>
      <p:sp>
        <p:nvSpPr>
          <p:cNvPr id="27" name="Rectangle 26">
            <a:extLst>
              <a:ext uri="{FF2B5EF4-FFF2-40B4-BE49-F238E27FC236}">
                <a16:creationId xmlns:a16="http://schemas.microsoft.com/office/drawing/2014/main" id="{E0173C80-BE87-4FCD-9E00-1FA948FFADCF}"/>
              </a:ext>
            </a:extLst>
          </p:cNvPr>
          <p:cNvSpPr/>
          <p:nvPr userDrawn="1"/>
        </p:nvSpPr>
        <p:spPr>
          <a:xfrm>
            <a:off x="6096000" y="0"/>
            <a:ext cx="6096000" cy="6858000"/>
          </a:xfrm>
          <a:prstGeom prst="rect">
            <a:avLst/>
          </a:prstGeom>
          <a:solidFill>
            <a:srgbClr val="F8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kern="0">
              <a:solidFill>
                <a:prstClr val="white"/>
              </a:solidFill>
              <a:sym typeface="+mn-lt"/>
            </a:endParaRPr>
          </a:p>
        </p:txBody>
      </p:sp>
      <p:pic>
        <p:nvPicPr>
          <p:cNvPr id="35" name="Picture 34">
            <a:extLst>
              <a:ext uri="{FF2B5EF4-FFF2-40B4-BE49-F238E27FC236}">
                <a16:creationId xmlns:a16="http://schemas.microsoft.com/office/drawing/2014/main" id="{8C0EC533-4779-4DA9-8C0B-FDF362DC8393}"/>
              </a:ext>
            </a:extLst>
          </p:cNvPr>
          <p:cNvPicPr>
            <a:picLocks noChangeAspect="1"/>
          </p:cNvPicPr>
          <p:nvPr userDrawn="1"/>
        </p:nvPicPr>
        <p:blipFill>
          <a:blip r:embed="rId8" cstate="screen">
            <a:extLst>
              <a:ext uri="{28A0092B-C50C-407E-A947-70E740481C1C}">
                <a14:useLocalDpi xmlns:a14="http://schemas.microsoft.com/office/drawing/2010/main"/>
              </a:ext>
            </a:extLst>
          </a:blip>
          <a:srcRect/>
          <a:stretch/>
        </p:blipFill>
        <p:spPr>
          <a:xfrm>
            <a:off x="-1" y="1"/>
            <a:ext cx="6160242" cy="6857999"/>
          </a:xfrm>
          <a:prstGeom prst="rect">
            <a:avLst/>
          </a:prstGeom>
          <a:ln>
            <a:noFill/>
          </a:ln>
        </p:spPr>
      </p:pic>
      <p:grpSp>
        <p:nvGrpSpPr>
          <p:cNvPr id="30" name="Group 29">
            <a:extLst>
              <a:ext uri="{FF2B5EF4-FFF2-40B4-BE49-F238E27FC236}">
                <a16:creationId xmlns:a16="http://schemas.microsoft.com/office/drawing/2014/main" id="{84A4F24A-0514-4316-AFD5-CFF8B4653619}"/>
              </a:ext>
            </a:extLst>
          </p:cNvPr>
          <p:cNvGrpSpPr/>
          <p:nvPr userDrawn="1"/>
        </p:nvGrpSpPr>
        <p:grpSpPr>
          <a:xfrm>
            <a:off x="720656" y="1032080"/>
            <a:ext cx="4712589" cy="4793839"/>
            <a:chOff x="1803027" y="0"/>
            <a:chExt cx="4712589" cy="4793839"/>
          </a:xfrm>
        </p:grpSpPr>
        <p:sp>
          <p:nvSpPr>
            <p:cNvPr id="31" name="Rectangle 30">
              <a:extLst>
                <a:ext uri="{FF2B5EF4-FFF2-40B4-BE49-F238E27FC236}">
                  <a16:creationId xmlns:a16="http://schemas.microsoft.com/office/drawing/2014/main" id="{ABAD38E0-D734-4571-B13D-7D2CAAFC392B}"/>
                </a:ext>
              </a:extLst>
            </p:cNvPr>
            <p:cNvSpPr/>
            <p:nvPr/>
          </p:nvSpPr>
          <p:spPr>
            <a:xfrm>
              <a:off x="1803027" y="0"/>
              <a:ext cx="4712589" cy="4793839"/>
            </a:xfrm>
            <a:prstGeom prst="rect">
              <a:avLst/>
            </a:prstGeom>
            <a:solidFill>
              <a:sysClr val="window" lastClr="FFFFFF"/>
            </a:soli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Henderson BCG Sans Light"/>
                <a:ea typeface="+mn-ea"/>
                <a:cs typeface="+mn-cs"/>
              </a:endParaRPr>
            </a:p>
          </p:txBody>
        </p:sp>
        <p:sp>
          <p:nvSpPr>
            <p:cNvPr id="32" name="Rectangle 31">
              <a:extLst>
                <a:ext uri="{FF2B5EF4-FFF2-40B4-BE49-F238E27FC236}">
                  <a16:creationId xmlns:a16="http://schemas.microsoft.com/office/drawing/2014/main" id="{E02EFB5E-38E9-4198-89A0-D03E4672EFE1}"/>
                </a:ext>
              </a:extLst>
            </p:cNvPr>
            <p:cNvSpPr/>
            <p:nvPr/>
          </p:nvSpPr>
          <p:spPr>
            <a:xfrm>
              <a:off x="2222643" y="426851"/>
              <a:ext cx="3873357" cy="3940138"/>
            </a:xfrm>
            <a:prstGeom prst="rect">
              <a:avLst/>
            </a:prstGeom>
            <a:solidFill>
              <a:srgbClr val="EDEDED"/>
            </a:soli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Henderson BCG Sans Light"/>
                <a:ea typeface="+mn-ea"/>
                <a:cs typeface="+mn-cs"/>
              </a:endParaRPr>
            </a:p>
          </p:txBody>
        </p:sp>
      </p:grpSp>
      <p:pic>
        <p:nvPicPr>
          <p:cNvPr id="33" name="Picture 32">
            <a:extLst>
              <a:ext uri="{FF2B5EF4-FFF2-40B4-BE49-F238E27FC236}">
                <a16:creationId xmlns:a16="http://schemas.microsoft.com/office/drawing/2014/main" id="{AFBCF41D-9411-40BF-A150-F560C1D01A2F}"/>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bwMode="ltGray">
          <a:xfrm flipV="1">
            <a:off x="6151420" y="0"/>
            <a:ext cx="416951" cy="6858000"/>
          </a:xfrm>
          <a:prstGeom prst="rect">
            <a:avLst/>
          </a:prstGeom>
        </p:spPr>
      </p:pic>
      <p:sp>
        <p:nvSpPr>
          <p:cNvPr id="34" name="Picture Placeholder 18">
            <a:extLst>
              <a:ext uri="{FF2B5EF4-FFF2-40B4-BE49-F238E27FC236}">
                <a16:creationId xmlns:a16="http://schemas.microsoft.com/office/drawing/2014/main" id="{9AB02A09-529B-4956-89F4-C8B8A7B2B4A2}"/>
              </a:ext>
            </a:extLst>
          </p:cNvPr>
          <p:cNvSpPr>
            <a:spLocks noGrp="1"/>
          </p:cNvSpPr>
          <p:nvPr>
            <p:ph type="pic" sz="quarter" idx="14" hasCustomPrompt="1"/>
          </p:nvPr>
        </p:nvSpPr>
        <p:spPr>
          <a:xfrm>
            <a:off x="1157863" y="1458932"/>
            <a:ext cx="3855766" cy="3940138"/>
          </a:xfrm>
          <a:prstGeom prst="rect">
            <a:avLst/>
          </a:prstGeom>
          <a:noFill/>
        </p:spPr>
        <p:txBody>
          <a:bodyPr lIns="914400" tIns="914400" rIns="914400" bIns="914400"/>
          <a:lstStyle>
            <a:lvl1pPr algn="ctr">
              <a:defRPr sz="1800" kern="0" baseline="0">
                <a:latin typeface="+mn-lt"/>
                <a:ea typeface="+mn-ea"/>
                <a:cs typeface="+mn-cs"/>
                <a:sym typeface="+mn-lt"/>
              </a:defRPr>
            </a:lvl1pPr>
          </a:lstStyle>
          <a:p>
            <a:r>
              <a:rPr lang="en-US"/>
              <a:t>Click icon below to insert an image or remove this placeholder to use the whitespace in another way</a:t>
            </a:r>
          </a:p>
        </p:txBody>
      </p:sp>
      <p:sp>
        <p:nvSpPr>
          <p:cNvPr id="5" name="Rectangle 4"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4400">
              <a:solidFill>
                <a:srgbClr val="FFFFFF"/>
              </a:solidFill>
              <a:latin typeface="Henderson BCG Sans" panose="020B0502030402020204" pitchFamily="34" charset="0"/>
              <a:sym typeface="Henderson BCG Sans" panose="020B05020304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kern="0" smtClean="0">
                <a:solidFill>
                  <a:prstClr val="white">
                    <a:lumMod val="50000"/>
                  </a:prstClr>
                </a:solidFill>
                <a:sym typeface="+mn-lt"/>
              </a:rPr>
              <a:pPr algn="r">
                <a:defRPr/>
              </a:pPr>
              <a:t>‹#›</a:t>
            </a:fld>
            <a:endParaRPr lang="en-US" sz="800" kern="0">
              <a:solidFill>
                <a:prstClr val="white">
                  <a:lumMod val="50000"/>
                </a:prstClr>
              </a:solidFill>
              <a:sym typeface="+mn-lt"/>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kern="0">
                <a:solidFill>
                  <a:schemeClr val="bg1">
                    <a:lumMod val="50000"/>
                  </a:schemeClr>
                </a:solidFill>
                <a:latin typeface="+mn-lt"/>
                <a:ea typeface="+mn-ea"/>
                <a:cs typeface="+mn-cs"/>
                <a:sym typeface="+mn-lt"/>
              </a:defRPr>
            </a:lvl1pPr>
          </a:lstStyle>
          <a:p>
            <a:endParaRPr lang="en-US">
              <a:solidFill>
                <a:prstClr val="white">
                  <a:lumMod val="50000"/>
                </a:prstClr>
              </a:solidFill>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mn-lt"/>
              </a:rPr>
              <a:t>Copyright © 2022 by Boston Consulting Group. All rights reserved.</a:t>
            </a:r>
          </a:p>
        </p:txBody>
      </p:sp>
      <p:sp>
        <p:nvSpPr>
          <p:cNvPr id="28" name="Title 1">
            <a:extLst>
              <a:ext uri="{FF2B5EF4-FFF2-40B4-BE49-F238E27FC236}">
                <a16:creationId xmlns:a16="http://schemas.microsoft.com/office/drawing/2014/main" id="{4B87C973-7724-4DD3-86EC-B2B6E224BADC}"/>
              </a:ext>
            </a:extLst>
          </p:cNvPr>
          <p:cNvSpPr>
            <a:spLocks noGrp="1"/>
          </p:cNvSpPr>
          <p:nvPr>
            <p:ph type="title" hasCustomPrompt="1"/>
          </p:nvPr>
        </p:nvSpPr>
        <p:spPr bwMode="black">
          <a:xfrm>
            <a:off x="6718282" y="622800"/>
            <a:ext cx="4871640" cy="443198"/>
          </a:xfrm>
          <a:prstGeom prst="rect">
            <a:avLst/>
          </a:prstGeom>
          <a:noFill/>
        </p:spPr>
        <p:txBody>
          <a:bodyPr vert="horz" wrap="square" lIns="91440" tIns="0" rIns="320040" bIns="0" anchor="ctr">
            <a:noAutofit/>
          </a:bodyPr>
          <a:lstStyle>
            <a:lvl1pPr>
              <a:defRPr sz="3200" kern="0">
                <a:solidFill>
                  <a:srgbClr val="21BF61"/>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00966350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Beyond layout 18">
    <p:bg bwMode="grayWhite">
      <p:bgPr>
        <a:solidFill>
          <a:srgbClr val="EDEDED"/>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1" name="Diapositive think-cell" r:id="rId5" imgW="352" imgH="355" progId="TCLayout.ActiveDocument.1">
                  <p:embed/>
                </p:oleObj>
              </mc:Choice>
              <mc:Fallback>
                <p:oleObj name="Diapositive think-cell"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6" name="Picture 25">
            <a:extLst>
              <a:ext uri="{FF2B5EF4-FFF2-40B4-BE49-F238E27FC236}">
                <a16:creationId xmlns:a16="http://schemas.microsoft.com/office/drawing/2014/main" id="{BD3EC2A2-4C36-484D-AA2F-45407688594A}"/>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bwMode="ltGray">
          <a:xfrm flipH="1">
            <a:off x="5689582" y="0"/>
            <a:ext cx="416951" cy="6858000"/>
          </a:xfrm>
          <a:prstGeom prst="rect">
            <a:avLst/>
          </a:prstGeom>
        </p:spPr>
      </p:pic>
      <p:sp>
        <p:nvSpPr>
          <p:cNvPr id="27" name="Rectangle 26">
            <a:extLst>
              <a:ext uri="{FF2B5EF4-FFF2-40B4-BE49-F238E27FC236}">
                <a16:creationId xmlns:a16="http://schemas.microsoft.com/office/drawing/2014/main" id="{E0173C80-BE87-4FCD-9E00-1FA948FFADCF}"/>
              </a:ext>
            </a:extLst>
          </p:cNvPr>
          <p:cNvSpPr/>
          <p:nvPr userDrawn="1"/>
        </p:nvSpPr>
        <p:spPr>
          <a:xfrm>
            <a:off x="6096000" y="0"/>
            <a:ext cx="6096000" cy="6858000"/>
          </a:xfrm>
          <a:prstGeom prst="rect">
            <a:avLst/>
          </a:prstGeom>
          <a:solidFill>
            <a:srgbClr val="F8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kern="0">
              <a:solidFill>
                <a:prstClr val="white"/>
              </a:solidFill>
              <a:sym typeface="+mn-lt"/>
            </a:endParaRPr>
          </a:p>
        </p:txBody>
      </p:sp>
      <p:pic>
        <p:nvPicPr>
          <p:cNvPr id="17" name="Picture 16">
            <a:extLst>
              <a:ext uri="{FF2B5EF4-FFF2-40B4-BE49-F238E27FC236}">
                <a16:creationId xmlns:a16="http://schemas.microsoft.com/office/drawing/2014/main" id="{7ECF82D0-C130-4708-B6C3-B3E337675DF8}"/>
              </a:ext>
            </a:extLst>
          </p:cNvPr>
          <p:cNvPicPr>
            <a:picLocks noChangeAspect="1"/>
          </p:cNvPicPr>
          <p:nvPr userDrawn="1"/>
        </p:nvPicPr>
        <p:blipFill rotWithShape="1">
          <a:blip r:embed="rId8" cstate="screen">
            <a:extLst>
              <a:ext uri="{28A0092B-C50C-407E-A947-70E740481C1C}">
                <a14:useLocalDpi xmlns:a14="http://schemas.microsoft.com/office/drawing/2010/main"/>
              </a:ext>
            </a:extLst>
          </a:blip>
          <a:srcRect/>
          <a:stretch/>
        </p:blipFill>
        <p:spPr>
          <a:xfrm>
            <a:off x="-1" y="1"/>
            <a:ext cx="6151420" cy="6866919"/>
          </a:xfrm>
          <a:prstGeom prst="rect">
            <a:avLst/>
          </a:prstGeom>
          <a:ln>
            <a:noFill/>
          </a:ln>
        </p:spPr>
      </p:pic>
      <p:grpSp>
        <p:nvGrpSpPr>
          <p:cNvPr id="30" name="Group 29">
            <a:extLst>
              <a:ext uri="{FF2B5EF4-FFF2-40B4-BE49-F238E27FC236}">
                <a16:creationId xmlns:a16="http://schemas.microsoft.com/office/drawing/2014/main" id="{84A4F24A-0514-4316-AFD5-CFF8B4653619}"/>
              </a:ext>
            </a:extLst>
          </p:cNvPr>
          <p:cNvGrpSpPr/>
          <p:nvPr userDrawn="1"/>
        </p:nvGrpSpPr>
        <p:grpSpPr>
          <a:xfrm>
            <a:off x="720656" y="1032080"/>
            <a:ext cx="4712589" cy="4793839"/>
            <a:chOff x="1803027" y="0"/>
            <a:chExt cx="4712589" cy="4793839"/>
          </a:xfrm>
        </p:grpSpPr>
        <p:sp>
          <p:nvSpPr>
            <p:cNvPr id="31" name="Rectangle 30">
              <a:extLst>
                <a:ext uri="{FF2B5EF4-FFF2-40B4-BE49-F238E27FC236}">
                  <a16:creationId xmlns:a16="http://schemas.microsoft.com/office/drawing/2014/main" id="{ABAD38E0-D734-4571-B13D-7D2CAAFC392B}"/>
                </a:ext>
              </a:extLst>
            </p:cNvPr>
            <p:cNvSpPr/>
            <p:nvPr/>
          </p:nvSpPr>
          <p:spPr>
            <a:xfrm>
              <a:off x="1803027" y="0"/>
              <a:ext cx="4712589" cy="4793839"/>
            </a:xfrm>
            <a:prstGeom prst="rect">
              <a:avLst/>
            </a:prstGeom>
            <a:solidFill>
              <a:sysClr val="window" lastClr="FFFFFF"/>
            </a:soli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Henderson BCG Sans Light"/>
                <a:ea typeface="+mn-ea"/>
                <a:cs typeface="+mn-cs"/>
              </a:endParaRPr>
            </a:p>
          </p:txBody>
        </p:sp>
        <p:sp>
          <p:nvSpPr>
            <p:cNvPr id="32" name="Rectangle 31">
              <a:extLst>
                <a:ext uri="{FF2B5EF4-FFF2-40B4-BE49-F238E27FC236}">
                  <a16:creationId xmlns:a16="http://schemas.microsoft.com/office/drawing/2014/main" id="{E02EFB5E-38E9-4198-89A0-D03E4672EFE1}"/>
                </a:ext>
              </a:extLst>
            </p:cNvPr>
            <p:cNvSpPr/>
            <p:nvPr/>
          </p:nvSpPr>
          <p:spPr>
            <a:xfrm>
              <a:off x="2222643" y="426851"/>
              <a:ext cx="3873357" cy="3940138"/>
            </a:xfrm>
            <a:prstGeom prst="rect">
              <a:avLst/>
            </a:prstGeom>
            <a:solidFill>
              <a:srgbClr val="EDEDED"/>
            </a:soli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Henderson BCG Sans Light"/>
                <a:ea typeface="+mn-ea"/>
                <a:cs typeface="+mn-cs"/>
              </a:endParaRPr>
            </a:p>
          </p:txBody>
        </p:sp>
      </p:grpSp>
      <p:pic>
        <p:nvPicPr>
          <p:cNvPr id="33" name="Picture 32">
            <a:extLst>
              <a:ext uri="{FF2B5EF4-FFF2-40B4-BE49-F238E27FC236}">
                <a16:creationId xmlns:a16="http://schemas.microsoft.com/office/drawing/2014/main" id="{AFBCF41D-9411-40BF-A150-F560C1D01A2F}"/>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bwMode="ltGray">
          <a:xfrm flipV="1">
            <a:off x="6151420" y="0"/>
            <a:ext cx="416951" cy="6858000"/>
          </a:xfrm>
          <a:prstGeom prst="rect">
            <a:avLst/>
          </a:prstGeom>
        </p:spPr>
      </p:pic>
      <p:sp>
        <p:nvSpPr>
          <p:cNvPr id="34" name="Picture Placeholder 18">
            <a:extLst>
              <a:ext uri="{FF2B5EF4-FFF2-40B4-BE49-F238E27FC236}">
                <a16:creationId xmlns:a16="http://schemas.microsoft.com/office/drawing/2014/main" id="{9AB02A09-529B-4956-89F4-C8B8A7B2B4A2}"/>
              </a:ext>
            </a:extLst>
          </p:cNvPr>
          <p:cNvSpPr>
            <a:spLocks noGrp="1"/>
          </p:cNvSpPr>
          <p:nvPr>
            <p:ph type="pic" sz="quarter" idx="14" hasCustomPrompt="1"/>
          </p:nvPr>
        </p:nvSpPr>
        <p:spPr>
          <a:xfrm>
            <a:off x="1157863" y="1458932"/>
            <a:ext cx="3855766" cy="3940138"/>
          </a:xfrm>
          <a:prstGeom prst="rect">
            <a:avLst/>
          </a:prstGeom>
          <a:noFill/>
        </p:spPr>
        <p:txBody>
          <a:bodyPr lIns="914400" tIns="914400" rIns="914400" bIns="914400"/>
          <a:lstStyle>
            <a:lvl1pPr algn="ctr">
              <a:defRPr sz="1800" kern="0" baseline="0">
                <a:latin typeface="+mn-lt"/>
                <a:ea typeface="+mn-ea"/>
                <a:cs typeface="+mn-cs"/>
                <a:sym typeface="+mn-lt"/>
              </a:defRPr>
            </a:lvl1pPr>
          </a:lstStyle>
          <a:p>
            <a:r>
              <a:rPr lang="en-US"/>
              <a:t>Click icon below to insert an image or remove this placeholder to use the whitespace in another way</a:t>
            </a:r>
          </a:p>
        </p:txBody>
      </p:sp>
      <p:sp>
        <p:nvSpPr>
          <p:cNvPr id="5" name="Rectangle 4"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4400">
              <a:solidFill>
                <a:srgbClr val="FFFFFF"/>
              </a:solidFill>
              <a:latin typeface="Henderson BCG Sans" panose="020B0502030402020204" pitchFamily="34" charset="0"/>
              <a:sym typeface="Henderson BCG Sans" panose="020B05020304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kern="0" smtClean="0">
                <a:solidFill>
                  <a:prstClr val="white">
                    <a:lumMod val="50000"/>
                  </a:prstClr>
                </a:solidFill>
                <a:sym typeface="+mn-lt"/>
              </a:rPr>
              <a:pPr algn="r">
                <a:defRPr/>
              </a:pPr>
              <a:t>‹#›</a:t>
            </a:fld>
            <a:endParaRPr lang="en-US" sz="800" kern="0">
              <a:solidFill>
                <a:prstClr val="white">
                  <a:lumMod val="50000"/>
                </a:prstClr>
              </a:solidFill>
              <a:sym typeface="+mn-lt"/>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kern="0">
                <a:solidFill>
                  <a:schemeClr val="bg1">
                    <a:lumMod val="50000"/>
                  </a:schemeClr>
                </a:solidFill>
                <a:latin typeface="+mn-lt"/>
                <a:ea typeface="+mn-ea"/>
                <a:cs typeface="+mn-cs"/>
                <a:sym typeface="+mn-lt"/>
              </a:defRPr>
            </a:lvl1pPr>
          </a:lstStyle>
          <a:p>
            <a:endParaRPr lang="en-US">
              <a:solidFill>
                <a:prstClr val="white">
                  <a:lumMod val="50000"/>
                </a:prstClr>
              </a:solidFill>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mn-lt"/>
              </a:rPr>
              <a:t>Copyright © 2022 by Boston Consulting Group. All rights reserved.</a:t>
            </a:r>
          </a:p>
        </p:txBody>
      </p:sp>
      <p:sp>
        <p:nvSpPr>
          <p:cNvPr id="28" name="Title 1">
            <a:extLst>
              <a:ext uri="{FF2B5EF4-FFF2-40B4-BE49-F238E27FC236}">
                <a16:creationId xmlns:a16="http://schemas.microsoft.com/office/drawing/2014/main" id="{4B87C973-7724-4DD3-86EC-B2B6E224BADC}"/>
              </a:ext>
            </a:extLst>
          </p:cNvPr>
          <p:cNvSpPr>
            <a:spLocks noGrp="1"/>
          </p:cNvSpPr>
          <p:nvPr>
            <p:ph type="title" hasCustomPrompt="1"/>
          </p:nvPr>
        </p:nvSpPr>
        <p:spPr bwMode="black">
          <a:xfrm>
            <a:off x="6718282" y="622800"/>
            <a:ext cx="4871640" cy="443198"/>
          </a:xfrm>
          <a:prstGeom prst="rect">
            <a:avLst/>
          </a:prstGeom>
          <a:noFill/>
        </p:spPr>
        <p:txBody>
          <a:bodyPr vert="horz" wrap="square" lIns="91440" tIns="0" rIns="320040" bIns="0" anchor="ctr">
            <a:noAutofit/>
          </a:bodyPr>
          <a:lstStyle>
            <a:lvl1pPr>
              <a:defRPr sz="3200" kern="0">
                <a:solidFill>
                  <a:srgbClr val="21BF61"/>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420408222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eyond layout 1">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6B02D07-A2F4-48DF-8D05-AFD80D10F6D9}"/>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3" name="Diapositive think-cell" r:id="rId4" imgW="286" imgH="286" progId="TCLayout.ActiveDocument.1">
                  <p:embed/>
                </p:oleObj>
              </mc:Choice>
              <mc:Fallback>
                <p:oleObj name="Diapositive think-cell" r:id="rId4" imgW="286" imgH="286" progId="TCLayout.ActiveDocument.1">
                  <p:embed/>
                  <p:pic>
                    <p:nvPicPr>
                      <p:cNvPr id="4" name="Object 3" hidden="1">
                        <a:extLst>
                          <a:ext uri="{FF2B5EF4-FFF2-40B4-BE49-F238E27FC236}">
                            <a16:creationId xmlns:a16="http://schemas.microsoft.com/office/drawing/2014/main" id="{E6B02D07-A2F4-48DF-8D05-AFD80D10F6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p>
        </p:txBody>
      </p:sp>
      <p:sp>
        <p:nvSpPr>
          <p:cNvPr id="6" name="Rectangle 5">
            <a:extLst>
              <a:ext uri="{FF2B5EF4-FFF2-40B4-BE49-F238E27FC236}">
                <a16:creationId xmlns:a16="http://schemas.microsoft.com/office/drawing/2014/main" id="{78B8C1ED-FE5F-409C-AB80-637298080D5A}"/>
              </a:ext>
            </a:extLst>
          </p:cNvPr>
          <p:cNvSpPr/>
          <p:nvPr userDrawn="1"/>
        </p:nvSpPr>
        <p:spPr>
          <a:xfrm>
            <a:off x="0" y="0"/>
            <a:ext cx="6683124" cy="6858000"/>
          </a:xfrm>
          <a:prstGeom prst="rect">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pic>
        <p:nvPicPr>
          <p:cNvPr id="8" name="Picture 7">
            <a:extLst>
              <a:ext uri="{FF2B5EF4-FFF2-40B4-BE49-F238E27FC236}">
                <a16:creationId xmlns:a16="http://schemas.microsoft.com/office/drawing/2014/main" id="{368BF0FB-B524-4BA8-802D-0B74284866A1}"/>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5467302" y="0"/>
            <a:ext cx="6724698" cy="6858000"/>
          </a:xfrm>
          <a:prstGeom prst="rect">
            <a:avLst/>
          </a:prstGeom>
        </p:spPr>
      </p:pic>
      <p:sp>
        <p:nvSpPr>
          <p:cNvPr id="9" name="Rectangle 8">
            <a:extLst>
              <a:ext uri="{FF2B5EF4-FFF2-40B4-BE49-F238E27FC236}">
                <a16:creationId xmlns:a16="http://schemas.microsoft.com/office/drawing/2014/main" id="{E6F2F1ED-9CE1-4372-8C83-52D806656357}"/>
              </a:ext>
            </a:extLst>
          </p:cNvPr>
          <p:cNvSpPr/>
          <p:nvPr userDrawn="1"/>
        </p:nvSpPr>
        <p:spPr>
          <a:xfrm rot="10800000">
            <a:off x="5467301" y="0"/>
            <a:ext cx="6654084" cy="6858000"/>
          </a:xfrm>
          <a:prstGeom prst="rect">
            <a:avLst/>
          </a:prstGeom>
          <a:gradFill flip="none" rotWithShape="1">
            <a:gsLst>
              <a:gs pos="100000">
                <a:schemeClr val="accent1">
                  <a:alpha val="69000"/>
                </a:schemeClr>
              </a:gs>
              <a:gs pos="0">
                <a:schemeClr val="accent1">
                  <a:alpha val="0"/>
                </a:schemeClr>
              </a:gs>
            </a:gsLst>
            <a:lin ang="0" scaled="1"/>
            <a:tileRect/>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11" name="Title 2">
            <a:extLst>
              <a:ext uri="{FF2B5EF4-FFF2-40B4-BE49-F238E27FC236}">
                <a16:creationId xmlns:a16="http://schemas.microsoft.com/office/drawing/2014/main" id="{3CD0F0F7-0E97-448F-ADD0-487A9644AFE3}"/>
              </a:ext>
            </a:extLst>
          </p:cNvPr>
          <p:cNvSpPr>
            <a:spLocks noGrp="1"/>
          </p:cNvSpPr>
          <p:nvPr>
            <p:ph type="title"/>
          </p:nvPr>
        </p:nvSpPr>
        <p:spPr>
          <a:xfrm>
            <a:off x="597015" y="2283945"/>
            <a:ext cx="4057406" cy="1678995"/>
          </a:xfrm>
          <a:prstGeom prst="rect">
            <a:avLst/>
          </a:prstGeom>
        </p:spPr>
        <p:txBody>
          <a:bodyPr/>
          <a:lstStyle>
            <a:lvl1pPr>
              <a:defRPr sz="4000"/>
            </a:lvl1pPr>
          </a:lstStyle>
          <a:p>
            <a:endParaRPr lang="en-US">
              <a:solidFill>
                <a:srgbClr val="21BF61"/>
              </a:solidFill>
              <a:latin typeface="Henderson BCG Sans Light" panose="020B0302030402020204" pitchFamily="34" charset="77"/>
              <a:cs typeface="Henderson BCG Sans Light" panose="020B0302030402020204" pitchFamily="34" charset="77"/>
            </a:endParaRPr>
          </a:p>
        </p:txBody>
      </p:sp>
      <p:cxnSp>
        <p:nvCxnSpPr>
          <p:cNvPr id="13" name="Straight Connector 12">
            <a:extLst>
              <a:ext uri="{FF2B5EF4-FFF2-40B4-BE49-F238E27FC236}">
                <a16:creationId xmlns:a16="http://schemas.microsoft.com/office/drawing/2014/main" id="{9DBF08B2-CBBB-437B-ABDE-B53DB23FF6AB}"/>
              </a:ext>
            </a:extLst>
          </p:cNvPr>
          <p:cNvCxnSpPr>
            <a:cxnSpLocks/>
          </p:cNvCxnSpPr>
          <p:nvPr userDrawn="1"/>
        </p:nvCxnSpPr>
        <p:spPr>
          <a:xfrm>
            <a:off x="597013" y="5226508"/>
            <a:ext cx="4057407" cy="0"/>
          </a:xfrm>
          <a:prstGeom prst="line">
            <a:avLst/>
          </a:prstGeom>
          <a:ln w="9525" cap="rnd">
            <a:solidFill>
              <a:schemeClr val="bg1">
                <a:lumMod val="85000"/>
              </a:schemeClr>
            </a:solidFill>
            <a:prstDash val="solid"/>
            <a:round/>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3F8BF45E-E988-46F9-9E6D-663F7DB12826}"/>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bwMode="ltGray">
          <a:xfrm flipH="1" flipV="1">
            <a:off x="5093738" y="0"/>
            <a:ext cx="416951" cy="6858000"/>
          </a:xfrm>
          <a:prstGeom prst="rect">
            <a:avLst/>
          </a:prstGeom>
        </p:spPr>
      </p:pic>
      <p:grpSp>
        <p:nvGrpSpPr>
          <p:cNvPr id="15" name="Group 14">
            <a:extLst>
              <a:ext uri="{FF2B5EF4-FFF2-40B4-BE49-F238E27FC236}">
                <a16:creationId xmlns:a16="http://schemas.microsoft.com/office/drawing/2014/main" id="{45D6EB87-1C17-443B-9195-E2CD3A87152D}"/>
              </a:ext>
            </a:extLst>
          </p:cNvPr>
          <p:cNvGrpSpPr/>
          <p:nvPr userDrawn="1"/>
        </p:nvGrpSpPr>
        <p:grpSpPr>
          <a:xfrm>
            <a:off x="6975603" y="1458410"/>
            <a:ext cx="3708097" cy="3772029"/>
            <a:chOff x="1803027" y="0"/>
            <a:chExt cx="4712589" cy="4793839"/>
          </a:xfrm>
        </p:grpSpPr>
        <p:sp>
          <p:nvSpPr>
            <p:cNvPr id="16" name="Rectangle 15">
              <a:extLst>
                <a:ext uri="{FF2B5EF4-FFF2-40B4-BE49-F238E27FC236}">
                  <a16:creationId xmlns:a16="http://schemas.microsoft.com/office/drawing/2014/main" id="{45C93163-871D-47C5-8BBD-E6E233D88D1B}"/>
                </a:ext>
              </a:extLst>
            </p:cNvPr>
            <p:cNvSpPr/>
            <p:nvPr/>
          </p:nvSpPr>
          <p:spPr>
            <a:xfrm>
              <a:off x="1803027" y="0"/>
              <a:ext cx="4712589" cy="4793839"/>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17" name="Rectangle 16">
              <a:extLst>
                <a:ext uri="{FF2B5EF4-FFF2-40B4-BE49-F238E27FC236}">
                  <a16:creationId xmlns:a16="http://schemas.microsoft.com/office/drawing/2014/main" id="{52C2C0ED-DA40-447B-BF33-89BE72DD6844}"/>
                </a:ext>
              </a:extLst>
            </p:cNvPr>
            <p:cNvSpPr/>
            <p:nvPr/>
          </p:nvSpPr>
          <p:spPr>
            <a:xfrm>
              <a:off x="2222643" y="426851"/>
              <a:ext cx="3873357" cy="3940138"/>
            </a:xfrm>
            <a:prstGeom prst="rect">
              <a:avLst/>
            </a:prstGeom>
            <a:solidFill>
              <a:srgbClr val="EDEDED"/>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grpSp>
      <p:pic>
        <p:nvPicPr>
          <p:cNvPr id="18" name="Picture 17">
            <a:extLst>
              <a:ext uri="{FF2B5EF4-FFF2-40B4-BE49-F238E27FC236}">
                <a16:creationId xmlns:a16="http://schemas.microsoft.com/office/drawing/2014/main" id="{02382A50-A169-4093-97E3-02DC628C7039}"/>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6673359" y="5432713"/>
            <a:ext cx="2772891" cy="970512"/>
          </a:xfrm>
          <a:prstGeom prst="rect">
            <a:avLst/>
          </a:prstGeom>
        </p:spPr>
      </p:pic>
      <p:pic>
        <p:nvPicPr>
          <p:cNvPr id="19" name="Picture 18">
            <a:extLst>
              <a:ext uri="{FF2B5EF4-FFF2-40B4-BE49-F238E27FC236}">
                <a16:creationId xmlns:a16="http://schemas.microsoft.com/office/drawing/2014/main" id="{50347498-211D-4B7B-B7DA-3ECF06172036}"/>
              </a:ext>
            </a:extLst>
          </p:cNvPr>
          <p:cNvPicPr>
            <a:picLocks noChangeAspect="1"/>
          </p:cNvPicPr>
          <p:nvPr userDrawn="1"/>
        </p:nvPicPr>
        <p:blipFill rotWithShape="1">
          <a:blip r:embed="rId9" cstate="screen">
            <a:extLst>
              <a:ext uri="{28A0092B-C50C-407E-A947-70E740481C1C}">
                <a14:useLocalDpi xmlns:a14="http://schemas.microsoft.com/office/drawing/2010/main"/>
              </a:ext>
            </a:extLst>
          </a:blip>
          <a:srcRect/>
          <a:stretch/>
        </p:blipFill>
        <p:spPr>
          <a:xfrm flipH="1">
            <a:off x="7305778" y="1794277"/>
            <a:ext cx="3047747" cy="3100296"/>
          </a:xfrm>
          <a:prstGeom prst="rect">
            <a:avLst/>
          </a:prstGeom>
        </p:spPr>
      </p:pic>
      <p:pic>
        <p:nvPicPr>
          <p:cNvPr id="20" name="Picture 19">
            <a:extLst>
              <a:ext uri="{FF2B5EF4-FFF2-40B4-BE49-F238E27FC236}">
                <a16:creationId xmlns:a16="http://schemas.microsoft.com/office/drawing/2014/main" id="{0D9FAC92-F184-4F84-ABAE-F7536DB7FDF2}"/>
              </a:ext>
            </a:extLst>
          </p:cNvPr>
          <p:cNvPicPr>
            <a:picLocks noChangeAspect="1"/>
          </p:cNvPicPr>
          <p:nvPr userDrawn="1"/>
        </p:nvPicPr>
        <p:blipFill>
          <a:blip r:embed="rId10"/>
          <a:stretch>
            <a:fillRect/>
          </a:stretch>
        </p:blipFill>
        <p:spPr>
          <a:xfrm>
            <a:off x="6892215" y="1458410"/>
            <a:ext cx="5310059" cy="5391176"/>
          </a:xfrm>
          <a:prstGeom prst="rect">
            <a:avLst/>
          </a:prstGeom>
        </p:spPr>
      </p:pic>
      <p:sp>
        <p:nvSpPr>
          <p:cNvPr id="23" name="Text Placeholder 22">
            <a:extLst>
              <a:ext uri="{FF2B5EF4-FFF2-40B4-BE49-F238E27FC236}">
                <a16:creationId xmlns:a16="http://schemas.microsoft.com/office/drawing/2014/main" id="{4536B11D-5B13-40DC-9326-7CD868E5FBF7}"/>
              </a:ext>
            </a:extLst>
          </p:cNvPr>
          <p:cNvSpPr>
            <a:spLocks noGrp="1"/>
          </p:cNvSpPr>
          <p:nvPr>
            <p:ph type="body" sz="quarter" idx="11" hasCustomPrompt="1"/>
          </p:nvPr>
        </p:nvSpPr>
        <p:spPr>
          <a:xfrm>
            <a:off x="597013" y="4124977"/>
            <a:ext cx="4057407" cy="436195"/>
          </a:xfrm>
          <a:prstGeom prst="rect">
            <a:avLst/>
          </a:prstGeom>
        </p:spPr>
        <p:txBody>
          <a:bodyPr/>
          <a:lstStyle>
            <a:lvl1pPr>
              <a:defRPr sz="2000">
                <a:latin typeface="+mj-lt"/>
              </a:defRPr>
            </a:lvl1pPr>
          </a:lstStyle>
          <a:p>
            <a:pPr lvl="0"/>
            <a:r>
              <a:rPr lang="en-US"/>
              <a:t>Subtitle in sentence case</a:t>
            </a:r>
          </a:p>
        </p:txBody>
      </p:sp>
      <p:sp>
        <p:nvSpPr>
          <p:cNvPr id="28" name="Text Placeholder 22">
            <a:extLst>
              <a:ext uri="{FF2B5EF4-FFF2-40B4-BE49-F238E27FC236}">
                <a16:creationId xmlns:a16="http://schemas.microsoft.com/office/drawing/2014/main" id="{17801D68-BBC8-4F64-9AEB-3B5A6730F9FC}"/>
              </a:ext>
            </a:extLst>
          </p:cNvPr>
          <p:cNvSpPr>
            <a:spLocks noGrp="1"/>
          </p:cNvSpPr>
          <p:nvPr>
            <p:ph type="body" sz="quarter" idx="12" hasCustomPrompt="1"/>
          </p:nvPr>
        </p:nvSpPr>
        <p:spPr>
          <a:xfrm>
            <a:off x="597015" y="5715105"/>
            <a:ext cx="4057406" cy="327149"/>
          </a:xfrm>
          <a:prstGeom prst="rect">
            <a:avLst/>
          </a:prstGeom>
        </p:spPr>
        <p:txBody>
          <a:bodyPr anchor="ctr"/>
          <a:lstStyle>
            <a:lvl1pPr>
              <a:defRPr sz="1200" cap="all" baseline="0">
                <a:latin typeface="+mj-lt"/>
              </a:defRPr>
            </a:lvl1pPr>
          </a:lstStyle>
          <a:p>
            <a:pPr lvl="0"/>
            <a:r>
              <a:rPr lang="en-US"/>
              <a:t>date</a:t>
            </a:r>
          </a:p>
        </p:txBody>
      </p:sp>
    </p:spTree>
    <p:extLst>
      <p:ext uri="{BB962C8B-B14F-4D97-AF65-F5344CB8AC3E}">
        <p14:creationId xmlns:p14="http://schemas.microsoft.com/office/powerpoint/2010/main" val="221966129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eyond layout 19">
    <p:bg bwMode="grayWhite">
      <p:bgPr>
        <a:solidFill>
          <a:srgbClr val="EDEDED"/>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5" name="Diapositive think-cell" r:id="rId5" imgW="352" imgH="355" progId="TCLayout.ActiveDocument.1">
                  <p:embed/>
                </p:oleObj>
              </mc:Choice>
              <mc:Fallback>
                <p:oleObj name="Diapositive think-cell"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6" name="Picture 25">
            <a:extLst>
              <a:ext uri="{FF2B5EF4-FFF2-40B4-BE49-F238E27FC236}">
                <a16:creationId xmlns:a16="http://schemas.microsoft.com/office/drawing/2014/main" id="{BD3EC2A2-4C36-484D-AA2F-45407688594A}"/>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bwMode="ltGray">
          <a:xfrm flipH="1">
            <a:off x="5689582" y="0"/>
            <a:ext cx="416951" cy="6858000"/>
          </a:xfrm>
          <a:prstGeom prst="rect">
            <a:avLst/>
          </a:prstGeom>
        </p:spPr>
      </p:pic>
      <p:sp>
        <p:nvSpPr>
          <p:cNvPr id="27" name="Rectangle 26">
            <a:extLst>
              <a:ext uri="{FF2B5EF4-FFF2-40B4-BE49-F238E27FC236}">
                <a16:creationId xmlns:a16="http://schemas.microsoft.com/office/drawing/2014/main" id="{E0173C80-BE87-4FCD-9E00-1FA948FFADCF}"/>
              </a:ext>
            </a:extLst>
          </p:cNvPr>
          <p:cNvSpPr/>
          <p:nvPr userDrawn="1"/>
        </p:nvSpPr>
        <p:spPr>
          <a:xfrm>
            <a:off x="6096000" y="0"/>
            <a:ext cx="6096000" cy="6858000"/>
          </a:xfrm>
          <a:prstGeom prst="rect">
            <a:avLst/>
          </a:prstGeom>
          <a:solidFill>
            <a:srgbClr val="F8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kern="0">
              <a:solidFill>
                <a:prstClr val="white"/>
              </a:solidFill>
              <a:sym typeface="+mn-lt"/>
            </a:endParaRPr>
          </a:p>
        </p:txBody>
      </p:sp>
      <p:pic>
        <p:nvPicPr>
          <p:cNvPr id="17" name="Picture 16">
            <a:extLst>
              <a:ext uri="{FF2B5EF4-FFF2-40B4-BE49-F238E27FC236}">
                <a16:creationId xmlns:a16="http://schemas.microsoft.com/office/drawing/2014/main" id="{D6D571D7-46B0-4EAF-846D-F2A90EA35CB5}"/>
              </a:ext>
            </a:extLst>
          </p:cNvPr>
          <p:cNvPicPr>
            <a:picLocks noChangeAspect="1"/>
          </p:cNvPicPr>
          <p:nvPr userDrawn="1"/>
        </p:nvPicPr>
        <p:blipFill rotWithShape="1">
          <a:blip r:embed="rId8" cstate="screen">
            <a:extLst>
              <a:ext uri="{28A0092B-C50C-407E-A947-70E740481C1C}">
                <a14:useLocalDpi xmlns:a14="http://schemas.microsoft.com/office/drawing/2010/main"/>
              </a:ext>
            </a:extLst>
          </a:blip>
          <a:srcRect/>
          <a:stretch/>
        </p:blipFill>
        <p:spPr>
          <a:xfrm>
            <a:off x="-1" y="1"/>
            <a:ext cx="6151420" cy="6857999"/>
          </a:xfrm>
          <a:prstGeom prst="rect">
            <a:avLst/>
          </a:prstGeom>
          <a:ln>
            <a:noFill/>
          </a:ln>
        </p:spPr>
      </p:pic>
      <p:grpSp>
        <p:nvGrpSpPr>
          <p:cNvPr id="30" name="Group 29">
            <a:extLst>
              <a:ext uri="{FF2B5EF4-FFF2-40B4-BE49-F238E27FC236}">
                <a16:creationId xmlns:a16="http://schemas.microsoft.com/office/drawing/2014/main" id="{84A4F24A-0514-4316-AFD5-CFF8B4653619}"/>
              </a:ext>
            </a:extLst>
          </p:cNvPr>
          <p:cNvGrpSpPr/>
          <p:nvPr userDrawn="1"/>
        </p:nvGrpSpPr>
        <p:grpSpPr>
          <a:xfrm>
            <a:off x="720656" y="1032080"/>
            <a:ext cx="4712589" cy="4793839"/>
            <a:chOff x="1803027" y="0"/>
            <a:chExt cx="4712589" cy="4793839"/>
          </a:xfrm>
        </p:grpSpPr>
        <p:sp>
          <p:nvSpPr>
            <p:cNvPr id="31" name="Rectangle 30">
              <a:extLst>
                <a:ext uri="{FF2B5EF4-FFF2-40B4-BE49-F238E27FC236}">
                  <a16:creationId xmlns:a16="http://schemas.microsoft.com/office/drawing/2014/main" id="{ABAD38E0-D734-4571-B13D-7D2CAAFC392B}"/>
                </a:ext>
              </a:extLst>
            </p:cNvPr>
            <p:cNvSpPr/>
            <p:nvPr/>
          </p:nvSpPr>
          <p:spPr>
            <a:xfrm>
              <a:off x="1803027" y="0"/>
              <a:ext cx="4712589" cy="4793839"/>
            </a:xfrm>
            <a:prstGeom prst="rect">
              <a:avLst/>
            </a:prstGeom>
            <a:solidFill>
              <a:sysClr val="window" lastClr="FFFFFF"/>
            </a:soli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Henderson BCG Sans Light"/>
                <a:ea typeface="+mn-ea"/>
                <a:cs typeface="+mn-cs"/>
              </a:endParaRPr>
            </a:p>
          </p:txBody>
        </p:sp>
        <p:sp>
          <p:nvSpPr>
            <p:cNvPr id="32" name="Rectangle 31">
              <a:extLst>
                <a:ext uri="{FF2B5EF4-FFF2-40B4-BE49-F238E27FC236}">
                  <a16:creationId xmlns:a16="http://schemas.microsoft.com/office/drawing/2014/main" id="{E02EFB5E-38E9-4198-89A0-D03E4672EFE1}"/>
                </a:ext>
              </a:extLst>
            </p:cNvPr>
            <p:cNvSpPr/>
            <p:nvPr/>
          </p:nvSpPr>
          <p:spPr>
            <a:xfrm>
              <a:off x="2222643" y="426851"/>
              <a:ext cx="3873357" cy="3940138"/>
            </a:xfrm>
            <a:prstGeom prst="rect">
              <a:avLst/>
            </a:prstGeom>
            <a:solidFill>
              <a:srgbClr val="EDEDED"/>
            </a:soli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Henderson BCG Sans Light"/>
                <a:ea typeface="+mn-ea"/>
                <a:cs typeface="+mn-cs"/>
              </a:endParaRPr>
            </a:p>
          </p:txBody>
        </p:sp>
      </p:grpSp>
      <p:pic>
        <p:nvPicPr>
          <p:cNvPr id="33" name="Picture 32">
            <a:extLst>
              <a:ext uri="{FF2B5EF4-FFF2-40B4-BE49-F238E27FC236}">
                <a16:creationId xmlns:a16="http://schemas.microsoft.com/office/drawing/2014/main" id="{AFBCF41D-9411-40BF-A150-F560C1D01A2F}"/>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bwMode="ltGray">
          <a:xfrm flipV="1">
            <a:off x="6151420" y="0"/>
            <a:ext cx="416951" cy="6858000"/>
          </a:xfrm>
          <a:prstGeom prst="rect">
            <a:avLst/>
          </a:prstGeom>
        </p:spPr>
      </p:pic>
      <p:sp>
        <p:nvSpPr>
          <p:cNvPr id="34" name="Picture Placeholder 18">
            <a:extLst>
              <a:ext uri="{FF2B5EF4-FFF2-40B4-BE49-F238E27FC236}">
                <a16:creationId xmlns:a16="http://schemas.microsoft.com/office/drawing/2014/main" id="{9AB02A09-529B-4956-89F4-C8B8A7B2B4A2}"/>
              </a:ext>
            </a:extLst>
          </p:cNvPr>
          <p:cNvSpPr>
            <a:spLocks noGrp="1"/>
          </p:cNvSpPr>
          <p:nvPr>
            <p:ph type="pic" sz="quarter" idx="14" hasCustomPrompt="1"/>
          </p:nvPr>
        </p:nvSpPr>
        <p:spPr>
          <a:xfrm>
            <a:off x="1157863" y="1458932"/>
            <a:ext cx="3855766" cy="3940138"/>
          </a:xfrm>
          <a:prstGeom prst="rect">
            <a:avLst/>
          </a:prstGeom>
          <a:noFill/>
        </p:spPr>
        <p:txBody>
          <a:bodyPr lIns="914400" tIns="914400" rIns="914400" bIns="914400"/>
          <a:lstStyle>
            <a:lvl1pPr algn="ctr">
              <a:defRPr sz="1800" kern="0" baseline="0">
                <a:latin typeface="+mn-lt"/>
                <a:ea typeface="+mn-ea"/>
                <a:cs typeface="+mn-cs"/>
                <a:sym typeface="+mn-lt"/>
              </a:defRPr>
            </a:lvl1pPr>
          </a:lstStyle>
          <a:p>
            <a:r>
              <a:rPr lang="en-US"/>
              <a:t>Click icon below to insert an image or remove this placeholder to use the whitespace in another way</a:t>
            </a:r>
          </a:p>
        </p:txBody>
      </p:sp>
      <p:sp>
        <p:nvSpPr>
          <p:cNvPr id="5" name="Rectangle 4"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4400">
              <a:solidFill>
                <a:srgbClr val="FFFFFF"/>
              </a:solidFill>
              <a:latin typeface="Henderson BCG Sans" panose="020B0502030402020204" pitchFamily="34" charset="0"/>
              <a:sym typeface="Henderson BCG Sans" panose="020B05020304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kern="0" smtClean="0">
                <a:solidFill>
                  <a:prstClr val="white">
                    <a:lumMod val="50000"/>
                  </a:prstClr>
                </a:solidFill>
                <a:sym typeface="+mn-lt"/>
              </a:rPr>
              <a:pPr algn="r">
                <a:defRPr/>
              </a:pPr>
              <a:t>‹#›</a:t>
            </a:fld>
            <a:endParaRPr lang="en-US" sz="800" kern="0">
              <a:solidFill>
                <a:prstClr val="white">
                  <a:lumMod val="50000"/>
                </a:prstClr>
              </a:solidFill>
              <a:sym typeface="+mn-lt"/>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kern="0">
                <a:solidFill>
                  <a:schemeClr val="bg1">
                    <a:lumMod val="50000"/>
                  </a:schemeClr>
                </a:solidFill>
                <a:latin typeface="+mn-lt"/>
                <a:ea typeface="+mn-ea"/>
                <a:cs typeface="+mn-cs"/>
                <a:sym typeface="+mn-lt"/>
              </a:defRPr>
            </a:lvl1pPr>
          </a:lstStyle>
          <a:p>
            <a:endParaRPr lang="en-US">
              <a:solidFill>
                <a:prstClr val="white">
                  <a:lumMod val="50000"/>
                </a:prstClr>
              </a:solidFill>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mn-lt"/>
              </a:rPr>
              <a:t>Copyright © 2022 by Boston Consulting Group. All rights reserved.</a:t>
            </a:r>
          </a:p>
        </p:txBody>
      </p:sp>
      <p:sp>
        <p:nvSpPr>
          <p:cNvPr id="28" name="Title 1">
            <a:extLst>
              <a:ext uri="{FF2B5EF4-FFF2-40B4-BE49-F238E27FC236}">
                <a16:creationId xmlns:a16="http://schemas.microsoft.com/office/drawing/2014/main" id="{4B87C973-7724-4DD3-86EC-B2B6E224BADC}"/>
              </a:ext>
            </a:extLst>
          </p:cNvPr>
          <p:cNvSpPr>
            <a:spLocks noGrp="1"/>
          </p:cNvSpPr>
          <p:nvPr>
            <p:ph type="title" hasCustomPrompt="1"/>
          </p:nvPr>
        </p:nvSpPr>
        <p:spPr bwMode="black">
          <a:xfrm>
            <a:off x="6718282" y="622800"/>
            <a:ext cx="4871640" cy="443198"/>
          </a:xfrm>
          <a:prstGeom prst="rect">
            <a:avLst/>
          </a:prstGeom>
          <a:noFill/>
        </p:spPr>
        <p:txBody>
          <a:bodyPr vert="horz" wrap="square" lIns="91440" tIns="0" rIns="320040" bIns="0" anchor="ctr">
            <a:noAutofit/>
          </a:bodyPr>
          <a:lstStyle>
            <a:lvl1pPr>
              <a:defRPr sz="3200" kern="0">
                <a:solidFill>
                  <a:srgbClr val="21BF61"/>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374053806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Beyond layout 20">
    <p:bg bwMode="grayWhite">
      <p:bgPr>
        <a:solidFill>
          <a:srgbClr val="EDEDED"/>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29" name="Diapositive think-cell" r:id="rId5" imgW="352" imgH="355" progId="TCLayout.ActiveDocument.1">
                  <p:embed/>
                </p:oleObj>
              </mc:Choice>
              <mc:Fallback>
                <p:oleObj name="Diapositive think-cell"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6" name="Picture 25">
            <a:extLst>
              <a:ext uri="{FF2B5EF4-FFF2-40B4-BE49-F238E27FC236}">
                <a16:creationId xmlns:a16="http://schemas.microsoft.com/office/drawing/2014/main" id="{BD3EC2A2-4C36-484D-AA2F-45407688594A}"/>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bwMode="ltGray">
          <a:xfrm flipH="1">
            <a:off x="5689582" y="0"/>
            <a:ext cx="416951" cy="6858000"/>
          </a:xfrm>
          <a:prstGeom prst="rect">
            <a:avLst/>
          </a:prstGeom>
        </p:spPr>
      </p:pic>
      <p:sp>
        <p:nvSpPr>
          <p:cNvPr id="27" name="Rectangle 26">
            <a:extLst>
              <a:ext uri="{FF2B5EF4-FFF2-40B4-BE49-F238E27FC236}">
                <a16:creationId xmlns:a16="http://schemas.microsoft.com/office/drawing/2014/main" id="{E0173C80-BE87-4FCD-9E00-1FA948FFADCF}"/>
              </a:ext>
            </a:extLst>
          </p:cNvPr>
          <p:cNvSpPr/>
          <p:nvPr userDrawn="1"/>
        </p:nvSpPr>
        <p:spPr>
          <a:xfrm>
            <a:off x="6096000" y="0"/>
            <a:ext cx="6096000" cy="6858000"/>
          </a:xfrm>
          <a:prstGeom prst="rect">
            <a:avLst/>
          </a:prstGeom>
          <a:solidFill>
            <a:srgbClr val="F8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kern="0">
              <a:solidFill>
                <a:prstClr val="white"/>
              </a:solidFill>
              <a:sym typeface="+mn-lt"/>
            </a:endParaRPr>
          </a:p>
        </p:txBody>
      </p:sp>
      <p:pic>
        <p:nvPicPr>
          <p:cNvPr id="17" name="Picture 16">
            <a:extLst>
              <a:ext uri="{FF2B5EF4-FFF2-40B4-BE49-F238E27FC236}">
                <a16:creationId xmlns:a16="http://schemas.microsoft.com/office/drawing/2014/main" id="{DA564389-2645-4926-A9C9-5BC715634D2B}"/>
              </a:ext>
            </a:extLst>
          </p:cNvPr>
          <p:cNvPicPr>
            <a:picLocks noChangeAspect="1"/>
          </p:cNvPicPr>
          <p:nvPr userDrawn="1"/>
        </p:nvPicPr>
        <p:blipFill rotWithShape="1">
          <a:blip r:embed="rId8" cstate="screen">
            <a:extLst>
              <a:ext uri="{28A0092B-C50C-407E-A947-70E740481C1C}">
                <a14:useLocalDpi xmlns:a14="http://schemas.microsoft.com/office/drawing/2010/main"/>
              </a:ext>
            </a:extLst>
          </a:blip>
          <a:srcRect/>
          <a:stretch/>
        </p:blipFill>
        <p:spPr>
          <a:xfrm>
            <a:off x="-1" y="1"/>
            <a:ext cx="6155342" cy="6858000"/>
          </a:xfrm>
          <a:prstGeom prst="rect">
            <a:avLst/>
          </a:prstGeom>
          <a:ln>
            <a:noFill/>
          </a:ln>
        </p:spPr>
      </p:pic>
      <p:grpSp>
        <p:nvGrpSpPr>
          <p:cNvPr id="30" name="Group 29">
            <a:extLst>
              <a:ext uri="{FF2B5EF4-FFF2-40B4-BE49-F238E27FC236}">
                <a16:creationId xmlns:a16="http://schemas.microsoft.com/office/drawing/2014/main" id="{84A4F24A-0514-4316-AFD5-CFF8B4653619}"/>
              </a:ext>
            </a:extLst>
          </p:cNvPr>
          <p:cNvGrpSpPr/>
          <p:nvPr userDrawn="1"/>
        </p:nvGrpSpPr>
        <p:grpSpPr>
          <a:xfrm>
            <a:off x="720656" y="1032080"/>
            <a:ext cx="4712589" cy="4793839"/>
            <a:chOff x="1803027" y="0"/>
            <a:chExt cx="4712589" cy="4793839"/>
          </a:xfrm>
        </p:grpSpPr>
        <p:sp>
          <p:nvSpPr>
            <p:cNvPr id="31" name="Rectangle 30">
              <a:extLst>
                <a:ext uri="{FF2B5EF4-FFF2-40B4-BE49-F238E27FC236}">
                  <a16:creationId xmlns:a16="http://schemas.microsoft.com/office/drawing/2014/main" id="{ABAD38E0-D734-4571-B13D-7D2CAAFC392B}"/>
                </a:ext>
              </a:extLst>
            </p:cNvPr>
            <p:cNvSpPr/>
            <p:nvPr/>
          </p:nvSpPr>
          <p:spPr>
            <a:xfrm>
              <a:off x="1803027" y="0"/>
              <a:ext cx="4712589" cy="4793839"/>
            </a:xfrm>
            <a:prstGeom prst="rect">
              <a:avLst/>
            </a:prstGeom>
            <a:solidFill>
              <a:sysClr val="window" lastClr="FFFFFF"/>
            </a:soli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Henderson BCG Sans Light"/>
                <a:ea typeface="+mn-ea"/>
                <a:cs typeface="+mn-cs"/>
              </a:endParaRPr>
            </a:p>
          </p:txBody>
        </p:sp>
        <p:sp>
          <p:nvSpPr>
            <p:cNvPr id="32" name="Rectangle 31">
              <a:extLst>
                <a:ext uri="{FF2B5EF4-FFF2-40B4-BE49-F238E27FC236}">
                  <a16:creationId xmlns:a16="http://schemas.microsoft.com/office/drawing/2014/main" id="{E02EFB5E-38E9-4198-89A0-D03E4672EFE1}"/>
                </a:ext>
              </a:extLst>
            </p:cNvPr>
            <p:cNvSpPr/>
            <p:nvPr/>
          </p:nvSpPr>
          <p:spPr>
            <a:xfrm>
              <a:off x="2222643" y="426851"/>
              <a:ext cx="3873357" cy="3940138"/>
            </a:xfrm>
            <a:prstGeom prst="rect">
              <a:avLst/>
            </a:prstGeom>
            <a:solidFill>
              <a:srgbClr val="EDEDED"/>
            </a:soli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Henderson BCG Sans Light"/>
                <a:ea typeface="+mn-ea"/>
                <a:cs typeface="+mn-cs"/>
              </a:endParaRPr>
            </a:p>
          </p:txBody>
        </p:sp>
      </p:grpSp>
      <p:pic>
        <p:nvPicPr>
          <p:cNvPr id="33" name="Picture 32">
            <a:extLst>
              <a:ext uri="{FF2B5EF4-FFF2-40B4-BE49-F238E27FC236}">
                <a16:creationId xmlns:a16="http://schemas.microsoft.com/office/drawing/2014/main" id="{AFBCF41D-9411-40BF-A150-F560C1D01A2F}"/>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bwMode="ltGray">
          <a:xfrm flipV="1">
            <a:off x="6151420" y="0"/>
            <a:ext cx="416951" cy="6858000"/>
          </a:xfrm>
          <a:prstGeom prst="rect">
            <a:avLst/>
          </a:prstGeom>
        </p:spPr>
      </p:pic>
      <p:sp>
        <p:nvSpPr>
          <p:cNvPr id="34" name="Picture Placeholder 18">
            <a:extLst>
              <a:ext uri="{FF2B5EF4-FFF2-40B4-BE49-F238E27FC236}">
                <a16:creationId xmlns:a16="http://schemas.microsoft.com/office/drawing/2014/main" id="{9AB02A09-529B-4956-89F4-C8B8A7B2B4A2}"/>
              </a:ext>
            </a:extLst>
          </p:cNvPr>
          <p:cNvSpPr>
            <a:spLocks noGrp="1"/>
          </p:cNvSpPr>
          <p:nvPr>
            <p:ph type="pic" sz="quarter" idx="14" hasCustomPrompt="1"/>
          </p:nvPr>
        </p:nvSpPr>
        <p:spPr>
          <a:xfrm>
            <a:off x="1157863" y="1458932"/>
            <a:ext cx="3855766" cy="3940138"/>
          </a:xfrm>
          <a:prstGeom prst="rect">
            <a:avLst/>
          </a:prstGeom>
          <a:noFill/>
        </p:spPr>
        <p:txBody>
          <a:bodyPr lIns="914400" tIns="914400" rIns="914400" bIns="914400"/>
          <a:lstStyle>
            <a:lvl1pPr algn="ctr">
              <a:defRPr sz="1800" kern="0" baseline="0">
                <a:latin typeface="+mn-lt"/>
                <a:ea typeface="+mn-ea"/>
                <a:cs typeface="+mn-cs"/>
                <a:sym typeface="+mn-lt"/>
              </a:defRPr>
            </a:lvl1pPr>
          </a:lstStyle>
          <a:p>
            <a:r>
              <a:rPr lang="en-US"/>
              <a:t>Click icon below to insert an image or remove this placeholder to use the whitespace in another way</a:t>
            </a:r>
          </a:p>
        </p:txBody>
      </p:sp>
      <p:sp>
        <p:nvSpPr>
          <p:cNvPr id="5" name="Rectangle 4"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4400">
              <a:solidFill>
                <a:srgbClr val="FFFFFF"/>
              </a:solidFill>
              <a:latin typeface="Henderson BCG Sans" panose="020B0502030402020204" pitchFamily="34" charset="0"/>
              <a:sym typeface="Henderson BCG Sans" panose="020B05020304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kern="0" smtClean="0">
                <a:solidFill>
                  <a:prstClr val="white">
                    <a:lumMod val="50000"/>
                  </a:prstClr>
                </a:solidFill>
                <a:sym typeface="+mn-lt"/>
              </a:rPr>
              <a:pPr algn="r">
                <a:defRPr/>
              </a:pPr>
              <a:t>‹#›</a:t>
            </a:fld>
            <a:endParaRPr lang="en-US" sz="800" kern="0">
              <a:solidFill>
                <a:prstClr val="white">
                  <a:lumMod val="50000"/>
                </a:prstClr>
              </a:solidFill>
              <a:sym typeface="+mn-lt"/>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kern="0">
                <a:solidFill>
                  <a:schemeClr val="bg1">
                    <a:lumMod val="50000"/>
                  </a:schemeClr>
                </a:solidFill>
                <a:latin typeface="+mn-lt"/>
                <a:ea typeface="+mn-ea"/>
                <a:cs typeface="+mn-cs"/>
                <a:sym typeface="+mn-lt"/>
              </a:defRPr>
            </a:lvl1pPr>
          </a:lstStyle>
          <a:p>
            <a:endParaRPr lang="en-US">
              <a:solidFill>
                <a:prstClr val="white">
                  <a:lumMod val="50000"/>
                </a:prstClr>
              </a:solidFill>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mn-lt"/>
              </a:rPr>
              <a:t>Copyright © 2022 by Boston Consulting Group. All rights reserved.</a:t>
            </a:r>
          </a:p>
        </p:txBody>
      </p:sp>
      <p:sp>
        <p:nvSpPr>
          <p:cNvPr id="28" name="Title 1">
            <a:extLst>
              <a:ext uri="{FF2B5EF4-FFF2-40B4-BE49-F238E27FC236}">
                <a16:creationId xmlns:a16="http://schemas.microsoft.com/office/drawing/2014/main" id="{4B87C973-7724-4DD3-86EC-B2B6E224BADC}"/>
              </a:ext>
            </a:extLst>
          </p:cNvPr>
          <p:cNvSpPr>
            <a:spLocks noGrp="1"/>
          </p:cNvSpPr>
          <p:nvPr>
            <p:ph type="title" hasCustomPrompt="1"/>
          </p:nvPr>
        </p:nvSpPr>
        <p:spPr bwMode="black">
          <a:xfrm>
            <a:off x="6718281" y="622800"/>
            <a:ext cx="4871640" cy="443198"/>
          </a:xfrm>
          <a:prstGeom prst="rect">
            <a:avLst/>
          </a:prstGeom>
          <a:noFill/>
        </p:spPr>
        <p:txBody>
          <a:bodyPr vert="horz" wrap="square" lIns="91440" tIns="0" rIns="320040" bIns="0" anchor="ctr">
            <a:noAutofit/>
          </a:bodyPr>
          <a:lstStyle>
            <a:lvl1pPr>
              <a:defRPr sz="3200" kern="0">
                <a:solidFill>
                  <a:srgbClr val="21BF61"/>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387304293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Beyond layout 21">
    <p:bg bwMode="grayWhite">
      <p:bgPr>
        <a:solidFill>
          <a:srgbClr val="EDEDED"/>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3" name="Diapositive think-cell" r:id="rId5" imgW="352" imgH="355" progId="TCLayout.ActiveDocument.1">
                  <p:embed/>
                </p:oleObj>
              </mc:Choice>
              <mc:Fallback>
                <p:oleObj name="Diapositive think-cell"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6" name="Picture 25">
            <a:extLst>
              <a:ext uri="{FF2B5EF4-FFF2-40B4-BE49-F238E27FC236}">
                <a16:creationId xmlns:a16="http://schemas.microsoft.com/office/drawing/2014/main" id="{BD3EC2A2-4C36-484D-AA2F-45407688594A}"/>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bwMode="ltGray">
          <a:xfrm flipH="1">
            <a:off x="5689582" y="0"/>
            <a:ext cx="416951" cy="6858000"/>
          </a:xfrm>
          <a:prstGeom prst="rect">
            <a:avLst/>
          </a:prstGeom>
        </p:spPr>
      </p:pic>
      <p:sp>
        <p:nvSpPr>
          <p:cNvPr id="27" name="Rectangle 26">
            <a:extLst>
              <a:ext uri="{FF2B5EF4-FFF2-40B4-BE49-F238E27FC236}">
                <a16:creationId xmlns:a16="http://schemas.microsoft.com/office/drawing/2014/main" id="{E0173C80-BE87-4FCD-9E00-1FA948FFADCF}"/>
              </a:ext>
            </a:extLst>
          </p:cNvPr>
          <p:cNvSpPr/>
          <p:nvPr userDrawn="1"/>
        </p:nvSpPr>
        <p:spPr>
          <a:xfrm>
            <a:off x="6096000" y="0"/>
            <a:ext cx="6096000" cy="6858000"/>
          </a:xfrm>
          <a:prstGeom prst="rect">
            <a:avLst/>
          </a:prstGeom>
          <a:solidFill>
            <a:srgbClr val="F8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kern="0">
              <a:solidFill>
                <a:prstClr val="white"/>
              </a:solidFill>
              <a:sym typeface="+mn-lt"/>
            </a:endParaRPr>
          </a:p>
        </p:txBody>
      </p:sp>
      <p:pic>
        <p:nvPicPr>
          <p:cNvPr id="18" name="Picture 17">
            <a:extLst>
              <a:ext uri="{FF2B5EF4-FFF2-40B4-BE49-F238E27FC236}">
                <a16:creationId xmlns:a16="http://schemas.microsoft.com/office/drawing/2014/main" id="{A78E2AE5-4179-40D3-AE0B-99D9B38B51CA}"/>
              </a:ext>
            </a:extLst>
          </p:cNvPr>
          <p:cNvPicPr>
            <a:picLocks noChangeAspect="1"/>
          </p:cNvPicPr>
          <p:nvPr userDrawn="1"/>
        </p:nvPicPr>
        <p:blipFill rotWithShape="1">
          <a:blip r:embed="rId8" cstate="screen">
            <a:extLst>
              <a:ext uri="{28A0092B-C50C-407E-A947-70E740481C1C}">
                <a14:useLocalDpi xmlns:a14="http://schemas.microsoft.com/office/drawing/2010/main"/>
              </a:ext>
            </a:extLst>
          </a:blip>
          <a:srcRect/>
          <a:stretch/>
        </p:blipFill>
        <p:spPr>
          <a:xfrm>
            <a:off x="-1" y="1"/>
            <a:ext cx="6151420" cy="6853423"/>
          </a:xfrm>
          <a:prstGeom prst="rect">
            <a:avLst/>
          </a:prstGeom>
          <a:ln>
            <a:noFill/>
          </a:ln>
        </p:spPr>
      </p:pic>
      <p:grpSp>
        <p:nvGrpSpPr>
          <p:cNvPr id="30" name="Group 29">
            <a:extLst>
              <a:ext uri="{FF2B5EF4-FFF2-40B4-BE49-F238E27FC236}">
                <a16:creationId xmlns:a16="http://schemas.microsoft.com/office/drawing/2014/main" id="{84A4F24A-0514-4316-AFD5-CFF8B4653619}"/>
              </a:ext>
            </a:extLst>
          </p:cNvPr>
          <p:cNvGrpSpPr/>
          <p:nvPr userDrawn="1"/>
        </p:nvGrpSpPr>
        <p:grpSpPr>
          <a:xfrm>
            <a:off x="720656" y="1032080"/>
            <a:ext cx="4712589" cy="4793839"/>
            <a:chOff x="1803027" y="0"/>
            <a:chExt cx="4712589" cy="4793839"/>
          </a:xfrm>
        </p:grpSpPr>
        <p:sp>
          <p:nvSpPr>
            <p:cNvPr id="31" name="Rectangle 30">
              <a:extLst>
                <a:ext uri="{FF2B5EF4-FFF2-40B4-BE49-F238E27FC236}">
                  <a16:creationId xmlns:a16="http://schemas.microsoft.com/office/drawing/2014/main" id="{ABAD38E0-D734-4571-B13D-7D2CAAFC392B}"/>
                </a:ext>
              </a:extLst>
            </p:cNvPr>
            <p:cNvSpPr/>
            <p:nvPr/>
          </p:nvSpPr>
          <p:spPr>
            <a:xfrm>
              <a:off x="1803027" y="0"/>
              <a:ext cx="4712589" cy="4793839"/>
            </a:xfrm>
            <a:prstGeom prst="rect">
              <a:avLst/>
            </a:prstGeom>
            <a:solidFill>
              <a:sysClr val="window" lastClr="FFFFFF"/>
            </a:soli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Henderson BCG Sans Light"/>
                <a:ea typeface="+mn-ea"/>
                <a:cs typeface="+mn-cs"/>
              </a:endParaRPr>
            </a:p>
          </p:txBody>
        </p:sp>
        <p:sp>
          <p:nvSpPr>
            <p:cNvPr id="32" name="Rectangle 31">
              <a:extLst>
                <a:ext uri="{FF2B5EF4-FFF2-40B4-BE49-F238E27FC236}">
                  <a16:creationId xmlns:a16="http://schemas.microsoft.com/office/drawing/2014/main" id="{E02EFB5E-38E9-4198-89A0-D03E4672EFE1}"/>
                </a:ext>
              </a:extLst>
            </p:cNvPr>
            <p:cNvSpPr/>
            <p:nvPr/>
          </p:nvSpPr>
          <p:spPr>
            <a:xfrm>
              <a:off x="2222643" y="426851"/>
              <a:ext cx="3873357" cy="3940138"/>
            </a:xfrm>
            <a:prstGeom prst="rect">
              <a:avLst/>
            </a:prstGeom>
            <a:solidFill>
              <a:srgbClr val="EDEDED"/>
            </a:soli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Henderson BCG Sans Light"/>
                <a:ea typeface="+mn-ea"/>
                <a:cs typeface="+mn-cs"/>
              </a:endParaRPr>
            </a:p>
          </p:txBody>
        </p:sp>
      </p:grpSp>
      <p:pic>
        <p:nvPicPr>
          <p:cNvPr id="33" name="Picture 32">
            <a:extLst>
              <a:ext uri="{FF2B5EF4-FFF2-40B4-BE49-F238E27FC236}">
                <a16:creationId xmlns:a16="http://schemas.microsoft.com/office/drawing/2014/main" id="{AFBCF41D-9411-40BF-A150-F560C1D01A2F}"/>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bwMode="ltGray">
          <a:xfrm flipV="1">
            <a:off x="6151420" y="0"/>
            <a:ext cx="416951" cy="6858000"/>
          </a:xfrm>
          <a:prstGeom prst="rect">
            <a:avLst/>
          </a:prstGeom>
        </p:spPr>
      </p:pic>
      <p:sp>
        <p:nvSpPr>
          <p:cNvPr id="34" name="Picture Placeholder 18">
            <a:extLst>
              <a:ext uri="{FF2B5EF4-FFF2-40B4-BE49-F238E27FC236}">
                <a16:creationId xmlns:a16="http://schemas.microsoft.com/office/drawing/2014/main" id="{9AB02A09-529B-4956-89F4-C8B8A7B2B4A2}"/>
              </a:ext>
            </a:extLst>
          </p:cNvPr>
          <p:cNvSpPr>
            <a:spLocks noGrp="1"/>
          </p:cNvSpPr>
          <p:nvPr>
            <p:ph type="pic" sz="quarter" idx="14" hasCustomPrompt="1"/>
          </p:nvPr>
        </p:nvSpPr>
        <p:spPr>
          <a:xfrm>
            <a:off x="1157863" y="1458932"/>
            <a:ext cx="3855766" cy="3940138"/>
          </a:xfrm>
          <a:prstGeom prst="rect">
            <a:avLst/>
          </a:prstGeom>
          <a:noFill/>
        </p:spPr>
        <p:txBody>
          <a:bodyPr lIns="914400" tIns="914400" rIns="914400" bIns="914400"/>
          <a:lstStyle>
            <a:lvl1pPr algn="ctr">
              <a:defRPr sz="1800" kern="0" baseline="0">
                <a:latin typeface="+mn-lt"/>
                <a:ea typeface="+mn-ea"/>
                <a:cs typeface="+mn-cs"/>
                <a:sym typeface="+mn-lt"/>
              </a:defRPr>
            </a:lvl1pPr>
          </a:lstStyle>
          <a:p>
            <a:r>
              <a:rPr lang="en-US"/>
              <a:t>Click icon below to insert an image or remove this placeholder to use the whitespace in another way</a:t>
            </a:r>
          </a:p>
        </p:txBody>
      </p:sp>
      <p:sp>
        <p:nvSpPr>
          <p:cNvPr id="5" name="Rectangle 4"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4400">
              <a:solidFill>
                <a:srgbClr val="FFFFFF"/>
              </a:solidFill>
              <a:latin typeface="Henderson BCG Sans" panose="020B0502030402020204" pitchFamily="34" charset="0"/>
              <a:sym typeface="Henderson BCG Sans" panose="020B05020304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kern="0" smtClean="0">
                <a:solidFill>
                  <a:prstClr val="white">
                    <a:lumMod val="50000"/>
                  </a:prstClr>
                </a:solidFill>
                <a:sym typeface="+mn-lt"/>
              </a:rPr>
              <a:pPr algn="r">
                <a:defRPr/>
              </a:pPr>
              <a:t>‹#›</a:t>
            </a:fld>
            <a:endParaRPr lang="en-US" sz="800" kern="0">
              <a:solidFill>
                <a:prstClr val="white">
                  <a:lumMod val="50000"/>
                </a:prstClr>
              </a:solidFill>
              <a:sym typeface="+mn-lt"/>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kern="0">
                <a:solidFill>
                  <a:schemeClr val="bg1">
                    <a:lumMod val="50000"/>
                  </a:schemeClr>
                </a:solidFill>
                <a:latin typeface="+mn-lt"/>
                <a:ea typeface="+mn-ea"/>
                <a:cs typeface="+mn-cs"/>
                <a:sym typeface="+mn-lt"/>
              </a:defRPr>
            </a:lvl1pPr>
          </a:lstStyle>
          <a:p>
            <a:endParaRPr lang="en-US">
              <a:solidFill>
                <a:prstClr val="white">
                  <a:lumMod val="50000"/>
                </a:prstClr>
              </a:solidFill>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mn-lt"/>
              </a:rPr>
              <a:t>Copyright © 2022 by Boston Consulting Group. All rights reserved.</a:t>
            </a:r>
          </a:p>
        </p:txBody>
      </p:sp>
      <p:sp>
        <p:nvSpPr>
          <p:cNvPr id="28" name="Title 1">
            <a:extLst>
              <a:ext uri="{FF2B5EF4-FFF2-40B4-BE49-F238E27FC236}">
                <a16:creationId xmlns:a16="http://schemas.microsoft.com/office/drawing/2014/main" id="{4B87C973-7724-4DD3-86EC-B2B6E224BADC}"/>
              </a:ext>
            </a:extLst>
          </p:cNvPr>
          <p:cNvSpPr>
            <a:spLocks noGrp="1"/>
          </p:cNvSpPr>
          <p:nvPr>
            <p:ph type="title" hasCustomPrompt="1"/>
          </p:nvPr>
        </p:nvSpPr>
        <p:spPr bwMode="black">
          <a:xfrm>
            <a:off x="6718281" y="622800"/>
            <a:ext cx="4871640" cy="443198"/>
          </a:xfrm>
          <a:prstGeom prst="rect">
            <a:avLst/>
          </a:prstGeom>
          <a:noFill/>
        </p:spPr>
        <p:txBody>
          <a:bodyPr vert="horz" wrap="square" lIns="91440" tIns="0" rIns="320040" bIns="0" anchor="ctr">
            <a:noAutofit/>
          </a:bodyPr>
          <a:lstStyle>
            <a:lvl1pPr>
              <a:defRPr sz="3200" kern="0">
                <a:solidFill>
                  <a:srgbClr val="21BF61"/>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238216404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Beyond layout 22">
    <p:bg bwMode="grayWhite">
      <p:bgPr>
        <a:solidFill>
          <a:srgbClr val="EDEDED"/>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77" name="Diapositive think-cell" r:id="rId5" imgW="352" imgH="355" progId="TCLayout.ActiveDocument.1">
                  <p:embed/>
                </p:oleObj>
              </mc:Choice>
              <mc:Fallback>
                <p:oleObj name="Diapositive think-cell"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9" name="Picture 18">
            <a:extLst>
              <a:ext uri="{FF2B5EF4-FFF2-40B4-BE49-F238E27FC236}">
                <a16:creationId xmlns:a16="http://schemas.microsoft.com/office/drawing/2014/main" id="{BC973002-0545-4EF5-A248-216BCE0A6AC7}"/>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a:xfrm>
            <a:off x="-3922" y="1"/>
            <a:ext cx="9139846" cy="6858000"/>
          </a:xfrm>
          <a:prstGeom prst="rect">
            <a:avLst/>
          </a:prstGeom>
          <a:ln>
            <a:noFill/>
          </a:ln>
        </p:spPr>
      </p:pic>
      <p:sp>
        <p:nvSpPr>
          <p:cNvPr id="27" name="Rectangle 26">
            <a:extLst>
              <a:ext uri="{FF2B5EF4-FFF2-40B4-BE49-F238E27FC236}">
                <a16:creationId xmlns:a16="http://schemas.microsoft.com/office/drawing/2014/main" id="{E0173C80-BE87-4FCD-9E00-1FA948FFADCF}"/>
              </a:ext>
            </a:extLst>
          </p:cNvPr>
          <p:cNvSpPr/>
          <p:nvPr userDrawn="1"/>
        </p:nvSpPr>
        <p:spPr>
          <a:xfrm>
            <a:off x="6151420" y="0"/>
            <a:ext cx="6040580" cy="6858000"/>
          </a:xfrm>
          <a:prstGeom prst="rect">
            <a:avLst/>
          </a:prstGeom>
          <a:solidFill>
            <a:srgbClr val="F8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kern="0">
              <a:solidFill>
                <a:prstClr val="white"/>
              </a:solidFill>
              <a:sym typeface="+mn-lt"/>
            </a:endParaRPr>
          </a:p>
        </p:txBody>
      </p:sp>
      <p:grpSp>
        <p:nvGrpSpPr>
          <p:cNvPr id="30" name="Group 29">
            <a:extLst>
              <a:ext uri="{FF2B5EF4-FFF2-40B4-BE49-F238E27FC236}">
                <a16:creationId xmlns:a16="http://schemas.microsoft.com/office/drawing/2014/main" id="{84A4F24A-0514-4316-AFD5-CFF8B4653619}"/>
              </a:ext>
            </a:extLst>
          </p:cNvPr>
          <p:cNvGrpSpPr/>
          <p:nvPr userDrawn="1"/>
        </p:nvGrpSpPr>
        <p:grpSpPr>
          <a:xfrm>
            <a:off x="720656" y="1032080"/>
            <a:ext cx="4712589" cy="4793839"/>
            <a:chOff x="1803027" y="0"/>
            <a:chExt cx="4712589" cy="4793839"/>
          </a:xfrm>
        </p:grpSpPr>
        <p:sp>
          <p:nvSpPr>
            <p:cNvPr id="31" name="Rectangle 30">
              <a:extLst>
                <a:ext uri="{FF2B5EF4-FFF2-40B4-BE49-F238E27FC236}">
                  <a16:creationId xmlns:a16="http://schemas.microsoft.com/office/drawing/2014/main" id="{ABAD38E0-D734-4571-B13D-7D2CAAFC392B}"/>
                </a:ext>
              </a:extLst>
            </p:cNvPr>
            <p:cNvSpPr/>
            <p:nvPr/>
          </p:nvSpPr>
          <p:spPr>
            <a:xfrm>
              <a:off x="1803027" y="0"/>
              <a:ext cx="4712589" cy="4793839"/>
            </a:xfrm>
            <a:prstGeom prst="rect">
              <a:avLst/>
            </a:prstGeom>
            <a:solidFill>
              <a:sysClr val="window" lastClr="FFFFFF"/>
            </a:soli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Henderson BCG Sans Light"/>
                <a:ea typeface="+mn-ea"/>
                <a:cs typeface="+mn-cs"/>
              </a:endParaRPr>
            </a:p>
          </p:txBody>
        </p:sp>
        <p:sp>
          <p:nvSpPr>
            <p:cNvPr id="32" name="Rectangle 31">
              <a:extLst>
                <a:ext uri="{FF2B5EF4-FFF2-40B4-BE49-F238E27FC236}">
                  <a16:creationId xmlns:a16="http://schemas.microsoft.com/office/drawing/2014/main" id="{E02EFB5E-38E9-4198-89A0-D03E4672EFE1}"/>
                </a:ext>
              </a:extLst>
            </p:cNvPr>
            <p:cNvSpPr/>
            <p:nvPr/>
          </p:nvSpPr>
          <p:spPr>
            <a:xfrm>
              <a:off x="2222643" y="426851"/>
              <a:ext cx="3873357" cy="3940138"/>
            </a:xfrm>
            <a:prstGeom prst="rect">
              <a:avLst/>
            </a:prstGeom>
            <a:solidFill>
              <a:srgbClr val="EDEDED"/>
            </a:soli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Henderson BCG Sans Light"/>
                <a:ea typeface="+mn-ea"/>
                <a:cs typeface="+mn-cs"/>
              </a:endParaRPr>
            </a:p>
          </p:txBody>
        </p:sp>
      </p:grpSp>
      <p:pic>
        <p:nvPicPr>
          <p:cNvPr id="33" name="Picture 32">
            <a:extLst>
              <a:ext uri="{FF2B5EF4-FFF2-40B4-BE49-F238E27FC236}">
                <a16:creationId xmlns:a16="http://schemas.microsoft.com/office/drawing/2014/main" id="{AFBCF41D-9411-40BF-A150-F560C1D01A2F}"/>
              </a:ext>
            </a:extLst>
          </p:cNvPr>
          <p:cNvPicPr>
            <a:picLocks noChangeAspect="1"/>
          </p:cNvPicPr>
          <p:nvPr userDrawn="1"/>
        </p:nvPicPr>
        <p:blipFill rotWithShape="1">
          <a:blip r:embed="rId8" cstate="screen">
            <a:extLst>
              <a:ext uri="{28A0092B-C50C-407E-A947-70E740481C1C}">
                <a14:useLocalDpi xmlns:a14="http://schemas.microsoft.com/office/drawing/2010/main"/>
              </a:ext>
            </a:extLst>
          </a:blip>
          <a:srcRect/>
          <a:stretch/>
        </p:blipFill>
        <p:spPr bwMode="ltGray">
          <a:xfrm flipV="1">
            <a:off x="6151420" y="0"/>
            <a:ext cx="416951" cy="6858000"/>
          </a:xfrm>
          <a:prstGeom prst="rect">
            <a:avLst/>
          </a:prstGeom>
        </p:spPr>
      </p:pic>
      <p:sp>
        <p:nvSpPr>
          <p:cNvPr id="34" name="Picture Placeholder 18">
            <a:extLst>
              <a:ext uri="{FF2B5EF4-FFF2-40B4-BE49-F238E27FC236}">
                <a16:creationId xmlns:a16="http://schemas.microsoft.com/office/drawing/2014/main" id="{9AB02A09-529B-4956-89F4-C8B8A7B2B4A2}"/>
              </a:ext>
            </a:extLst>
          </p:cNvPr>
          <p:cNvSpPr>
            <a:spLocks noGrp="1"/>
          </p:cNvSpPr>
          <p:nvPr>
            <p:ph type="pic" sz="quarter" idx="14" hasCustomPrompt="1"/>
          </p:nvPr>
        </p:nvSpPr>
        <p:spPr>
          <a:xfrm>
            <a:off x="1157863" y="1458932"/>
            <a:ext cx="3855766" cy="3940138"/>
          </a:xfrm>
          <a:prstGeom prst="rect">
            <a:avLst/>
          </a:prstGeom>
          <a:noFill/>
        </p:spPr>
        <p:txBody>
          <a:bodyPr lIns="914400" tIns="914400" rIns="914400" bIns="914400"/>
          <a:lstStyle>
            <a:lvl1pPr algn="ctr">
              <a:defRPr sz="1800" kern="0" baseline="0">
                <a:latin typeface="+mn-lt"/>
                <a:ea typeface="+mn-ea"/>
                <a:cs typeface="+mn-cs"/>
                <a:sym typeface="+mn-lt"/>
              </a:defRPr>
            </a:lvl1pPr>
          </a:lstStyle>
          <a:p>
            <a:r>
              <a:rPr lang="en-US"/>
              <a:t>Click icon below to insert an image or remove this placeholder to use the whitespace in another way</a:t>
            </a:r>
          </a:p>
        </p:txBody>
      </p:sp>
      <p:sp>
        <p:nvSpPr>
          <p:cNvPr id="5" name="Rectangle 4"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4400">
              <a:solidFill>
                <a:srgbClr val="FFFFFF"/>
              </a:solidFill>
              <a:latin typeface="Henderson BCG Sans" panose="020B0502030402020204" pitchFamily="34" charset="0"/>
              <a:sym typeface="Henderson BCG Sans" panose="020B05020304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kern="0" smtClean="0">
                <a:solidFill>
                  <a:prstClr val="white">
                    <a:lumMod val="50000"/>
                  </a:prstClr>
                </a:solidFill>
                <a:sym typeface="+mn-lt"/>
              </a:rPr>
              <a:pPr algn="r">
                <a:defRPr/>
              </a:pPr>
              <a:t>‹#›</a:t>
            </a:fld>
            <a:endParaRPr lang="en-US" sz="800" kern="0">
              <a:solidFill>
                <a:prstClr val="white">
                  <a:lumMod val="50000"/>
                </a:prstClr>
              </a:solidFill>
              <a:sym typeface="+mn-lt"/>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kern="0">
                <a:solidFill>
                  <a:schemeClr val="bg1">
                    <a:lumMod val="50000"/>
                  </a:schemeClr>
                </a:solidFill>
                <a:latin typeface="+mn-lt"/>
                <a:ea typeface="+mn-ea"/>
                <a:cs typeface="+mn-cs"/>
                <a:sym typeface="+mn-lt"/>
              </a:defRPr>
            </a:lvl1pPr>
          </a:lstStyle>
          <a:p>
            <a:endParaRPr lang="en-US">
              <a:solidFill>
                <a:prstClr val="white">
                  <a:lumMod val="50000"/>
                </a:prstClr>
              </a:solidFill>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mn-lt"/>
              </a:rPr>
              <a:t>Copyright © 2022 by Boston Consulting Group. All rights reserved.</a:t>
            </a:r>
          </a:p>
        </p:txBody>
      </p:sp>
      <p:sp>
        <p:nvSpPr>
          <p:cNvPr id="28" name="Title 1">
            <a:extLst>
              <a:ext uri="{FF2B5EF4-FFF2-40B4-BE49-F238E27FC236}">
                <a16:creationId xmlns:a16="http://schemas.microsoft.com/office/drawing/2014/main" id="{4B87C973-7724-4DD3-86EC-B2B6E224BADC}"/>
              </a:ext>
            </a:extLst>
          </p:cNvPr>
          <p:cNvSpPr>
            <a:spLocks noGrp="1"/>
          </p:cNvSpPr>
          <p:nvPr>
            <p:ph type="title" hasCustomPrompt="1"/>
          </p:nvPr>
        </p:nvSpPr>
        <p:spPr bwMode="black">
          <a:xfrm>
            <a:off x="6718281" y="622800"/>
            <a:ext cx="4871640" cy="443198"/>
          </a:xfrm>
          <a:prstGeom prst="rect">
            <a:avLst/>
          </a:prstGeom>
          <a:noFill/>
        </p:spPr>
        <p:txBody>
          <a:bodyPr vert="horz" wrap="square" lIns="91440" tIns="0" rIns="320040" bIns="0" anchor="ctr">
            <a:noAutofit/>
          </a:bodyPr>
          <a:lstStyle>
            <a:lvl1pPr>
              <a:defRPr sz="3200" kern="0">
                <a:solidFill>
                  <a:srgbClr val="21BF61"/>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282460586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eyond layout 23">
    <p:bg bwMode="grayWhite">
      <p:bgPr>
        <a:solidFill>
          <a:srgbClr val="EDEDED"/>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1" name="Diapositive think-cell" r:id="rId5" imgW="352" imgH="355" progId="TCLayout.ActiveDocument.1">
                  <p:embed/>
                </p:oleObj>
              </mc:Choice>
              <mc:Fallback>
                <p:oleObj name="Diapositive think-cell"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4400">
              <a:solidFill>
                <a:srgbClr val="FFFFFF"/>
              </a:solidFill>
              <a:latin typeface="Henderson BCG Sans" panose="020B0502030402020204" pitchFamily="34" charset="0"/>
              <a:sym typeface="Henderson BCG Sans" panose="020B0502030402020204" pitchFamily="34" charset="0"/>
            </a:endParaRPr>
          </a:p>
        </p:txBody>
      </p:sp>
      <p:pic>
        <p:nvPicPr>
          <p:cNvPr id="11" name="Picture 10"/>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rgbClr val="F8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kern="0">
              <a:solidFill>
                <a:prstClr val="white"/>
              </a:solidFill>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kern="0" smtClean="0">
                <a:solidFill>
                  <a:prstClr val="white">
                    <a:lumMod val="50000"/>
                  </a:prstClr>
                </a:solidFill>
                <a:sym typeface="+mn-lt"/>
              </a:rPr>
              <a:pPr algn="r">
                <a:defRPr/>
              </a:pPr>
              <a:t>‹#›</a:t>
            </a:fld>
            <a:endParaRPr lang="en-US" sz="800" kern="0">
              <a:solidFill>
                <a:prstClr val="white">
                  <a:lumMod val="50000"/>
                </a:prstClr>
              </a:solidFill>
              <a:sym typeface="+mn-lt"/>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kern="0">
                <a:solidFill>
                  <a:schemeClr val="bg1">
                    <a:lumMod val="50000"/>
                  </a:schemeClr>
                </a:solidFill>
                <a:latin typeface="+mn-lt"/>
                <a:ea typeface="+mn-ea"/>
                <a:cs typeface="+mn-cs"/>
                <a:sym typeface="+mn-lt"/>
              </a:defRPr>
            </a:lvl1pPr>
          </a:lstStyle>
          <a:p>
            <a:endParaRPr lang="en-US">
              <a:solidFill>
                <a:prstClr val="white">
                  <a:lumMod val="50000"/>
                </a:prstClr>
              </a:solidFill>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mn-lt"/>
              </a:rPr>
              <a:t>Copyright © 2022 by Boston Consulting Group. All rights reserved.</a:t>
            </a:r>
          </a:p>
        </p:txBody>
      </p:sp>
      <p:pic>
        <p:nvPicPr>
          <p:cNvPr id="17" name="Picture 16">
            <a:extLst>
              <a:ext uri="{FF2B5EF4-FFF2-40B4-BE49-F238E27FC236}">
                <a16:creationId xmlns:a16="http://schemas.microsoft.com/office/drawing/2014/main" id="{E4A6EB48-7E7D-4407-9FA8-D88D6E5F1C3E}"/>
              </a:ext>
            </a:extLst>
          </p:cNvPr>
          <p:cNvPicPr>
            <a:picLocks noChangeAspect="1"/>
          </p:cNvPicPr>
          <p:nvPr userDrawn="1"/>
        </p:nvPicPr>
        <p:blipFill rotWithShape="1">
          <a:blip r:embed="rId8" cstate="screen">
            <a:extLst>
              <a:ext uri="{28A0092B-C50C-407E-A947-70E740481C1C}">
                <a14:useLocalDpi xmlns:a14="http://schemas.microsoft.com/office/drawing/2010/main"/>
              </a:ext>
            </a:extLst>
          </a:blip>
          <a:srcRect/>
          <a:stretch/>
        </p:blipFill>
        <p:spPr>
          <a:xfrm>
            <a:off x="6035375" y="0"/>
            <a:ext cx="6156625" cy="6858000"/>
          </a:xfrm>
          <a:prstGeom prst="rect">
            <a:avLst/>
          </a:prstGeom>
          <a:ln>
            <a:noFill/>
          </a:ln>
        </p:spPr>
      </p:pic>
      <p:grpSp>
        <p:nvGrpSpPr>
          <p:cNvPr id="18" name="Group 17">
            <a:extLst>
              <a:ext uri="{FF2B5EF4-FFF2-40B4-BE49-F238E27FC236}">
                <a16:creationId xmlns:a16="http://schemas.microsoft.com/office/drawing/2014/main" id="{C31B87C6-8228-4D8F-B882-7CFCD1C850DE}"/>
              </a:ext>
            </a:extLst>
          </p:cNvPr>
          <p:cNvGrpSpPr/>
          <p:nvPr userDrawn="1"/>
        </p:nvGrpSpPr>
        <p:grpSpPr>
          <a:xfrm>
            <a:off x="6757314" y="1032080"/>
            <a:ext cx="4712589" cy="4793839"/>
            <a:chOff x="1803027" y="0"/>
            <a:chExt cx="4712589" cy="4793839"/>
          </a:xfrm>
        </p:grpSpPr>
        <p:sp>
          <p:nvSpPr>
            <p:cNvPr id="19" name="Rectangle 18">
              <a:extLst>
                <a:ext uri="{FF2B5EF4-FFF2-40B4-BE49-F238E27FC236}">
                  <a16:creationId xmlns:a16="http://schemas.microsoft.com/office/drawing/2014/main" id="{3ECD3B27-539A-47FF-AEDE-D61BC4EA4AE4}"/>
                </a:ext>
              </a:extLst>
            </p:cNvPr>
            <p:cNvSpPr/>
            <p:nvPr/>
          </p:nvSpPr>
          <p:spPr>
            <a:xfrm>
              <a:off x="1803027" y="0"/>
              <a:ext cx="4712589" cy="4793839"/>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20" name="Rectangle 19">
              <a:extLst>
                <a:ext uri="{FF2B5EF4-FFF2-40B4-BE49-F238E27FC236}">
                  <a16:creationId xmlns:a16="http://schemas.microsoft.com/office/drawing/2014/main" id="{96093661-A9C7-4E88-9D06-E70306F444F6}"/>
                </a:ext>
              </a:extLst>
            </p:cNvPr>
            <p:cNvSpPr/>
            <p:nvPr/>
          </p:nvSpPr>
          <p:spPr>
            <a:xfrm>
              <a:off x="2222643" y="426851"/>
              <a:ext cx="3873357" cy="3940138"/>
            </a:xfrm>
            <a:prstGeom prst="rect">
              <a:avLst/>
            </a:prstGeom>
            <a:solidFill>
              <a:srgbClr val="EDEDED"/>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grpSp>
      <p:sp>
        <p:nvSpPr>
          <p:cNvPr id="13" name="Picture Placeholder 18"/>
          <p:cNvSpPr>
            <a:spLocks noGrp="1"/>
          </p:cNvSpPr>
          <p:nvPr>
            <p:ph type="pic" sz="quarter" idx="14" hasCustomPrompt="1"/>
          </p:nvPr>
        </p:nvSpPr>
        <p:spPr>
          <a:xfrm>
            <a:off x="7194521" y="1458931"/>
            <a:ext cx="3855766" cy="3940138"/>
          </a:xfrm>
          <a:prstGeom prst="rect">
            <a:avLst/>
          </a:prstGeom>
          <a:noFill/>
        </p:spPr>
        <p:txBody>
          <a:bodyPr lIns="914400" tIns="914400" rIns="914400" bIns="914400"/>
          <a:lstStyle>
            <a:lvl1pPr algn="ctr">
              <a:defRPr sz="1800" kern="0" baseline="0">
                <a:latin typeface="+mn-lt"/>
                <a:ea typeface="+mn-ea"/>
                <a:cs typeface="+mn-cs"/>
                <a:sym typeface="+mn-lt"/>
              </a:defRPr>
            </a:lvl1pPr>
          </a:lstStyle>
          <a:p>
            <a:r>
              <a:rPr lang="en-US"/>
              <a:t>Click icon below to insert an image or remove this placeholder to use the whitespace in another way</a:t>
            </a:r>
          </a:p>
        </p:txBody>
      </p:sp>
      <p:sp>
        <p:nvSpPr>
          <p:cNvPr id="23" name="TextBox 22">
            <a:extLst>
              <a:ext uri="{FF2B5EF4-FFF2-40B4-BE49-F238E27FC236}">
                <a16:creationId xmlns:a16="http://schemas.microsoft.com/office/drawing/2014/main" id="{B2CB1401-28A1-486B-8B97-B1B87E60B9A0}"/>
              </a:ext>
            </a:extLst>
          </p:cNvPr>
          <p:cNvSpPr txBox="1"/>
          <p:nvPr userDrawn="1"/>
        </p:nvSpPr>
        <p:spPr>
          <a:xfrm>
            <a:off x="11167872" y="6405037"/>
            <a:ext cx="381000" cy="153888"/>
          </a:xfrm>
          <a:prstGeom prst="rect">
            <a:avLst/>
          </a:prstGeom>
          <a:noFill/>
        </p:spPr>
        <p:txBody>
          <a:bodyPr vert="horz" wrap="square" lIns="0" tIns="0" rIns="0" bIns="0" rtlCol="0" anchor="b" anchorCtr="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0" smtClean="0">
                <a:solidFill>
                  <a:srgbClr val="FFFFFF"/>
                </a:solidFill>
                <a:latin typeface="Henderson BCG Sans Light" panose="020B03020304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0">
              <a:solidFill>
                <a:srgbClr val="FFFFFF"/>
              </a:solidFill>
              <a:latin typeface="Henderson BCG Sans Light" panose="020B0302030402020204" pitchFamily="34" charset="0"/>
              <a:ea typeface="+mn-ea"/>
              <a:cs typeface="+mn-cs"/>
              <a:sym typeface="Trebuchet MS" panose="020B0603020202020204" pitchFamily="34" charset="0"/>
            </a:endParaRPr>
          </a:p>
        </p:txBody>
      </p:sp>
      <p:sp>
        <p:nvSpPr>
          <p:cNvPr id="14" name="Title 1"/>
          <p:cNvSpPr>
            <a:spLocks noGrp="1"/>
          </p:cNvSpPr>
          <p:nvPr>
            <p:ph type="title" hasCustomPrompt="1"/>
          </p:nvPr>
        </p:nvSpPr>
        <p:spPr bwMode="black">
          <a:xfrm>
            <a:off x="512216" y="622800"/>
            <a:ext cx="4871640" cy="443198"/>
          </a:xfrm>
          <a:prstGeom prst="rect">
            <a:avLst/>
          </a:prstGeom>
          <a:noFill/>
        </p:spPr>
        <p:txBody>
          <a:bodyPr vert="horz" wrap="square" lIns="91440" tIns="0" rIns="320040" bIns="0" anchor="ctr">
            <a:noAutofit/>
          </a:bodyPr>
          <a:lstStyle>
            <a:lvl1pPr>
              <a:defRPr sz="3200" kern="0">
                <a:solidFill>
                  <a:srgbClr val="21BF61"/>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57883038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eyond layout 24">
    <p:bg bwMode="grayWhite">
      <p:bgPr>
        <a:solidFill>
          <a:srgbClr val="EDEDED"/>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5" name="Diapositive think-cell" r:id="rId5" imgW="352" imgH="355" progId="TCLayout.ActiveDocument.1">
                  <p:embed/>
                </p:oleObj>
              </mc:Choice>
              <mc:Fallback>
                <p:oleObj name="Diapositive think-cell"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4400">
              <a:solidFill>
                <a:srgbClr val="FFFFFF"/>
              </a:solidFill>
              <a:latin typeface="Henderson BCG Sans" panose="020B0502030402020204" pitchFamily="34" charset="0"/>
              <a:sym typeface="Henderson BCG Sans" panose="020B0502030402020204" pitchFamily="34" charset="0"/>
            </a:endParaRPr>
          </a:p>
        </p:txBody>
      </p:sp>
      <p:pic>
        <p:nvPicPr>
          <p:cNvPr id="11" name="Picture 10"/>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rgbClr val="F8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kern="0">
              <a:solidFill>
                <a:prstClr val="white"/>
              </a:solidFill>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kern="0" smtClean="0">
                <a:solidFill>
                  <a:prstClr val="white">
                    <a:lumMod val="50000"/>
                  </a:prstClr>
                </a:solidFill>
                <a:sym typeface="+mn-lt"/>
              </a:rPr>
              <a:pPr algn="r">
                <a:defRPr/>
              </a:pPr>
              <a:t>‹#›</a:t>
            </a:fld>
            <a:endParaRPr lang="en-US" sz="800" kern="0">
              <a:solidFill>
                <a:prstClr val="white">
                  <a:lumMod val="50000"/>
                </a:prstClr>
              </a:solidFill>
              <a:sym typeface="+mn-lt"/>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kern="0">
                <a:solidFill>
                  <a:schemeClr val="bg1">
                    <a:lumMod val="50000"/>
                  </a:schemeClr>
                </a:solidFill>
                <a:latin typeface="+mn-lt"/>
                <a:ea typeface="+mn-ea"/>
                <a:cs typeface="+mn-cs"/>
                <a:sym typeface="+mn-lt"/>
              </a:defRPr>
            </a:lvl1pPr>
          </a:lstStyle>
          <a:p>
            <a:endParaRPr lang="en-US">
              <a:solidFill>
                <a:prstClr val="white">
                  <a:lumMod val="50000"/>
                </a:prstClr>
              </a:solidFill>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mn-lt"/>
              </a:rPr>
              <a:t>Copyright © 2022 by Boston Consulting Group. All rights reserved.</a:t>
            </a:r>
          </a:p>
        </p:txBody>
      </p:sp>
      <p:pic>
        <p:nvPicPr>
          <p:cNvPr id="23" name="Picture 22">
            <a:extLst>
              <a:ext uri="{FF2B5EF4-FFF2-40B4-BE49-F238E27FC236}">
                <a16:creationId xmlns:a16="http://schemas.microsoft.com/office/drawing/2014/main" id="{3B49AA0A-A12C-4157-8177-407F8EB923D5}"/>
              </a:ext>
            </a:extLst>
          </p:cNvPr>
          <p:cNvPicPr>
            <a:picLocks noChangeAspect="1"/>
          </p:cNvPicPr>
          <p:nvPr userDrawn="1"/>
        </p:nvPicPr>
        <p:blipFill>
          <a:blip r:embed="rId8" cstate="screen">
            <a:extLst>
              <a:ext uri="{28A0092B-C50C-407E-A947-70E740481C1C}">
                <a14:useLocalDpi xmlns:a14="http://schemas.microsoft.com/office/drawing/2010/main"/>
              </a:ext>
            </a:extLst>
          </a:blip>
          <a:srcRect/>
          <a:stretch/>
        </p:blipFill>
        <p:spPr>
          <a:xfrm>
            <a:off x="6035375" y="0"/>
            <a:ext cx="6156625" cy="6858000"/>
          </a:xfrm>
          <a:prstGeom prst="rect">
            <a:avLst/>
          </a:prstGeom>
          <a:ln>
            <a:noFill/>
          </a:ln>
        </p:spPr>
      </p:pic>
      <p:grpSp>
        <p:nvGrpSpPr>
          <p:cNvPr id="18" name="Group 17">
            <a:extLst>
              <a:ext uri="{FF2B5EF4-FFF2-40B4-BE49-F238E27FC236}">
                <a16:creationId xmlns:a16="http://schemas.microsoft.com/office/drawing/2014/main" id="{C31B87C6-8228-4D8F-B882-7CFCD1C850DE}"/>
              </a:ext>
            </a:extLst>
          </p:cNvPr>
          <p:cNvGrpSpPr/>
          <p:nvPr userDrawn="1"/>
        </p:nvGrpSpPr>
        <p:grpSpPr>
          <a:xfrm>
            <a:off x="6757314" y="1032080"/>
            <a:ext cx="4712589" cy="4793839"/>
            <a:chOff x="1803027" y="0"/>
            <a:chExt cx="4712589" cy="4793839"/>
          </a:xfrm>
        </p:grpSpPr>
        <p:sp>
          <p:nvSpPr>
            <p:cNvPr id="19" name="Rectangle 18">
              <a:extLst>
                <a:ext uri="{FF2B5EF4-FFF2-40B4-BE49-F238E27FC236}">
                  <a16:creationId xmlns:a16="http://schemas.microsoft.com/office/drawing/2014/main" id="{3ECD3B27-539A-47FF-AEDE-D61BC4EA4AE4}"/>
                </a:ext>
              </a:extLst>
            </p:cNvPr>
            <p:cNvSpPr/>
            <p:nvPr/>
          </p:nvSpPr>
          <p:spPr>
            <a:xfrm>
              <a:off x="1803027" y="0"/>
              <a:ext cx="4712589" cy="4793839"/>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20" name="Rectangle 19">
              <a:extLst>
                <a:ext uri="{FF2B5EF4-FFF2-40B4-BE49-F238E27FC236}">
                  <a16:creationId xmlns:a16="http://schemas.microsoft.com/office/drawing/2014/main" id="{96093661-A9C7-4E88-9D06-E70306F444F6}"/>
                </a:ext>
              </a:extLst>
            </p:cNvPr>
            <p:cNvSpPr/>
            <p:nvPr/>
          </p:nvSpPr>
          <p:spPr>
            <a:xfrm>
              <a:off x="2222643" y="426851"/>
              <a:ext cx="3873357" cy="3940138"/>
            </a:xfrm>
            <a:prstGeom prst="rect">
              <a:avLst/>
            </a:prstGeom>
            <a:solidFill>
              <a:srgbClr val="EDEDED"/>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grpSp>
      <p:sp>
        <p:nvSpPr>
          <p:cNvPr id="13" name="Picture Placeholder 18"/>
          <p:cNvSpPr>
            <a:spLocks noGrp="1"/>
          </p:cNvSpPr>
          <p:nvPr>
            <p:ph type="pic" sz="quarter" idx="14" hasCustomPrompt="1"/>
          </p:nvPr>
        </p:nvSpPr>
        <p:spPr>
          <a:xfrm>
            <a:off x="7194521" y="1458931"/>
            <a:ext cx="3855766" cy="3940138"/>
          </a:xfrm>
          <a:prstGeom prst="rect">
            <a:avLst/>
          </a:prstGeom>
          <a:noFill/>
        </p:spPr>
        <p:txBody>
          <a:bodyPr lIns="914400" tIns="914400" rIns="914400" bIns="914400"/>
          <a:lstStyle>
            <a:lvl1pPr algn="ctr">
              <a:defRPr sz="1800" kern="0" baseline="0">
                <a:latin typeface="+mn-lt"/>
                <a:ea typeface="+mn-ea"/>
                <a:cs typeface="+mn-cs"/>
                <a:sym typeface="+mn-lt"/>
              </a:defRPr>
            </a:lvl1pPr>
          </a:lstStyle>
          <a:p>
            <a:r>
              <a:rPr lang="en-US"/>
              <a:t>Click icon below to insert an image or remove this placeholder to use the whitespace in another way</a:t>
            </a:r>
          </a:p>
        </p:txBody>
      </p:sp>
      <p:sp>
        <p:nvSpPr>
          <p:cNvPr id="24" name="TextBox 23">
            <a:extLst>
              <a:ext uri="{FF2B5EF4-FFF2-40B4-BE49-F238E27FC236}">
                <a16:creationId xmlns:a16="http://schemas.microsoft.com/office/drawing/2014/main" id="{716AD727-E5B1-40A5-A2F6-1396485A5271}"/>
              </a:ext>
            </a:extLst>
          </p:cNvPr>
          <p:cNvSpPr txBox="1"/>
          <p:nvPr userDrawn="1"/>
        </p:nvSpPr>
        <p:spPr>
          <a:xfrm>
            <a:off x="11167872" y="6405037"/>
            <a:ext cx="381000" cy="153888"/>
          </a:xfrm>
          <a:prstGeom prst="rect">
            <a:avLst/>
          </a:prstGeom>
          <a:noFill/>
        </p:spPr>
        <p:txBody>
          <a:bodyPr vert="horz" wrap="square" lIns="0" tIns="0" rIns="0" bIns="0" rtlCol="0" anchor="b" anchorCtr="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0" smtClean="0">
                <a:solidFill>
                  <a:srgbClr val="FFFFFF"/>
                </a:solidFill>
                <a:latin typeface="Henderson BCG Sans Light" panose="020B03020304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0">
              <a:solidFill>
                <a:srgbClr val="FFFFFF"/>
              </a:solidFill>
              <a:latin typeface="Henderson BCG Sans Light" panose="020B0302030402020204" pitchFamily="34" charset="0"/>
              <a:ea typeface="+mn-ea"/>
              <a:cs typeface="+mn-cs"/>
              <a:sym typeface="Trebuchet MS" panose="020B0603020202020204" pitchFamily="34" charset="0"/>
            </a:endParaRPr>
          </a:p>
        </p:txBody>
      </p:sp>
      <p:sp>
        <p:nvSpPr>
          <p:cNvPr id="14" name="Title 1"/>
          <p:cNvSpPr>
            <a:spLocks noGrp="1"/>
          </p:cNvSpPr>
          <p:nvPr>
            <p:ph type="title" hasCustomPrompt="1"/>
          </p:nvPr>
        </p:nvSpPr>
        <p:spPr bwMode="black">
          <a:xfrm>
            <a:off x="512216" y="622800"/>
            <a:ext cx="4871640" cy="443198"/>
          </a:xfrm>
          <a:prstGeom prst="rect">
            <a:avLst/>
          </a:prstGeom>
          <a:noFill/>
        </p:spPr>
        <p:txBody>
          <a:bodyPr vert="horz" wrap="square" lIns="91440" tIns="0" rIns="320040" bIns="0" anchor="ctr">
            <a:noAutofit/>
          </a:bodyPr>
          <a:lstStyle>
            <a:lvl1pPr>
              <a:defRPr sz="3200" kern="0">
                <a:solidFill>
                  <a:srgbClr val="21BF61"/>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62140042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Beyond layout 25">
    <p:bg bwMode="grayWhite">
      <p:bgPr>
        <a:solidFill>
          <a:srgbClr val="EDEDED"/>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49" name="Diapositive think-cell" r:id="rId5" imgW="352" imgH="355" progId="TCLayout.ActiveDocument.1">
                  <p:embed/>
                </p:oleObj>
              </mc:Choice>
              <mc:Fallback>
                <p:oleObj name="Diapositive think-cell"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4400">
              <a:solidFill>
                <a:srgbClr val="FFFFFF"/>
              </a:solidFill>
              <a:latin typeface="Henderson BCG Sans" panose="020B0502030402020204" pitchFamily="34" charset="0"/>
              <a:sym typeface="Henderson BCG Sans" panose="020B0502030402020204" pitchFamily="34" charset="0"/>
            </a:endParaRPr>
          </a:p>
        </p:txBody>
      </p:sp>
      <p:pic>
        <p:nvPicPr>
          <p:cNvPr id="11" name="Picture 10"/>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rgbClr val="F8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kern="0">
              <a:solidFill>
                <a:prstClr val="white"/>
              </a:solidFill>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kern="0" smtClean="0">
                <a:solidFill>
                  <a:prstClr val="white">
                    <a:lumMod val="50000"/>
                  </a:prstClr>
                </a:solidFill>
                <a:sym typeface="+mn-lt"/>
              </a:rPr>
              <a:pPr algn="r">
                <a:defRPr/>
              </a:pPr>
              <a:t>‹#›</a:t>
            </a:fld>
            <a:endParaRPr lang="en-US" sz="800" kern="0">
              <a:solidFill>
                <a:prstClr val="white">
                  <a:lumMod val="50000"/>
                </a:prstClr>
              </a:solidFill>
              <a:sym typeface="+mn-lt"/>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kern="0">
                <a:solidFill>
                  <a:schemeClr val="bg1">
                    <a:lumMod val="50000"/>
                  </a:schemeClr>
                </a:solidFill>
                <a:latin typeface="+mn-lt"/>
                <a:ea typeface="+mn-ea"/>
                <a:cs typeface="+mn-cs"/>
                <a:sym typeface="+mn-lt"/>
              </a:defRPr>
            </a:lvl1pPr>
          </a:lstStyle>
          <a:p>
            <a:endParaRPr lang="en-US">
              <a:solidFill>
                <a:prstClr val="white">
                  <a:lumMod val="50000"/>
                </a:prstClr>
              </a:solidFill>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mn-lt"/>
              </a:rPr>
              <a:t>Copyright © 2022 by Boston Consulting Group. All rights reserved.</a:t>
            </a:r>
          </a:p>
        </p:txBody>
      </p:sp>
      <p:pic>
        <p:nvPicPr>
          <p:cNvPr id="23" name="Picture 22">
            <a:extLst>
              <a:ext uri="{FF2B5EF4-FFF2-40B4-BE49-F238E27FC236}">
                <a16:creationId xmlns:a16="http://schemas.microsoft.com/office/drawing/2014/main" id="{6B904E42-88B4-43A5-9EC5-2132C5C2D9E5}"/>
              </a:ext>
            </a:extLst>
          </p:cNvPr>
          <p:cNvPicPr>
            <a:picLocks noChangeAspect="1"/>
          </p:cNvPicPr>
          <p:nvPr userDrawn="1"/>
        </p:nvPicPr>
        <p:blipFill rotWithShape="1">
          <a:blip r:embed="rId8" cstate="screen">
            <a:extLst>
              <a:ext uri="{28A0092B-C50C-407E-A947-70E740481C1C}">
                <a14:useLocalDpi xmlns:a14="http://schemas.microsoft.com/office/drawing/2010/main"/>
              </a:ext>
            </a:extLst>
          </a:blip>
          <a:srcRect r="-1"/>
          <a:stretch/>
        </p:blipFill>
        <p:spPr>
          <a:xfrm>
            <a:off x="6035375" y="0"/>
            <a:ext cx="6156625" cy="6866919"/>
          </a:xfrm>
          <a:prstGeom prst="rect">
            <a:avLst/>
          </a:prstGeom>
          <a:ln>
            <a:noFill/>
          </a:ln>
        </p:spPr>
      </p:pic>
      <p:grpSp>
        <p:nvGrpSpPr>
          <p:cNvPr id="18" name="Group 17">
            <a:extLst>
              <a:ext uri="{FF2B5EF4-FFF2-40B4-BE49-F238E27FC236}">
                <a16:creationId xmlns:a16="http://schemas.microsoft.com/office/drawing/2014/main" id="{C31B87C6-8228-4D8F-B882-7CFCD1C850DE}"/>
              </a:ext>
            </a:extLst>
          </p:cNvPr>
          <p:cNvGrpSpPr/>
          <p:nvPr userDrawn="1"/>
        </p:nvGrpSpPr>
        <p:grpSpPr>
          <a:xfrm>
            <a:off x="6757314" y="1032080"/>
            <a:ext cx="4712589" cy="4793839"/>
            <a:chOff x="1803027" y="0"/>
            <a:chExt cx="4712589" cy="4793839"/>
          </a:xfrm>
        </p:grpSpPr>
        <p:sp>
          <p:nvSpPr>
            <p:cNvPr id="19" name="Rectangle 18">
              <a:extLst>
                <a:ext uri="{FF2B5EF4-FFF2-40B4-BE49-F238E27FC236}">
                  <a16:creationId xmlns:a16="http://schemas.microsoft.com/office/drawing/2014/main" id="{3ECD3B27-539A-47FF-AEDE-D61BC4EA4AE4}"/>
                </a:ext>
              </a:extLst>
            </p:cNvPr>
            <p:cNvSpPr/>
            <p:nvPr/>
          </p:nvSpPr>
          <p:spPr>
            <a:xfrm>
              <a:off x="1803027" y="0"/>
              <a:ext cx="4712589" cy="4793839"/>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20" name="Rectangle 19">
              <a:extLst>
                <a:ext uri="{FF2B5EF4-FFF2-40B4-BE49-F238E27FC236}">
                  <a16:creationId xmlns:a16="http://schemas.microsoft.com/office/drawing/2014/main" id="{96093661-A9C7-4E88-9D06-E70306F444F6}"/>
                </a:ext>
              </a:extLst>
            </p:cNvPr>
            <p:cNvSpPr/>
            <p:nvPr/>
          </p:nvSpPr>
          <p:spPr>
            <a:xfrm>
              <a:off x="2222643" y="426851"/>
              <a:ext cx="3873357" cy="3940138"/>
            </a:xfrm>
            <a:prstGeom prst="rect">
              <a:avLst/>
            </a:prstGeom>
            <a:solidFill>
              <a:srgbClr val="EDEDED"/>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grpSp>
      <p:sp>
        <p:nvSpPr>
          <p:cNvPr id="13" name="Picture Placeholder 18"/>
          <p:cNvSpPr>
            <a:spLocks noGrp="1"/>
          </p:cNvSpPr>
          <p:nvPr>
            <p:ph type="pic" sz="quarter" idx="14" hasCustomPrompt="1"/>
          </p:nvPr>
        </p:nvSpPr>
        <p:spPr>
          <a:xfrm>
            <a:off x="7194521" y="1458931"/>
            <a:ext cx="3855766" cy="3940138"/>
          </a:xfrm>
          <a:prstGeom prst="rect">
            <a:avLst/>
          </a:prstGeom>
          <a:noFill/>
        </p:spPr>
        <p:txBody>
          <a:bodyPr lIns="914400" tIns="914400" rIns="914400" bIns="914400"/>
          <a:lstStyle>
            <a:lvl1pPr algn="ctr">
              <a:defRPr sz="1800" kern="0" baseline="0">
                <a:latin typeface="+mn-lt"/>
                <a:ea typeface="+mn-ea"/>
                <a:cs typeface="+mn-cs"/>
                <a:sym typeface="+mn-lt"/>
              </a:defRPr>
            </a:lvl1pPr>
          </a:lstStyle>
          <a:p>
            <a:r>
              <a:rPr lang="en-US"/>
              <a:t>Click icon below to insert an image or remove this placeholder to use the whitespace in another way</a:t>
            </a:r>
          </a:p>
        </p:txBody>
      </p:sp>
      <p:sp>
        <p:nvSpPr>
          <p:cNvPr id="24" name="TextBox 23">
            <a:extLst>
              <a:ext uri="{FF2B5EF4-FFF2-40B4-BE49-F238E27FC236}">
                <a16:creationId xmlns:a16="http://schemas.microsoft.com/office/drawing/2014/main" id="{1D9981D8-8FAD-4AB9-B5A9-2F3DB34FF432}"/>
              </a:ext>
            </a:extLst>
          </p:cNvPr>
          <p:cNvSpPr txBox="1"/>
          <p:nvPr userDrawn="1"/>
        </p:nvSpPr>
        <p:spPr>
          <a:xfrm>
            <a:off x="11167872" y="6405037"/>
            <a:ext cx="381000" cy="153888"/>
          </a:xfrm>
          <a:prstGeom prst="rect">
            <a:avLst/>
          </a:prstGeom>
          <a:noFill/>
        </p:spPr>
        <p:txBody>
          <a:bodyPr vert="horz" wrap="square" lIns="0" tIns="0" rIns="0" bIns="0" rtlCol="0" anchor="b" anchorCtr="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0" smtClean="0">
                <a:solidFill>
                  <a:srgbClr val="FFFFFF"/>
                </a:solidFill>
                <a:latin typeface="Henderson BCG Sans Light" panose="020B03020304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0">
              <a:solidFill>
                <a:srgbClr val="FFFFFF"/>
              </a:solidFill>
              <a:latin typeface="Henderson BCG Sans Light" panose="020B0302030402020204" pitchFamily="34" charset="0"/>
              <a:ea typeface="+mn-ea"/>
              <a:cs typeface="+mn-cs"/>
              <a:sym typeface="Trebuchet MS" panose="020B0603020202020204" pitchFamily="34" charset="0"/>
            </a:endParaRPr>
          </a:p>
        </p:txBody>
      </p:sp>
      <p:sp>
        <p:nvSpPr>
          <p:cNvPr id="14" name="Title 1"/>
          <p:cNvSpPr>
            <a:spLocks noGrp="1"/>
          </p:cNvSpPr>
          <p:nvPr>
            <p:ph type="title" hasCustomPrompt="1"/>
          </p:nvPr>
        </p:nvSpPr>
        <p:spPr bwMode="black">
          <a:xfrm>
            <a:off x="512216" y="622800"/>
            <a:ext cx="4871640" cy="443198"/>
          </a:xfrm>
          <a:prstGeom prst="rect">
            <a:avLst/>
          </a:prstGeom>
          <a:noFill/>
        </p:spPr>
        <p:txBody>
          <a:bodyPr vert="horz" wrap="square" lIns="91440" tIns="0" rIns="320040" bIns="0" anchor="ctr">
            <a:noAutofit/>
          </a:bodyPr>
          <a:lstStyle>
            <a:lvl1pPr>
              <a:defRPr sz="3200" kern="0">
                <a:solidFill>
                  <a:srgbClr val="21BF61"/>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95675900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Beyond layout 26">
    <p:bg bwMode="grayWhite">
      <p:bgPr>
        <a:solidFill>
          <a:srgbClr val="EDEDED"/>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3" name="Diapositive think-cell" r:id="rId5" imgW="352" imgH="355" progId="TCLayout.ActiveDocument.1">
                  <p:embed/>
                </p:oleObj>
              </mc:Choice>
              <mc:Fallback>
                <p:oleObj name="Diapositive think-cell"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4400">
              <a:solidFill>
                <a:srgbClr val="FFFFFF"/>
              </a:solidFill>
              <a:latin typeface="Henderson BCG Sans" panose="020B0502030402020204" pitchFamily="34" charset="0"/>
              <a:sym typeface="Henderson BCG Sans" panose="020B0502030402020204" pitchFamily="34" charset="0"/>
            </a:endParaRPr>
          </a:p>
        </p:txBody>
      </p:sp>
      <p:pic>
        <p:nvPicPr>
          <p:cNvPr id="11" name="Picture 10"/>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rgbClr val="F8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kern="0">
              <a:solidFill>
                <a:prstClr val="white"/>
              </a:solidFill>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kern="0" smtClean="0">
                <a:solidFill>
                  <a:prstClr val="white">
                    <a:lumMod val="50000"/>
                  </a:prstClr>
                </a:solidFill>
                <a:sym typeface="+mn-lt"/>
              </a:rPr>
              <a:pPr algn="r">
                <a:defRPr/>
              </a:pPr>
              <a:t>‹#›</a:t>
            </a:fld>
            <a:endParaRPr lang="en-US" sz="800" kern="0">
              <a:solidFill>
                <a:prstClr val="white">
                  <a:lumMod val="50000"/>
                </a:prstClr>
              </a:solidFill>
              <a:sym typeface="+mn-lt"/>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kern="0">
                <a:solidFill>
                  <a:schemeClr val="bg1">
                    <a:lumMod val="50000"/>
                  </a:schemeClr>
                </a:solidFill>
                <a:latin typeface="+mn-lt"/>
                <a:ea typeface="+mn-ea"/>
                <a:cs typeface="+mn-cs"/>
                <a:sym typeface="+mn-lt"/>
              </a:defRPr>
            </a:lvl1pPr>
          </a:lstStyle>
          <a:p>
            <a:endParaRPr lang="en-US">
              <a:solidFill>
                <a:prstClr val="white">
                  <a:lumMod val="50000"/>
                </a:prstClr>
              </a:solidFill>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mn-lt"/>
              </a:rPr>
              <a:t>Copyright © 2022 by Boston Consulting Group. All rights reserved.</a:t>
            </a:r>
          </a:p>
        </p:txBody>
      </p:sp>
      <p:pic>
        <p:nvPicPr>
          <p:cNvPr id="22" name="Picture 21">
            <a:extLst>
              <a:ext uri="{FF2B5EF4-FFF2-40B4-BE49-F238E27FC236}">
                <a16:creationId xmlns:a16="http://schemas.microsoft.com/office/drawing/2014/main" id="{1FAF64C3-2BDC-4296-A10D-B42B6D5B1746}"/>
              </a:ext>
            </a:extLst>
          </p:cNvPr>
          <p:cNvPicPr>
            <a:picLocks noChangeAspect="1"/>
          </p:cNvPicPr>
          <p:nvPr userDrawn="1"/>
        </p:nvPicPr>
        <p:blipFill rotWithShape="1">
          <a:blip r:embed="rId8" cstate="screen">
            <a:extLst>
              <a:ext uri="{28A0092B-C50C-407E-A947-70E740481C1C}">
                <a14:useLocalDpi xmlns:a14="http://schemas.microsoft.com/office/drawing/2010/main"/>
              </a:ext>
            </a:extLst>
          </a:blip>
          <a:srcRect/>
          <a:stretch/>
        </p:blipFill>
        <p:spPr>
          <a:xfrm>
            <a:off x="6035375" y="0"/>
            <a:ext cx="6176620" cy="6857999"/>
          </a:xfrm>
          <a:prstGeom prst="rect">
            <a:avLst/>
          </a:prstGeom>
          <a:ln>
            <a:noFill/>
          </a:ln>
        </p:spPr>
      </p:pic>
      <p:grpSp>
        <p:nvGrpSpPr>
          <p:cNvPr id="18" name="Group 17">
            <a:extLst>
              <a:ext uri="{FF2B5EF4-FFF2-40B4-BE49-F238E27FC236}">
                <a16:creationId xmlns:a16="http://schemas.microsoft.com/office/drawing/2014/main" id="{C31B87C6-8228-4D8F-B882-7CFCD1C850DE}"/>
              </a:ext>
            </a:extLst>
          </p:cNvPr>
          <p:cNvGrpSpPr/>
          <p:nvPr userDrawn="1"/>
        </p:nvGrpSpPr>
        <p:grpSpPr>
          <a:xfrm>
            <a:off x="6757314" y="1032080"/>
            <a:ext cx="4712589" cy="4793839"/>
            <a:chOff x="1803027" y="0"/>
            <a:chExt cx="4712589" cy="4793839"/>
          </a:xfrm>
        </p:grpSpPr>
        <p:sp>
          <p:nvSpPr>
            <p:cNvPr id="19" name="Rectangle 18">
              <a:extLst>
                <a:ext uri="{FF2B5EF4-FFF2-40B4-BE49-F238E27FC236}">
                  <a16:creationId xmlns:a16="http://schemas.microsoft.com/office/drawing/2014/main" id="{3ECD3B27-539A-47FF-AEDE-D61BC4EA4AE4}"/>
                </a:ext>
              </a:extLst>
            </p:cNvPr>
            <p:cNvSpPr/>
            <p:nvPr/>
          </p:nvSpPr>
          <p:spPr>
            <a:xfrm>
              <a:off x="1803027" y="0"/>
              <a:ext cx="4712589" cy="4793839"/>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20" name="Rectangle 19">
              <a:extLst>
                <a:ext uri="{FF2B5EF4-FFF2-40B4-BE49-F238E27FC236}">
                  <a16:creationId xmlns:a16="http://schemas.microsoft.com/office/drawing/2014/main" id="{96093661-A9C7-4E88-9D06-E70306F444F6}"/>
                </a:ext>
              </a:extLst>
            </p:cNvPr>
            <p:cNvSpPr/>
            <p:nvPr/>
          </p:nvSpPr>
          <p:spPr>
            <a:xfrm>
              <a:off x="2222643" y="426851"/>
              <a:ext cx="3873357" cy="3940138"/>
            </a:xfrm>
            <a:prstGeom prst="rect">
              <a:avLst/>
            </a:prstGeom>
            <a:solidFill>
              <a:srgbClr val="EDEDED"/>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grpSp>
      <p:sp>
        <p:nvSpPr>
          <p:cNvPr id="13" name="Picture Placeholder 18"/>
          <p:cNvSpPr>
            <a:spLocks noGrp="1"/>
          </p:cNvSpPr>
          <p:nvPr>
            <p:ph type="pic" sz="quarter" idx="14" hasCustomPrompt="1"/>
          </p:nvPr>
        </p:nvSpPr>
        <p:spPr>
          <a:xfrm>
            <a:off x="7194521" y="1458931"/>
            <a:ext cx="3855766" cy="3940138"/>
          </a:xfrm>
          <a:prstGeom prst="rect">
            <a:avLst/>
          </a:prstGeom>
          <a:noFill/>
        </p:spPr>
        <p:txBody>
          <a:bodyPr lIns="914400" tIns="914400" rIns="914400" bIns="914400"/>
          <a:lstStyle>
            <a:lvl1pPr algn="ctr">
              <a:defRPr sz="1800" kern="0" baseline="0">
                <a:latin typeface="+mn-lt"/>
                <a:ea typeface="+mn-ea"/>
                <a:cs typeface="+mn-cs"/>
                <a:sym typeface="+mn-lt"/>
              </a:defRPr>
            </a:lvl1pPr>
          </a:lstStyle>
          <a:p>
            <a:r>
              <a:rPr lang="en-US"/>
              <a:t>Click icon below to insert an image or remove this placeholder to use the whitespace in another way</a:t>
            </a:r>
          </a:p>
        </p:txBody>
      </p:sp>
      <p:sp>
        <p:nvSpPr>
          <p:cNvPr id="23" name="TextBox 22">
            <a:extLst>
              <a:ext uri="{FF2B5EF4-FFF2-40B4-BE49-F238E27FC236}">
                <a16:creationId xmlns:a16="http://schemas.microsoft.com/office/drawing/2014/main" id="{3AD1463E-BAFF-4AA6-9D15-6ED41659F270}"/>
              </a:ext>
            </a:extLst>
          </p:cNvPr>
          <p:cNvSpPr txBox="1"/>
          <p:nvPr userDrawn="1"/>
        </p:nvSpPr>
        <p:spPr>
          <a:xfrm>
            <a:off x="11167872" y="6405037"/>
            <a:ext cx="381000" cy="153888"/>
          </a:xfrm>
          <a:prstGeom prst="rect">
            <a:avLst/>
          </a:prstGeom>
          <a:noFill/>
        </p:spPr>
        <p:txBody>
          <a:bodyPr vert="horz" wrap="square" lIns="0" tIns="0" rIns="0" bIns="0" rtlCol="0" anchor="b" anchorCtr="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0" smtClean="0">
                <a:solidFill>
                  <a:srgbClr val="FFFFFF"/>
                </a:solidFill>
                <a:latin typeface="Henderson BCG Sans Light" panose="020B03020304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0">
              <a:solidFill>
                <a:srgbClr val="FFFFFF"/>
              </a:solidFill>
              <a:latin typeface="Henderson BCG Sans Light" panose="020B0302030402020204" pitchFamily="34" charset="0"/>
              <a:ea typeface="+mn-ea"/>
              <a:cs typeface="+mn-cs"/>
              <a:sym typeface="Trebuchet MS" panose="020B0603020202020204" pitchFamily="34" charset="0"/>
            </a:endParaRPr>
          </a:p>
        </p:txBody>
      </p:sp>
      <p:sp>
        <p:nvSpPr>
          <p:cNvPr id="14" name="Title 1"/>
          <p:cNvSpPr>
            <a:spLocks noGrp="1"/>
          </p:cNvSpPr>
          <p:nvPr>
            <p:ph type="title" hasCustomPrompt="1"/>
          </p:nvPr>
        </p:nvSpPr>
        <p:spPr bwMode="black">
          <a:xfrm>
            <a:off x="512216" y="622800"/>
            <a:ext cx="4871640" cy="443198"/>
          </a:xfrm>
          <a:prstGeom prst="rect">
            <a:avLst/>
          </a:prstGeom>
          <a:noFill/>
        </p:spPr>
        <p:txBody>
          <a:bodyPr vert="horz" wrap="square" lIns="91440" tIns="0" rIns="320040" bIns="0" anchor="ctr">
            <a:noAutofit/>
          </a:bodyPr>
          <a:lstStyle>
            <a:lvl1pPr>
              <a:defRPr sz="3200" kern="0">
                <a:solidFill>
                  <a:srgbClr val="21BF61"/>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55262975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Beyond layout 27">
    <p:bg bwMode="grayWhite">
      <p:bgPr>
        <a:solidFill>
          <a:srgbClr val="EDEDED"/>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697" name="Diapositive think-cell" r:id="rId5" imgW="352" imgH="355" progId="TCLayout.ActiveDocument.1">
                  <p:embed/>
                </p:oleObj>
              </mc:Choice>
              <mc:Fallback>
                <p:oleObj name="Diapositive think-cell"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4400">
              <a:solidFill>
                <a:srgbClr val="FFFFFF"/>
              </a:solidFill>
              <a:latin typeface="Henderson BCG Sans" panose="020B0502030402020204" pitchFamily="34" charset="0"/>
              <a:sym typeface="Henderson BCG Sans" panose="020B0502030402020204" pitchFamily="34" charset="0"/>
            </a:endParaRPr>
          </a:p>
        </p:txBody>
      </p:sp>
      <p:pic>
        <p:nvPicPr>
          <p:cNvPr id="11" name="Picture 10"/>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rgbClr val="F8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kern="0">
              <a:solidFill>
                <a:prstClr val="white"/>
              </a:solidFill>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kern="0" smtClean="0">
                <a:solidFill>
                  <a:prstClr val="white">
                    <a:lumMod val="50000"/>
                  </a:prstClr>
                </a:solidFill>
                <a:sym typeface="+mn-lt"/>
              </a:rPr>
              <a:pPr algn="r">
                <a:defRPr/>
              </a:pPr>
              <a:t>‹#›</a:t>
            </a:fld>
            <a:endParaRPr lang="en-US" sz="800" kern="0">
              <a:solidFill>
                <a:prstClr val="white">
                  <a:lumMod val="50000"/>
                </a:prstClr>
              </a:solidFill>
              <a:sym typeface="+mn-lt"/>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kern="0">
                <a:solidFill>
                  <a:schemeClr val="bg1">
                    <a:lumMod val="50000"/>
                  </a:schemeClr>
                </a:solidFill>
                <a:latin typeface="+mn-lt"/>
                <a:ea typeface="+mn-ea"/>
                <a:cs typeface="+mn-cs"/>
                <a:sym typeface="+mn-lt"/>
              </a:defRPr>
            </a:lvl1pPr>
          </a:lstStyle>
          <a:p>
            <a:endParaRPr lang="en-US">
              <a:solidFill>
                <a:prstClr val="white">
                  <a:lumMod val="50000"/>
                </a:prstClr>
              </a:solidFill>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mn-lt"/>
              </a:rPr>
              <a:t>Copyright © 2022 by Boston Consulting Group. All rights reserved.</a:t>
            </a:r>
          </a:p>
        </p:txBody>
      </p:sp>
      <p:pic>
        <p:nvPicPr>
          <p:cNvPr id="22" name="Picture 21">
            <a:extLst>
              <a:ext uri="{FF2B5EF4-FFF2-40B4-BE49-F238E27FC236}">
                <a16:creationId xmlns:a16="http://schemas.microsoft.com/office/drawing/2014/main" id="{4CEF1F45-70F8-4157-84E3-5C54D1532E2C}"/>
              </a:ext>
            </a:extLst>
          </p:cNvPr>
          <p:cNvPicPr>
            <a:picLocks noChangeAspect="1"/>
          </p:cNvPicPr>
          <p:nvPr userDrawn="1"/>
        </p:nvPicPr>
        <p:blipFill rotWithShape="1">
          <a:blip r:embed="rId8" cstate="screen">
            <a:extLst>
              <a:ext uri="{28A0092B-C50C-407E-A947-70E740481C1C}">
                <a14:useLocalDpi xmlns:a14="http://schemas.microsoft.com/office/drawing/2010/main"/>
              </a:ext>
            </a:extLst>
          </a:blip>
          <a:srcRect/>
          <a:stretch/>
        </p:blipFill>
        <p:spPr>
          <a:xfrm>
            <a:off x="6035375" y="0"/>
            <a:ext cx="6155342" cy="6858000"/>
          </a:xfrm>
          <a:prstGeom prst="rect">
            <a:avLst/>
          </a:prstGeom>
          <a:ln>
            <a:noFill/>
          </a:ln>
        </p:spPr>
      </p:pic>
      <p:grpSp>
        <p:nvGrpSpPr>
          <p:cNvPr id="18" name="Group 17">
            <a:extLst>
              <a:ext uri="{FF2B5EF4-FFF2-40B4-BE49-F238E27FC236}">
                <a16:creationId xmlns:a16="http://schemas.microsoft.com/office/drawing/2014/main" id="{C31B87C6-8228-4D8F-B882-7CFCD1C850DE}"/>
              </a:ext>
            </a:extLst>
          </p:cNvPr>
          <p:cNvGrpSpPr/>
          <p:nvPr userDrawn="1"/>
        </p:nvGrpSpPr>
        <p:grpSpPr>
          <a:xfrm>
            <a:off x="6757314" y="1032080"/>
            <a:ext cx="4712589" cy="4793839"/>
            <a:chOff x="1803027" y="0"/>
            <a:chExt cx="4712589" cy="4793839"/>
          </a:xfrm>
        </p:grpSpPr>
        <p:sp>
          <p:nvSpPr>
            <p:cNvPr id="19" name="Rectangle 18">
              <a:extLst>
                <a:ext uri="{FF2B5EF4-FFF2-40B4-BE49-F238E27FC236}">
                  <a16:creationId xmlns:a16="http://schemas.microsoft.com/office/drawing/2014/main" id="{3ECD3B27-539A-47FF-AEDE-D61BC4EA4AE4}"/>
                </a:ext>
              </a:extLst>
            </p:cNvPr>
            <p:cNvSpPr/>
            <p:nvPr/>
          </p:nvSpPr>
          <p:spPr>
            <a:xfrm>
              <a:off x="1803027" y="0"/>
              <a:ext cx="4712589" cy="4793839"/>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20" name="Rectangle 19">
              <a:extLst>
                <a:ext uri="{FF2B5EF4-FFF2-40B4-BE49-F238E27FC236}">
                  <a16:creationId xmlns:a16="http://schemas.microsoft.com/office/drawing/2014/main" id="{96093661-A9C7-4E88-9D06-E70306F444F6}"/>
                </a:ext>
              </a:extLst>
            </p:cNvPr>
            <p:cNvSpPr/>
            <p:nvPr/>
          </p:nvSpPr>
          <p:spPr>
            <a:xfrm>
              <a:off x="2222643" y="426851"/>
              <a:ext cx="3873357" cy="3940138"/>
            </a:xfrm>
            <a:prstGeom prst="rect">
              <a:avLst/>
            </a:prstGeom>
            <a:solidFill>
              <a:srgbClr val="EDEDED"/>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grpSp>
      <p:sp>
        <p:nvSpPr>
          <p:cNvPr id="13" name="Picture Placeholder 18"/>
          <p:cNvSpPr>
            <a:spLocks noGrp="1"/>
          </p:cNvSpPr>
          <p:nvPr>
            <p:ph type="pic" sz="quarter" idx="14" hasCustomPrompt="1"/>
          </p:nvPr>
        </p:nvSpPr>
        <p:spPr>
          <a:xfrm>
            <a:off x="7194521" y="1458931"/>
            <a:ext cx="3855766" cy="3940138"/>
          </a:xfrm>
          <a:prstGeom prst="rect">
            <a:avLst/>
          </a:prstGeom>
          <a:noFill/>
        </p:spPr>
        <p:txBody>
          <a:bodyPr lIns="914400" tIns="914400" rIns="914400" bIns="914400"/>
          <a:lstStyle>
            <a:lvl1pPr algn="ctr">
              <a:defRPr sz="1800" kern="0" baseline="0">
                <a:latin typeface="+mn-lt"/>
                <a:ea typeface="+mn-ea"/>
                <a:cs typeface="+mn-cs"/>
                <a:sym typeface="+mn-lt"/>
              </a:defRPr>
            </a:lvl1pPr>
          </a:lstStyle>
          <a:p>
            <a:r>
              <a:rPr lang="en-US"/>
              <a:t>Click icon below to insert an image or remove this placeholder to use the whitespace in another way</a:t>
            </a:r>
          </a:p>
        </p:txBody>
      </p:sp>
      <p:sp>
        <p:nvSpPr>
          <p:cNvPr id="23" name="TextBox 22">
            <a:extLst>
              <a:ext uri="{FF2B5EF4-FFF2-40B4-BE49-F238E27FC236}">
                <a16:creationId xmlns:a16="http://schemas.microsoft.com/office/drawing/2014/main" id="{96D6F94E-19B6-4A4A-8C03-7AEC0CD4C1D8}"/>
              </a:ext>
            </a:extLst>
          </p:cNvPr>
          <p:cNvSpPr txBox="1"/>
          <p:nvPr userDrawn="1"/>
        </p:nvSpPr>
        <p:spPr>
          <a:xfrm>
            <a:off x="11167872" y="6405037"/>
            <a:ext cx="381000" cy="153888"/>
          </a:xfrm>
          <a:prstGeom prst="rect">
            <a:avLst/>
          </a:prstGeom>
          <a:noFill/>
        </p:spPr>
        <p:txBody>
          <a:bodyPr vert="horz" wrap="square" lIns="0" tIns="0" rIns="0" bIns="0" rtlCol="0" anchor="b" anchorCtr="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0" smtClean="0">
                <a:solidFill>
                  <a:srgbClr val="FFFFFF"/>
                </a:solidFill>
                <a:latin typeface="Henderson BCG Sans Light" panose="020B03020304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0">
              <a:solidFill>
                <a:srgbClr val="FFFFFF"/>
              </a:solidFill>
              <a:latin typeface="Henderson BCG Sans Light" panose="020B0302030402020204" pitchFamily="34" charset="0"/>
              <a:ea typeface="+mn-ea"/>
              <a:cs typeface="+mn-cs"/>
              <a:sym typeface="Trebuchet MS" panose="020B0603020202020204" pitchFamily="34" charset="0"/>
            </a:endParaRPr>
          </a:p>
        </p:txBody>
      </p:sp>
      <p:sp>
        <p:nvSpPr>
          <p:cNvPr id="14" name="Title 1"/>
          <p:cNvSpPr>
            <a:spLocks noGrp="1"/>
          </p:cNvSpPr>
          <p:nvPr>
            <p:ph type="title" hasCustomPrompt="1"/>
          </p:nvPr>
        </p:nvSpPr>
        <p:spPr bwMode="black">
          <a:xfrm>
            <a:off x="512216" y="622800"/>
            <a:ext cx="4871640" cy="443198"/>
          </a:xfrm>
          <a:prstGeom prst="rect">
            <a:avLst/>
          </a:prstGeom>
          <a:noFill/>
        </p:spPr>
        <p:txBody>
          <a:bodyPr vert="horz" wrap="square" lIns="91440" tIns="0" rIns="320040" bIns="0" anchor="ctr">
            <a:noAutofit/>
          </a:bodyPr>
          <a:lstStyle>
            <a:lvl1pPr>
              <a:defRPr sz="3200" kern="0">
                <a:solidFill>
                  <a:srgbClr val="21BF61"/>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312567783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Beyond layout 28">
    <p:bg bwMode="grayWhite">
      <p:bgPr>
        <a:solidFill>
          <a:srgbClr val="EDEDED"/>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1" name="Diapositive think-cell" r:id="rId5" imgW="352" imgH="355" progId="TCLayout.ActiveDocument.1">
                  <p:embed/>
                </p:oleObj>
              </mc:Choice>
              <mc:Fallback>
                <p:oleObj name="Diapositive think-cell"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4400">
              <a:solidFill>
                <a:srgbClr val="FFFFFF"/>
              </a:solidFill>
              <a:latin typeface="Henderson BCG Sans" panose="020B0502030402020204" pitchFamily="34" charset="0"/>
              <a:sym typeface="Henderson BCG Sans" panose="020B0502030402020204" pitchFamily="34" charset="0"/>
            </a:endParaRPr>
          </a:p>
        </p:txBody>
      </p:sp>
      <p:pic>
        <p:nvPicPr>
          <p:cNvPr id="11" name="Picture 10"/>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rgbClr val="F8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kern="0">
              <a:solidFill>
                <a:prstClr val="white"/>
              </a:solidFill>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kern="0" smtClean="0">
                <a:solidFill>
                  <a:prstClr val="white">
                    <a:lumMod val="50000"/>
                  </a:prstClr>
                </a:solidFill>
                <a:sym typeface="+mn-lt"/>
              </a:rPr>
              <a:pPr algn="r">
                <a:defRPr/>
              </a:pPr>
              <a:t>‹#›</a:t>
            </a:fld>
            <a:endParaRPr lang="en-US" sz="800" kern="0">
              <a:solidFill>
                <a:prstClr val="white">
                  <a:lumMod val="50000"/>
                </a:prstClr>
              </a:solidFill>
              <a:sym typeface="+mn-lt"/>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kern="0">
                <a:solidFill>
                  <a:schemeClr val="bg1">
                    <a:lumMod val="50000"/>
                  </a:schemeClr>
                </a:solidFill>
                <a:latin typeface="+mn-lt"/>
                <a:ea typeface="+mn-ea"/>
                <a:cs typeface="+mn-cs"/>
                <a:sym typeface="+mn-lt"/>
              </a:defRPr>
            </a:lvl1pPr>
          </a:lstStyle>
          <a:p>
            <a:endParaRPr lang="en-US">
              <a:solidFill>
                <a:prstClr val="white">
                  <a:lumMod val="50000"/>
                </a:prstClr>
              </a:solidFill>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mn-lt"/>
              </a:rPr>
              <a:t>Copyright © 2022 by Boston Consulting Group. All rights reserved.</a:t>
            </a:r>
          </a:p>
        </p:txBody>
      </p:sp>
      <p:pic>
        <p:nvPicPr>
          <p:cNvPr id="22" name="Picture 21">
            <a:extLst>
              <a:ext uri="{FF2B5EF4-FFF2-40B4-BE49-F238E27FC236}">
                <a16:creationId xmlns:a16="http://schemas.microsoft.com/office/drawing/2014/main" id="{05C3B251-0FAE-4DD2-8997-42C9AF89ED4E}"/>
              </a:ext>
            </a:extLst>
          </p:cNvPr>
          <p:cNvPicPr>
            <a:picLocks noChangeAspect="1"/>
          </p:cNvPicPr>
          <p:nvPr userDrawn="1"/>
        </p:nvPicPr>
        <p:blipFill rotWithShape="1">
          <a:blip r:embed="rId8" cstate="screen">
            <a:extLst>
              <a:ext uri="{28A0092B-C50C-407E-A947-70E740481C1C}">
                <a14:useLocalDpi xmlns:a14="http://schemas.microsoft.com/office/drawing/2010/main"/>
              </a:ext>
            </a:extLst>
          </a:blip>
          <a:srcRect/>
          <a:stretch/>
        </p:blipFill>
        <p:spPr>
          <a:xfrm>
            <a:off x="6035375" y="0"/>
            <a:ext cx="6151420" cy="6853423"/>
          </a:xfrm>
          <a:prstGeom prst="rect">
            <a:avLst/>
          </a:prstGeom>
          <a:ln>
            <a:noFill/>
          </a:ln>
        </p:spPr>
      </p:pic>
      <p:grpSp>
        <p:nvGrpSpPr>
          <p:cNvPr id="18" name="Group 17">
            <a:extLst>
              <a:ext uri="{FF2B5EF4-FFF2-40B4-BE49-F238E27FC236}">
                <a16:creationId xmlns:a16="http://schemas.microsoft.com/office/drawing/2014/main" id="{C31B87C6-8228-4D8F-B882-7CFCD1C850DE}"/>
              </a:ext>
            </a:extLst>
          </p:cNvPr>
          <p:cNvGrpSpPr/>
          <p:nvPr userDrawn="1"/>
        </p:nvGrpSpPr>
        <p:grpSpPr>
          <a:xfrm>
            <a:off x="6757314" y="1032080"/>
            <a:ext cx="4712589" cy="4793839"/>
            <a:chOff x="1803027" y="0"/>
            <a:chExt cx="4712589" cy="4793839"/>
          </a:xfrm>
        </p:grpSpPr>
        <p:sp>
          <p:nvSpPr>
            <p:cNvPr id="19" name="Rectangle 18">
              <a:extLst>
                <a:ext uri="{FF2B5EF4-FFF2-40B4-BE49-F238E27FC236}">
                  <a16:creationId xmlns:a16="http://schemas.microsoft.com/office/drawing/2014/main" id="{3ECD3B27-539A-47FF-AEDE-D61BC4EA4AE4}"/>
                </a:ext>
              </a:extLst>
            </p:cNvPr>
            <p:cNvSpPr/>
            <p:nvPr/>
          </p:nvSpPr>
          <p:spPr>
            <a:xfrm>
              <a:off x="1803027" y="0"/>
              <a:ext cx="4712589" cy="4793839"/>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20" name="Rectangle 19">
              <a:extLst>
                <a:ext uri="{FF2B5EF4-FFF2-40B4-BE49-F238E27FC236}">
                  <a16:creationId xmlns:a16="http://schemas.microsoft.com/office/drawing/2014/main" id="{96093661-A9C7-4E88-9D06-E70306F444F6}"/>
                </a:ext>
              </a:extLst>
            </p:cNvPr>
            <p:cNvSpPr/>
            <p:nvPr/>
          </p:nvSpPr>
          <p:spPr>
            <a:xfrm>
              <a:off x="2222643" y="426851"/>
              <a:ext cx="3873357" cy="3940138"/>
            </a:xfrm>
            <a:prstGeom prst="rect">
              <a:avLst/>
            </a:prstGeom>
            <a:solidFill>
              <a:srgbClr val="EDEDED"/>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grpSp>
      <p:sp>
        <p:nvSpPr>
          <p:cNvPr id="13" name="Picture Placeholder 18"/>
          <p:cNvSpPr>
            <a:spLocks noGrp="1"/>
          </p:cNvSpPr>
          <p:nvPr>
            <p:ph type="pic" sz="quarter" idx="14" hasCustomPrompt="1"/>
          </p:nvPr>
        </p:nvSpPr>
        <p:spPr>
          <a:xfrm>
            <a:off x="7194521" y="1458931"/>
            <a:ext cx="3855766" cy="3940138"/>
          </a:xfrm>
          <a:prstGeom prst="rect">
            <a:avLst/>
          </a:prstGeom>
          <a:noFill/>
        </p:spPr>
        <p:txBody>
          <a:bodyPr lIns="914400" tIns="914400" rIns="914400" bIns="914400"/>
          <a:lstStyle>
            <a:lvl1pPr algn="ctr">
              <a:defRPr sz="1800" kern="0" baseline="0">
                <a:latin typeface="+mn-lt"/>
                <a:ea typeface="+mn-ea"/>
                <a:cs typeface="+mn-cs"/>
                <a:sym typeface="+mn-lt"/>
              </a:defRPr>
            </a:lvl1pPr>
          </a:lstStyle>
          <a:p>
            <a:r>
              <a:rPr lang="en-US"/>
              <a:t>Click icon below to insert an image or remove this placeholder to use the whitespace in another way</a:t>
            </a:r>
          </a:p>
        </p:txBody>
      </p:sp>
      <p:sp>
        <p:nvSpPr>
          <p:cNvPr id="23" name="TextBox 22">
            <a:extLst>
              <a:ext uri="{FF2B5EF4-FFF2-40B4-BE49-F238E27FC236}">
                <a16:creationId xmlns:a16="http://schemas.microsoft.com/office/drawing/2014/main" id="{3140EC7E-355B-4058-8CF9-23E8DA41B3F0}"/>
              </a:ext>
            </a:extLst>
          </p:cNvPr>
          <p:cNvSpPr txBox="1"/>
          <p:nvPr userDrawn="1"/>
        </p:nvSpPr>
        <p:spPr>
          <a:xfrm>
            <a:off x="11167872" y="6405037"/>
            <a:ext cx="381000" cy="153888"/>
          </a:xfrm>
          <a:prstGeom prst="rect">
            <a:avLst/>
          </a:prstGeom>
          <a:noFill/>
        </p:spPr>
        <p:txBody>
          <a:bodyPr vert="horz" wrap="square" lIns="0" tIns="0" rIns="0" bIns="0" rtlCol="0" anchor="b" anchorCtr="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0" smtClean="0">
                <a:solidFill>
                  <a:srgbClr val="FFFFFF"/>
                </a:solidFill>
                <a:latin typeface="Henderson BCG Sans Light" panose="020B03020304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0">
              <a:solidFill>
                <a:srgbClr val="FFFFFF"/>
              </a:solidFill>
              <a:latin typeface="Henderson BCG Sans Light" panose="020B0302030402020204" pitchFamily="34" charset="0"/>
              <a:ea typeface="+mn-ea"/>
              <a:cs typeface="+mn-cs"/>
              <a:sym typeface="Trebuchet MS" panose="020B0603020202020204" pitchFamily="34" charset="0"/>
            </a:endParaRPr>
          </a:p>
        </p:txBody>
      </p:sp>
      <p:sp>
        <p:nvSpPr>
          <p:cNvPr id="14" name="Title 1"/>
          <p:cNvSpPr>
            <a:spLocks noGrp="1"/>
          </p:cNvSpPr>
          <p:nvPr>
            <p:ph type="title" hasCustomPrompt="1"/>
          </p:nvPr>
        </p:nvSpPr>
        <p:spPr bwMode="black">
          <a:xfrm>
            <a:off x="512216" y="622800"/>
            <a:ext cx="4871640" cy="443198"/>
          </a:xfrm>
          <a:prstGeom prst="rect">
            <a:avLst/>
          </a:prstGeom>
          <a:noFill/>
        </p:spPr>
        <p:txBody>
          <a:bodyPr vert="horz" wrap="square" lIns="91440" tIns="0" rIns="320040" bIns="0" anchor="ctr">
            <a:noAutofit/>
          </a:bodyPr>
          <a:lstStyle>
            <a:lvl1pPr>
              <a:defRPr sz="3200" kern="0">
                <a:solidFill>
                  <a:srgbClr val="21BF61"/>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01839339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Beyond layout 2">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A278B0-6C3F-4D95-9D3F-CC16C93FC336}"/>
              </a:ext>
            </a:extLst>
          </p:cNvPr>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7" name="Diapositive think-cell" r:id="rId5" imgW="286" imgH="286" progId="TCLayout.ActiveDocument.1">
                  <p:embed/>
                </p:oleObj>
              </mc:Choice>
              <mc:Fallback>
                <p:oleObj name="Diapositive think-cell" r:id="rId5" imgW="286" imgH="286" progId="TCLayout.ActiveDocument.1">
                  <p:embed/>
                  <p:pic>
                    <p:nvPicPr>
                      <p:cNvPr id="3" name="Object 2" hidden="1">
                        <a:extLst>
                          <a:ext uri="{FF2B5EF4-FFF2-40B4-BE49-F238E27FC236}">
                            <a16:creationId xmlns:a16="http://schemas.microsoft.com/office/drawing/2014/main" id="{38A278B0-6C3F-4D95-9D3F-CC16C93FC33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p>
        </p:txBody>
      </p:sp>
      <p:sp>
        <p:nvSpPr>
          <p:cNvPr id="20" name="TextBox 19"/>
          <p:cNvSpPr txBox="1"/>
          <p:nvPr userDrawn="1"/>
        </p:nvSpPr>
        <p:spPr>
          <a:xfrm>
            <a:off x="11167872" y="6405037"/>
            <a:ext cx="381000" cy="153888"/>
          </a:xfrm>
          <a:prstGeom prst="rect">
            <a:avLst/>
          </a:prstGeom>
          <a:noFill/>
        </p:spPr>
        <p:txBody>
          <a:bodyPr vert="horz" wrap="square" lIns="0" tIns="0" rIns="0" bIns="0" rtlCol="0" anchor="b" anchorCtr="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0" smtClean="0">
                <a:solidFill>
                  <a:srgbClr val="7F7F7F"/>
                </a:solidFill>
                <a:latin typeface="Henderson BCG Sans Light" panose="020B03020304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0">
              <a:solidFill>
                <a:srgbClr val="7F7F7F"/>
              </a:solidFill>
              <a:latin typeface="Henderson BCG Sans Light" panose="020B0302030402020204" pitchFamily="34" charset="0"/>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4546618" y="622800"/>
            <a:ext cx="7123797" cy="443198"/>
          </a:xfrm>
          <a:prstGeom prst="rect">
            <a:avLst/>
          </a:prstGeom>
        </p:spPr>
        <p:txBody>
          <a:bodyPr vert="horz" anchor="ctr">
            <a:noAutofit/>
          </a:bodyPr>
          <a:lstStyle>
            <a:lvl1pPr>
              <a:defRPr sz="3200">
                <a:solidFill>
                  <a:srgbClr val="21BF61"/>
                </a:solidFill>
                <a:latin typeface="+mj-lt"/>
                <a:sym typeface="Trebuchet MS" panose="020B0603020202020204" pitchFamily="34" charset="0"/>
              </a:defRPr>
            </a:lvl1pPr>
          </a:lstStyle>
          <a:p>
            <a:r>
              <a:rPr lang="en-US"/>
              <a:t>Click to add title</a:t>
            </a:r>
          </a:p>
        </p:txBody>
      </p:sp>
      <p:pic>
        <p:nvPicPr>
          <p:cNvPr id="9" name="Picture 8">
            <a:extLst>
              <a:ext uri="{FF2B5EF4-FFF2-40B4-BE49-F238E27FC236}">
                <a16:creationId xmlns:a16="http://schemas.microsoft.com/office/drawing/2014/main" id="{A64CED11-9A23-4067-9703-9E7D4C57466C}"/>
              </a:ext>
            </a:extLst>
          </p:cNvPr>
          <p:cNvPicPr>
            <a:picLocks noChangeAspect="1"/>
          </p:cNvPicPr>
          <p:nvPr userDrawn="1"/>
        </p:nvPicPr>
        <p:blipFill>
          <a:blip r:embed="rId8" cstate="screen">
            <a:extLst>
              <a:ext uri="{28A0092B-C50C-407E-A947-70E740481C1C}">
                <a14:useLocalDpi xmlns:a14="http://schemas.microsoft.com/office/drawing/2010/main"/>
              </a:ext>
            </a:extLst>
          </a:blip>
          <a:srcRect/>
          <a:stretch/>
        </p:blipFill>
        <p:spPr>
          <a:xfrm>
            <a:off x="0" y="-17590"/>
            <a:ext cx="4083485" cy="6875590"/>
          </a:xfrm>
          <a:prstGeom prst="rect">
            <a:avLst/>
          </a:prstGeom>
        </p:spPr>
      </p:pic>
      <p:sp>
        <p:nvSpPr>
          <p:cNvPr id="10" name="Rectangle 9">
            <a:extLst>
              <a:ext uri="{FF2B5EF4-FFF2-40B4-BE49-F238E27FC236}">
                <a16:creationId xmlns:a16="http://schemas.microsoft.com/office/drawing/2014/main" id="{DF4039CB-CA91-4FFF-AC3A-B9C953880AEB}"/>
              </a:ext>
            </a:extLst>
          </p:cNvPr>
          <p:cNvSpPr/>
          <p:nvPr userDrawn="1"/>
        </p:nvSpPr>
        <p:spPr>
          <a:xfrm rot="10800000">
            <a:off x="0" y="-17590"/>
            <a:ext cx="4083484" cy="6875590"/>
          </a:xfrm>
          <a:prstGeom prst="rect">
            <a:avLst/>
          </a:prstGeom>
          <a:gradFill flip="none" rotWithShape="1">
            <a:gsLst>
              <a:gs pos="100000">
                <a:schemeClr val="accent1"/>
              </a:gs>
              <a:gs pos="17000">
                <a:schemeClr val="accent1">
                  <a:alpha val="0"/>
                </a:schemeClr>
              </a:gs>
            </a:gsLst>
            <a:lin ang="18900000" scaled="1"/>
            <a:tileRect/>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spTree>
    <p:extLst>
      <p:ext uri="{BB962C8B-B14F-4D97-AF65-F5344CB8AC3E}">
        <p14:creationId xmlns:p14="http://schemas.microsoft.com/office/powerpoint/2010/main" val="10847039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Beyond layout 29">
    <p:bg bwMode="grayWhite">
      <p:bgPr>
        <a:solidFill>
          <a:srgbClr val="EDEDED"/>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5" name="Diapositive think-cell" r:id="rId5" imgW="352" imgH="355" progId="TCLayout.ActiveDocument.1">
                  <p:embed/>
                </p:oleObj>
              </mc:Choice>
              <mc:Fallback>
                <p:oleObj name="Diapositive think-cell"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4400">
              <a:solidFill>
                <a:srgbClr val="FFFFFF"/>
              </a:solidFill>
              <a:latin typeface="Henderson BCG Sans" panose="020B0502030402020204" pitchFamily="34" charset="0"/>
              <a:sym typeface="Henderson BCG Sans" panose="020B0502030402020204" pitchFamily="34" charset="0"/>
            </a:endParaRPr>
          </a:p>
        </p:txBody>
      </p:sp>
      <p:pic>
        <p:nvPicPr>
          <p:cNvPr id="11" name="Picture 10"/>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rgbClr val="F8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kern="0">
              <a:solidFill>
                <a:prstClr val="white"/>
              </a:solidFill>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kern="0" smtClean="0">
                <a:solidFill>
                  <a:prstClr val="white">
                    <a:lumMod val="50000"/>
                  </a:prstClr>
                </a:solidFill>
                <a:sym typeface="+mn-lt"/>
              </a:rPr>
              <a:pPr algn="r">
                <a:defRPr/>
              </a:pPr>
              <a:t>‹#›</a:t>
            </a:fld>
            <a:endParaRPr lang="en-US" sz="800" kern="0">
              <a:solidFill>
                <a:prstClr val="white">
                  <a:lumMod val="50000"/>
                </a:prstClr>
              </a:solidFill>
              <a:sym typeface="+mn-lt"/>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kern="0">
                <a:solidFill>
                  <a:schemeClr val="bg1">
                    <a:lumMod val="50000"/>
                  </a:schemeClr>
                </a:solidFill>
                <a:latin typeface="+mn-lt"/>
                <a:ea typeface="+mn-ea"/>
                <a:cs typeface="+mn-cs"/>
                <a:sym typeface="+mn-lt"/>
              </a:defRPr>
            </a:lvl1pPr>
          </a:lstStyle>
          <a:p>
            <a:endParaRPr lang="en-US">
              <a:solidFill>
                <a:prstClr val="white">
                  <a:lumMod val="50000"/>
                </a:prstClr>
              </a:solidFill>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mn-lt"/>
              </a:rPr>
              <a:t>Copyright © 2022 by Boston Consulting Group. All rights reserved.</a:t>
            </a:r>
          </a:p>
        </p:txBody>
      </p:sp>
      <p:pic>
        <p:nvPicPr>
          <p:cNvPr id="22" name="Picture 21">
            <a:extLst>
              <a:ext uri="{FF2B5EF4-FFF2-40B4-BE49-F238E27FC236}">
                <a16:creationId xmlns:a16="http://schemas.microsoft.com/office/drawing/2014/main" id="{AF5275AA-DD17-4F1D-A209-C9F5E2079AD2}"/>
              </a:ext>
            </a:extLst>
          </p:cNvPr>
          <p:cNvPicPr>
            <a:picLocks noChangeAspect="1"/>
          </p:cNvPicPr>
          <p:nvPr userDrawn="1"/>
        </p:nvPicPr>
        <p:blipFill rotWithShape="1">
          <a:blip r:embed="rId8" cstate="screen">
            <a:extLst>
              <a:ext uri="{28A0092B-C50C-407E-A947-70E740481C1C}">
                <a14:useLocalDpi xmlns:a14="http://schemas.microsoft.com/office/drawing/2010/main"/>
              </a:ext>
            </a:extLst>
          </a:blip>
          <a:srcRect/>
          <a:stretch/>
        </p:blipFill>
        <p:spPr>
          <a:xfrm>
            <a:off x="6035375" y="0"/>
            <a:ext cx="6155342" cy="6858000"/>
          </a:xfrm>
          <a:prstGeom prst="rect">
            <a:avLst/>
          </a:prstGeom>
          <a:ln>
            <a:noFill/>
          </a:ln>
        </p:spPr>
      </p:pic>
      <p:grpSp>
        <p:nvGrpSpPr>
          <p:cNvPr id="18" name="Group 17">
            <a:extLst>
              <a:ext uri="{FF2B5EF4-FFF2-40B4-BE49-F238E27FC236}">
                <a16:creationId xmlns:a16="http://schemas.microsoft.com/office/drawing/2014/main" id="{C31B87C6-8228-4D8F-B882-7CFCD1C850DE}"/>
              </a:ext>
            </a:extLst>
          </p:cNvPr>
          <p:cNvGrpSpPr/>
          <p:nvPr userDrawn="1"/>
        </p:nvGrpSpPr>
        <p:grpSpPr>
          <a:xfrm>
            <a:off x="6757314" y="1032080"/>
            <a:ext cx="4712589" cy="4793839"/>
            <a:chOff x="1803027" y="0"/>
            <a:chExt cx="4712589" cy="4793839"/>
          </a:xfrm>
        </p:grpSpPr>
        <p:sp>
          <p:nvSpPr>
            <p:cNvPr id="19" name="Rectangle 18">
              <a:extLst>
                <a:ext uri="{FF2B5EF4-FFF2-40B4-BE49-F238E27FC236}">
                  <a16:creationId xmlns:a16="http://schemas.microsoft.com/office/drawing/2014/main" id="{3ECD3B27-539A-47FF-AEDE-D61BC4EA4AE4}"/>
                </a:ext>
              </a:extLst>
            </p:cNvPr>
            <p:cNvSpPr/>
            <p:nvPr/>
          </p:nvSpPr>
          <p:spPr>
            <a:xfrm>
              <a:off x="1803027" y="0"/>
              <a:ext cx="4712589" cy="4793839"/>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20" name="Rectangle 19">
              <a:extLst>
                <a:ext uri="{FF2B5EF4-FFF2-40B4-BE49-F238E27FC236}">
                  <a16:creationId xmlns:a16="http://schemas.microsoft.com/office/drawing/2014/main" id="{96093661-A9C7-4E88-9D06-E70306F444F6}"/>
                </a:ext>
              </a:extLst>
            </p:cNvPr>
            <p:cNvSpPr/>
            <p:nvPr/>
          </p:nvSpPr>
          <p:spPr>
            <a:xfrm>
              <a:off x="2222643" y="426851"/>
              <a:ext cx="3873357" cy="3940138"/>
            </a:xfrm>
            <a:prstGeom prst="rect">
              <a:avLst/>
            </a:prstGeom>
            <a:solidFill>
              <a:srgbClr val="EDEDED"/>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grpSp>
      <p:sp>
        <p:nvSpPr>
          <p:cNvPr id="13" name="Picture Placeholder 18"/>
          <p:cNvSpPr>
            <a:spLocks noGrp="1"/>
          </p:cNvSpPr>
          <p:nvPr>
            <p:ph type="pic" sz="quarter" idx="14" hasCustomPrompt="1"/>
          </p:nvPr>
        </p:nvSpPr>
        <p:spPr>
          <a:xfrm>
            <a:off x="7194521" y="1458931"/>
            <a:ext cx="3855766" cy="3940138"/>
          </a:xfrm>
          <a:prstGeom prst="rect">
            <a:avLst/>
          </a:prstGeom>
          <a:noFill/>
        </p:spPr>
        <p:txBody>
          <a:bodyPr lIns="914400" tIns="914400" rIns="914400" bIns="914400"/>
          <a:lstStyle>
            <a:lvl1pPr algn="ctr">
              <a:defRPr sz="1800" kern="0" baseline="0">
                <a:latin typeface="+mn-lt"/>
                <a:ea typeface="+mn-ea"/>
                <a:cs typeface="+mn-cs"/>
                <a:sym typeface="+mn-lt"/>
              </a:defRPr>
            </a:lvl1pPr>
          </a:lstStyle>
          <a:p>
            <a:r>
              <a:rPr lang="en-US"/>
              <a:t>Click icon below to insert an image or remove this placeholder to use the whitespace in another way</a:t>
            </a:r>
          </a:p>
        </p:txBody>
      </p:sp>
      <p:sp>
        <p:nvSpPr>
          <p:cNvPr id="23" name="TextBox 22">
            <a:extLst>
              <a:ext uri="{FF2B5EF4-FFF2-40B4-BE49-F238E27FC236}">
                <a16:creationId xmlns:a16="http://schemas.microsoft.com/office/drawing/2014/main" id="{54E9EB2B-40C1-4E73-9F71-ED72519D7BAA}"/>
              </a:ext>
            </a:extLst>
          </p:cNvPr>
          <p:cNvSpPr txBox="1"/>
          <p:nvPr userDrawn="1"/>
        </p:nvSpPr>
        <p:spPr>
          <a:xfrm>
            <a:off x="11167872" y="6405037"/>
            <a:ext cx="381000" cy="153888"/>
          </a:xfrm>
          <a:prstGeom prst="rect">
            <a:avLst/>
          </a:prstGeom>
          <a:noFill/>
        </p:spPr>
        <p:txBody>
          <a:bodyPr vert="horz" wrap="square" lIns="0" tIns="0" rIns="0" bIns="0" rtlCol="0" anchor="b" anchorCtr="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0" smtClean="0">
                <a:solidFill>
                  <a:srgbClr val="FFFFFF"/>
                </a:solidFill>
                <a:latin typeface="Henderson BCG Sans Light" panose="020B03020304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0">
              <a:solidFill>
                <a:srgbClr val="FFFFFF"/>
              </a:solidFill>
              <a:latin typeface="Henderson BCG Sans Light" panose="020B0302030402020204" pitchFamily="34" charset="0"/>
              <a:ea typeface="+mn-ea"/>
              <a:cs typeface="+mn-cs"/>
              <a:sym typeface="Trebuchet MS" panose="020B0603020202020204" pitchFamily="34" charset="0"/>
            </a:endParaRPr>
          </a:p>
        </p:txBody>
      </p:sp>
      <p:sp>
        <p:nvSpPr>
          <p:cNvPr id="14" name="Title 1"/>
          <p:cNvSpPr>
            <a:spLocks noGrp="1"/>
          </p:cNvSpPr>
          <p:nvPr>
            <p:ph type="title" hasCustomPrompt="1"/>
          </p:nvPr>
        </p:nvSpPr>
        <p:spPr bwMode="black">
          <a:xfrm>
            <a:off x="512216" y="622800"/>
            <a:ext cx="4871640" cy="443198"/>
          </a:xfrm>
          <a:prstGeom prst="rect">
            <a:avLst/>
          </a:prstGeom>
          <a:noFill/>
        </p:spPr>
        <p:txBody>
          <a:bodyPr vert="horz" wrap="square" lIns="91440" tIns="0" rIns="320040" bIns="0" anchor="ctr">
            <a:noAutofit/>
          </a:bodyPr>
          <a:lstStyle>
            <a:lvl1pPr>
              <a:defRPr sz="3200" kern="0">
                <a:solidFill>
                  <a:srgbClr val="21BF61"/>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300852702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eyond layout 30">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6B02D07-A2F4-48DF-8D05-AFD80D10F6D9}"/>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69" name="Diapositive think-cell" r:id="rId4" imgW="286" imgH="286" progId="TCLayout.ActiveDocument.1">
                  <p:embed/>
                </p:oleObj>
              </mc:Choice>
              <mc:Fallback>
                <p:oleObj name="Diapositive think-cell" r:id="rId4" imgW="286" imgH="286" progId="TCLayout.ActiveDocument.1">
                  <p:embed/>
                  <p:pic>
                    <p:nvPicPr>
                      <p:cNvPr id="4" name="Object 3" hidden="1">
                        <a:extLst>
                          <a:ext uri="{FF2B5EF4-FFF2-40B4-BE49-F238E27FC236}">
                            <a16:creationId xmlns:a16="http://schemas.microsoft.com/office/drawing/2014/main" id="{E6B02D07-A2F4-48DF-8D05-AFD80D10F6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7583D8AA-E10E-4608-AF60-4646BBFBF70C}"/>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rot="5400000">
            <a:off x="5305586" y="-5305587"/>
            <a:ext cx="1580827" cy="12192000"/>
          </a:xfrm>
          <a:prstGeom prst="rect">
            <a:avLst/>
          </a:prstGeom>
        </p:spPr>
      </p:pic>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b" anchorCtr="0">
            <a:noAutofit/>
          </a:bodyPr>
          <a:lstStyle>
            <a:lvl1pPr marL="0" indent="0" algn="l">
              <a:lnSpc>
                <a:spcPct val="93000"/>
              </a:lnSpc>
              <a:spcBef>
                <a:spcPct val="0"/>
              </a:spcBef>
              <a:spcAft>
                <a:spcPts val="0"/>
              </a:spcAft>
              <a:defRPr sz="3200" b="0" i="0" u="none" kern="0" spc="0">
                <a:solidFill>
                  <a:srgbClr val="FFFFFF"/>
                </a:solidFill>
                <a:latin typeface="+mj-lt"/>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226607053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eyond layout 31">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6B02D07-A2F4-48DF-8D05-AFD80D10F6D9}"/>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3" name="Diapositive think-cell" r:id="rId4" imgW="286" imgH="286" progId="TCLayout.ActiveDocument.1">
                  <p:embed/>
                </p:oleObj>
              </mc:Choice>
              <mc:Fallback>
                <p:oleObj name="Diapositive think-cell" r:id="rId4" imgW="286" imgH="286" progId="TCLayout.ActiveDocument.1">
                  <p:embed/>
                  <p:pic>
                    <p:nvPicPr>
                      <p:cNvPr id="4" name="Object 3" hidden="1">
                        <a:extLst>
                          <a:ext uri="{FF2B5EF4-FFF2-40B4-BE49-F238E27FC236}">
                            <a16:creationId xmlns:a16="http://schemas.microsoft.com/office/drawing/2014/main" id="{E6B02D07-A2F4-48DF-8D05-AFD80D10F6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descr="A picture containing laser, blur&#10;&#10;Description automatically generated">
            <a:extLst>
              <a:ext uri="{FF2B5EF4-FFF2-40B4-BE49-F238E27FC236}">
                <a16:creationId xmlns:a16="http://schemas.microsoft.com/office/drawing/2014/main" id="{CBD4795D-AE6E-4043-8849-95AE1A793E0B}"/>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l="-1" r="-1"/>
          <a:stretch/>
        </p:blipFill>
        <p:spPr>
          <a:xfrm>
            <a:off x="1" y="0"/>
            <a:ext cx="12191999" cy="1581912"/>
          </a:xfrm>
          <a:prstGeom prst="rect">
            <a:avLst/>
          </a:prstGeom>
        </p:spPr>
      </p:pic>
      <p:sp>
        <p:nvSpPr>
          <p:cNvPr id="11" name="Rectangle 10">
            <a:extLst>
              <a:ext uri="{FF2B5EF4-FFF2-40B4-BE49-F238E27FC236}">
                <a16:creationId xmlns:a16="http://schemas.microsoft.com/office/drawing/2014/main" id="{74240213-46F0-4EF4-8D8B-6182201FC778}"/>
              </a:ext>
            </a:extLst>
          </p:cNvPr>
          <p:cNvSpPr/>
          <p:nvPr userDrawn="1"/>
        </p:nvSpPr>
        <p:spPr>
          <a:xfrm>
            <a:off x="1" y="0"/>
            <a:ext cx="12192000" cy="1581912"/>
          </a:xfrm>
          <a:prstGeom prst="rect">
            <a:avLst/>
          </a:prstGeom>
          <a:gradFill flip="none" rotWithShape="1">
            <a:gsLst>
              <a:gs pos="100000">
                <a:schemeClr val="accent1"/>
              </a:gs>
              <a:gs pos="0">
                <a:schemeClr val="accent1">
                  <a:alpha val="0"/>
                </a:schemeClr>
              </a:gs>
            </a:gsLst>
            <a:lin ang="13500000" scaled="1"/>
            <a:tileRect/>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b" anchorCtr="0">
            <a:noAutofit/>
          </a:bodyPr>
          <a:lstStyle>
            <a:lvl1pPr marL="0" indent="0" algn="l">
              <a:lnSpc>
                <a:spcPct val="93000"/>
              </a:lnSpc>
              <a:spcBef>
                <a:spcPct val="0"/>
              </a:spcBef>
              <a:spcAft>
                <a:spcPts val="0"/>
              </a:spcAft>
              <a:defRPr sz="3200" b="0" i="0" u="none" kern="0" spc="0">
                <a:solidFill>
                  <a:srgbClr val="FFFFFF"/>
                </a:solidFill>
                <a:latin typeface="+mj-lt"/>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353567973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eyond layout 32">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6B02D07-A2F4-48DF-8D05-AFD80D10F6D9}"/>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17" name="Diapositive think-cell" r:id="rId4" imgW="286" imgH="286" progId="TCLayout.ActiveDocument.1">
                  <p:embed/>
                </p:oleObj>
              </mc:Choice>
              <mc:Fallback>
                <p:oleObj name="Diapositive think-cell" r:id="rId4" imgW="286" imgH="286" progId="TCLayout.ActiveDocument.1">
                  <p:embed/>
                  <p:pic>
                    <p:nvPicPr>
                      <p:cNvPr id="4" name="Object 3" hidden="1">
                        <a:extLst>
                          <a:ext uri="{FF2B5EF4-FFF2-40B4-BE49-F238E27FC236}">
                            <a16:creationId xmlns:a16="http://schemas.microsoft.com/office/drawing/2014/main" id="{E6B02D07-A2F4-48DF-8D05-AFD80D10F6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descr="A picture containing tree&#10;&#10;Description automatically generated">
            <a:extLst>
              <a:ext uri="{FF2B5EF4-FFF2-40B4-BE49-F238E27FC236}">
                <a16:creationId xmlns:a16="http://schemas.microsoft.com/office/drawing/2014/main" id="{3DB2878C-1EC4-4E4D-940B-95FB823F92B9}"/>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l="-1" r="-1"/>
          <a:stretch/>
        </p:blipFill>
        <p:spPr>
          <a:xfrm>
            <a:off x="1" y="0"/>
            <a:ext cx="12191999" cy="1581912"/>
          </a:xfrm>
          <a:prstGeom prst="rect">
            <a:avLst/>
          </a:prstGeom>
        </p:spPr>
      </p:pic>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b" anchorCtr="0">
            <a:noAutofit/>
          </a:bodyPr>
          <a:lstStyle>
            <a:lvl1pPr marL="0" indent="0" algn="l">
              <a:lnSpc>
                <a:spcPct val="93000"/>
              </a:lnSpc>
              <a:spcBef>
                <a:spcPct val="0"/>
              </a:spcBef>
              <a:spcAft>
                <a:spcPts val="0"/>
              </a:spcAft>
              <a:defRPr sz="3200" b="0" i="0" u="none" kern="0" spc="0">
                <a:solidFill>
                  <a:srgbClr val="FFFFFF"/>
                </a:solidFill>
                <a:latin typeface="+mj-lt"/>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104626456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eyond layout 33">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6B02D07-A2F4-48DF-8D05-AFD80D10F6D9}"/>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1" name="Diapositive think-cell" r:id="rId4" imgW="286" imgH="286" progId="TCLayout.ActiveDocument.1">
                  <p:embed/>
                </p:oleObj>
              </mc:Choice>
              <mc:Fallback>
                <p:oleObj name="Diapositive think-cell" r:id="rId4" imgW="286" imgH="286" progId="TCLayout.ActiveDocument.1">
                  <p:embed/>
                  <p:pic>
                    <p:nvPicPr>
                      <p:cNvPr id="4" name="Object 3" hidden="1">
                        <a:extLst>
                          <a:ext uri="{FF2B5EF4-FFF2-40B4-BE49-F238E27FC236}">
                            <a16:creationId xmlns:a16="http://schemas.microsoft.com/office/drawing/2014/main" id="{E6B02D07-A2F4-48DF-8D05-AFD80D10F6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descr="A picture containing nature&#10;&#10;Description automatically generated">
            <a:extLst>
              <a:ext uri="{FF2B5EF4-FFF2-40B4-BE49-F238E27FC236}">
                <a16:creationId xmlns:a16="http://schemas.microsoft.com/office/drawing/2014/main" id="{71CB30F8-D32A-49A2-A8EA-06870D466F2B}"/>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a:stretch/>
        </p:blipFill>
        <p:spPr>
          <a:xfrm>
            <a:off x="0" y="0"/>
            <a:ext cx="12192000" cy="1581912"/>
          </a:xfrm>
          <a:prstGeom prst="rect">
            <a:avLst/>
          </a:prstGeom>
        </p:spPr>
      </p:pic>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b" anchorCtr="0">
            <a:noAutofit/>
          </a:bodyPr>
          <a:lstStyle>
            <a:lvl1pPr marL="0" indent="0" algn="l">
              <a:lnSpc>
                <a:spcPct val="93000"/>
              </a:lnSpc>
              <a:spcBef>
                <a:spcPct val="0"/>
              </a:spcBef>
              <a:spcAft>
                <a:spcPts val="0"/>
              </a:spcAft>
              <a:defRPr sz="3200" b="0" i="0" u="none" kern="0" spc="0">
                <a:solidFill>
                  <a:srgbClr val="FFFFFF"/>
                </a:solidFill>
                <a:latin typeface="+mj-lt"/>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22020307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eyond layout 34">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6B02D07-A2F4-48DF-8D05-AFD80D10F6D9}"/>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65" name="Diapositive think-cell" r:id="rId4" imgW="286" imgH="286" progId="TCLayout.ActiveDocument.1">
                  <p:embed/>
                </p:oleObj>
              </mc:Choice>
              <mc:Fallback>
                <p:oleObj name="Diapositive think-cell" r:id="rId4" imgW="286" imgH="286" progId="TCLayout.ActiveDocument.1">
                  <p:embed/>
                  <p:pic>
                    <p:nvPicPr>
                      <p:cNvPr id="4" name="Object 3" hidden="1">
                        <a:extLst>
                          <a:ext uri="{FF2B5EF4-FFF2-40B4-BE49-F238E27FC236}">
                            <a16:creationId xmlns:a16="http://schemas.microsoft.com/office/drawing/2014/main" id="{E6B02D07-A2F4-48DF-8D05-AFD80D10F6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descr="A picture containing grass, plant, leaf, green&#10;&#10;Description automatically generated">
            <a:extLst>
              <a:ext uri="{FF2B5EF4-FFF2-40B4-BE49-F238E27FC236}">
                <a16:creationId xmlns:a16="http://schemas.microsoft.com/office/drawing/2014/main" id="{D8AFDF4E-BBD2-4828-A2BF-3B512294CF82}"/>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a:stretch/>
        </p:blipFill>
        <p:spPr>
          <a:xfrm>
            <a:off x="0" y="0"/>
            <a:ext cx="12192000" cy="1581912"/>
          </a:xfrm>
          <a:prstGeom prst="rect">
            <a:avLst/>
          </a:prstGeom>
        </p:spPr>
      </p:pic>
      <p:sp>
        <p:nvSpPr>
          <p:cNvPr id="9" name="Rectangle 8">
            <a:extLst>
              <a:ext uri="{FF2B5EF4-FFF2-40B4-BE49-F238E27FC236}">
                <a16:creationId xmlns:a16="http://schemas.microsoft.com/office/drawing/2014/main" id="{DE2810A4-B7BC-4295-A527-36E813A97300}"/>
              </a:ext>
            </a:extLst>
          </p:cNvPr>
          <p:cNvSpPr/>
          <p:nvPr userDrawn="1"/>
        </p:nvSpPr>
        <p:spPr>
          <a:xfrm>
            <a:off x="0" y="0"/>
            <a:ext cx="12192000" cy="1581912"/>
          </a:xfrm>
          <a:prstGeom prst="rect">
            <a:avLst/>
          </a:prstGeom>
          <a:gradFill flip="none" rotWithShape="1">
            <a:gsLst>
              <a:gs pos="100000">
                <a:schemeClr val="accent1"/>
              </a:gs>
              <a:gs pos="0">
                <a:schemeClr val="accent1">
                  <a:alpha val="0"/>
                </a:schemeClr>
              </a:gs>
            </a:gsLst>
            <a:lin ang="13500000" scaled="1"/>
            <a:tileRect/>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b" anchorCtr="0">
            <a:noAutofit/>
          </a:bodyPr>
          <a:lstStyle>
            <a:lvl1pPr marL="0" indent="0" algn="l">
              <a:lnSpc>
                <a:spcPct val="93000"/>
              </a:lnSpc>
              <a:spcBef>
                <a:spcPct val="0"/>
              </a:spcBef>
              <a:spcAft>
                <a:spcPts val="0"/>
              </a:spcAft>
              <a:defRPr sz="3200" b="0" i="0" u="none" kern="0" spc="0">
                <a:solidFill>
                  <a:srgbClr val="FFFFFF"/>
                </a:solidFill>
                <a:latin typeface="+mj-lt"/>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284765527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eyond layout 35">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6B02D07-A2F4-48DF-8D05-AFD80D10F6D9}"/>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89" name="Diapositive think-cell" r:id="rId4" imgW="286" imgH="286" progId="TCLayout.ActiveDocument.1">
                  <p:embed/>
                </p:oleObj>
              </mc:Choice>
              <mc:Fallback>
                <p:oleObj name="Diapositive think-cell" r:id="rId4" imgW="286" imgH="286" progId="TCLayout.ActiveDocument.1">
                  <p:embed/>
                  <p:pic>
                    <p:nvPicPr>
                      <p:cNvPr id="4" name="Object 3" hidden="1">
                        <a:extLst>
                          <a:ext uri="{FF2B5EF4-FFF2-40B4-BE49-F238E27FC236}">
                            <a16:creationId xmlns:a16="http://schemas.microsoft.com/office/drawing/2014/main" id="{E6B02D07-A2F4-48DF-8D05-AFD80D10F6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5" descr="A close-up of a pile of wires&#10;&#10;Description automatically generated with low confidence">
            <a:extLst>
              <a:ext uri="{FF2B5EF4-FFF2-40B4-BE49-F238E27FC236}">
                <a16:creationId xmlns:a16="http://schemas.microsoft.com/office/drawing/2014/main" id="{780ABA0F-AB3B-4F25-AD5D-CF22A4CB8C1D}"/>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a:stretch/>
        </p:blipFill>
        <p:spPr>
          <a:xfrm>
            <a:off x="0" y="0"/>
            <a:ext cx="12192000" cy="1581912"/>
          </a:xfrm>
          <a:prstGeom prst="rect">
            <a:avLst/>
          </a:prstGeom>
        </p:spPr>
      </p:pic>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b" anchorCtr="0">
            <a:noAutofit/>
          </a:bodyPr>
          <a:lstStyle>
            <a:lvl1pPr marL="0" indent="0" algn="l">
              <a:lnSpc>
                <a:spcPct val="93000"/>
              </a:lnSpc>
              <a:spcBef>
                <a:spcPct val="0"/>
              </a:spcBef>
              <a:spcAft>
                <a:spcPts val="0"/>
              </a:spcAft>
              <a:defRPr sz="3200" b="0" i="0" u="none" kern="0" spc="0">
                <a:solidFill>
                  <a:srgbClr val="FFFFFF"/>
                </a:solidFill>
                <a:latin typeface="+mj-lt"/>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354429957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eyond layout 36">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6B02D07-A2F4-48DF-8D05-AFD80D10F6D9}"/>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3" name="Diapositive think-cell" r:id="rId4" imgW="286" imgH="286" progId="TCLayout.ActiveDocument.1">
                  <p:embed/>
                </p:oleObj>
              </mc:Choice>
              <mc:Fallback>
                <p:oleObj name="Diapositive think-cell" r:id="rId4" imgW="286" imgH="286" progId="TCLayout.ActiveDocument.1">
                  <p:embed/>
                  <p:pic>
                    <p:nvPicPr>
                      <p:cNvPr id="4" name="Object 3" hidden="1">
                        <a:extLst>
                          <a:ext uri="{FF2B5EF4-FFF2-40B4-BE49-F238E27FC236}">
                            <a16:creationId xmlns:a16="http://schemas.microsoft.com/office/drawing/2014/main" id="{E6B02D07-A2F4-48DF-8D05-AFD80D10F6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descr="Background pattern&#10;&#10;Description automatically generated">
            <a:extLst>
              <a:ext uri="{FF2B5EF4-FFF2-40B4-BE49-F238E27FC236}">
                <a16:creationId xmlns:a16="http://schemas.microsoft.com/office/drawing/2014/main" id="{0C994B96-7AB0-433A-A2E8-87C035FC70CA}"/>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a:stretch/>
        </p:blipFill>
        <p:spPr>
          <a:xfrm>
            <a:off x="0" y="0"/>
            <a:ext cx="12192000" cy="1581912"/>
          </a:xfrm>
          <a:prstGeom prst="rect">
            <a:avLst/>
          </a:prstGeom>
        </p:spPr>
      </p:pic>
      <p:sp>
        <p:nvSpPr>
          <p:cNvPr id="10" name="Rectangle 9">
            <a:extLst>
              <a:ext uri="{FF2B5EF4-FFF2-40B4-BE49-F238E27FC236}">
                <a16:creationId xmlns:a16="http://schemas.microsoft.com/office/drawing/2014/main" id="{AA1EC4DB-D4DC-48EE-B297-7C07CE31C01B}"/>
              </a:ext>
            </a:extLst>
          </p:cNvPr>
          <p:cNvSpPr/>
          <p:nvPr userDrawn="1"/>
        </p:nvSpPr>
        <p:spPr>
          <a:xfrm>
            <a:off x="0" y="0"/>
            <a:ext cx="12192000" cy="1581912"/>
          </a:xfrm>
          <a:prstGeom prst="rect">
            <a:avLst/>
          </a:prstGeom>
          <a:gradFill flip="none" rotWithShape="1">
            <a:gsLst>
              <a:gs pos="100000">
                <a:schemeClr val="accent1"/>
              </a:gs>
              <a:gs pos="0">
                <a:schemeClr val="accent1">
                  <a:alpha val="0"/>
                </a:schemeClr>
              </a:gs>
            </a:gsLst>
            <a:lin ang="13500000" scaled="1"/>
            <a:tileRect/>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b" anchorCtr="0">
            <a:noAutofit/>
          </a:bodyPr>
          <a:lstStyle>
            <a:lvl1pPr marL="0" indent="0" algn="l">
              <a:lnSpc>
                <a:spcPct val="93000"/>
              </a:lnSpc>
              <a:spcBef>
                <a:spcPct val="0"/>
              </a:spcBef>
              <a:spcAft>
                <a:spcPts val="0"/>
              </a:spcAft>
              <a:defRPr sz="3200" b="0" i="0" u="none" kern="0" spc="0">
                <a:solidFill>
                  <a:srgbClr val="FFFFFF"/>
                </a:solidFill>
                <a:latin typeface="+mj-lt"/>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174608274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eyond layout 37">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6B02D07-A2F4-48DF-8D05-AFD80D10F6D9}"/>
              </a:ext>
            </a:extLst>
          </p:cNvPr>
          <p:cNvGraphicFramePr>
            <a:graphicFrameLocks noChangeAspect="1"/>
          </p:cNvGraphicFramePr>
          <p:nvPr userDrawn="1">
            <p:custDataLst>
              <p:tags r:id="rId2"/>
            </p:custDataLst>
            <p:extLst>
              <p:ext uri="{D42A27DB-BD31-4B8C-83A1-F6EECF244321}">
                <p14:modId xmlns:p14="http://schemas.microsoft.com/office/powerpoint/2010/main" val="3020787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37" name="Diapositive think-cell" r:id="rId4" imgW="286" imgH="286" progId="TCLayout.ActiveDocument.1">
                  <p:embed/>
                </p:oleObj>
              </mc:Choice>
              <mc:Fallback>
                <p:oleObj name="Diapositive think-cell" r:id="rId4" imgW="286" imgH="286" progId="TCLayout.ActiveDocument.1">
                  <p:embed/>
                  <p:pic>
                    <p:nvPicPr>
                      <p:cNvPr id="4" name="Object 3" hidden="1">
                        <a:extLst>
                          <a:ext uri="{FF2B5EF4-FFF2-40B4-BE49-F238E27FC236}">
                            <a16:creationId xmlns:a16="http://schemas.microsoft.com/office/drawing/2014/main" id="{E6B02D07-A2F4-48DF-8D05-AFD80D10F6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5" descr="A picture containing indoor&#10;&#10;Description automatically generated">
            <a:extLst>
              <a:ext uri="{FF2B5EF4-FFF2-40B4-BE49-F238E27FC236}">
                <a16:creationId xmlns:a16="http://schemas.microsoft.com/office/drawing/2014/main" id="{7C810475-85AE-4CEC-8830-24FEF1DF719B}"/>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a:stretch/>
        </p:blipFill>
        <p:spPr>
          <a:xfrm>
            <a:off x="1" y="0"/>
            <a:ext cx="12191999" cy="1581912"/>
          </a:xfrm>
          <a:prstGeom prst="rect">
            <a:avLst/>
          </a:prstGeom>
        </p:spPr>
      </p:pic>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p>
        </p:txBody>
      </p:sp>
      <p:sp>
        <p:nvSpPr>
          <p:cNvPr id="10" name="Rectangle 9">
            <a:extLst>
              <a:ext uri="{FF2B5EF4-FFF2-40B4-BE49-F238E27FC236}">
                <a16:creationId xmlns:a16="http://schemas.microsoft.com/office/drawing/2014/main" id="{E5579384-AD7D-42D0-82EA-0AE0D21A7663}"/>
              </a:ext>
            </a:extLst>
          </p:cNvPr>
          <p:cNvSpPr/>
          <p:nvPr userDrawn="1"/>
        </p:nvSpPr>
        <p:spPr>
          <a:xfrm>
            <a:off x="1" y="0"/>
            <a:ext cx="12192000" cy="1581912"/>
          </a:xfrm>
          <a:prstGeom prst="rect">
            <a:avLst/>
          </a:prstGeom>
          <a:gradFill flip="none" rotWithShape="1">
            <a:gsLst>
              <a:gs pos="100000">
                <a:schemeClr val="accent1"/>
              </a:gs>
              <a:gs pos="0">
                <a:schemeClr val="accent1">
                  <a:alpha val="0"/>
                </a:schemeClr>
              </a:gs>
            </a:gsLst>
            <a:lin ang="13500000" scaled="1"/>
            <a:tileRect/>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b" anchorCtr="0">
            <a:noAutofit/>
          </a:bodyPr>
          <a:lstStyle>
            <a:lvl1pPr marL="0" indent="0" algn="l">
              <a:lnSpc>
                <a:spcPct val="93000"/>
              </a:lnSpc>
              <a:spcBef>
                <a:spcPct val="0"/>
              </a:spcBef>
              <a:spcAft>
                <a:spcPts val="0"/>
              </a:spcAft>
              <a:defRPr sz="3200" b="0" i="0" u="none" kern="0" spc="0">
                <a:solidFill>
                  <a:srgbClr val="FFFFFF"/>
                </a:solidFill>
                <a:latin typeface="+mj-lt"/>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350242666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eyond layout 38">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6B02D07-A2F4-48DF-8D05-AFD80D10F6D9}"/>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61" name="Diapositive think-cell" r:id="rId4" imgW="286" imgH="286" progId="TCLayout.ActiveDocument.1">
                  <p:embed/>
                </p:oleObj>
              </mc:Choice>
              <mc:Fallback>
                <p:oleObj name="Diapositive think-cell" r:id="rId4" imgW="286" imgH="286" progId="TCLayout.ActiveDocument.1">
                  <p:embed/>
                  <p:pic>
                    <p:nvPicPr>
                      <p:cNvPr id="4" name="Object 3" hidden="1">
                        <a:extLst>
                          <a:ext uri="{FF2B5EF4-FFF2-40B4-BE49-F238E27FC236}">
                            <a16:creationId xmlns:a16="http://schemas.microsoft.com/office/drawing/2014/main" id="{E6B02D07-A2F4-48DF-8D05-AFD80D10F6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23B83742-1109-4BD5-8F33-BFE5019F4878}"/>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a:stretch/>
        </p:blipFill>
        <p:spPr>
          <a:xfrm>
            <a:off x="0" y="0"/>
            <a:ext cx="12192000" cy="1581912"/>
          </a:xfrm>
          <a:prstGeom prst="rect">
            <a:avLst/>
          </a:prstGeom>
        </p:spPr>
      </p:pic>
      <p:sp>
        <p:nvSpPr>
          <p:cNvPr id="10" name="Rectangle 9">
            <a:extLst>
              <a:ext uri="{FF2B5EF4-FFF2-40B4-BE49-F238E27FC236}">
                <a16:creationId xmlns:a16="http://schemas.microsoft.com/office/drawing/2014/main" id="{50B54B3B-28AB-4D4C-A258-468BAF2D8997}"/>
              </a:ext>
            </a:extLst>
          </p:cNvPr>
          <p:cNvSpPr/>
          <p:nvPr userDrawn="1"/>
        </p:nvSpPr>
        <p:spPr>
          <a:xfrm>
            <a:off x="0" y="0"/>
            <a:ext cx="12192000" cy="1581912"/>
          </a:xfrm>
          <a:prstGeom prst="rect">
            <a:avLst/>
          </a:prstGeom>
          <a:gradFill flip="none" rotWithShape="1">
            <a:gsLst>
              <a:gs pos="100000">
                <a:schemeClr val="accent1"/>
              </a:gs>
              <a:gs pos="0">
                <a:schemeClr val="accent1">
                  <a:alpha val="0"/>
                </a:schemeClr>
              </a:gs>
            </a:gsLst>
            <a:lin ang="13500000" scaled="1"/>
            <a:tileRect/>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b" anchorCtr="0">
            <a:noAutofit/>
          </a:bodyPr>
          <a:lstStyle>
            <a:lvl1pPr marL="0" indent="0" algn="l">
              <a:lnSpc>
                <a:spcPct val="93000"/>
              </a:lnSpc>
              <a:spcBef>
                <a:spcPct val="0"/>
              </a:spcBef>
              <a:spcAft>
                <a:spcPts val="0"/>
              </a:spcAft>
              <a:defRPr sz="3200" b="0" i="0" u="none" kern="0" spc="0">
                <a:solidFill>
                  <a:srgbClr val="FFFFFF"/>
                </a:solidFill>
                <a:latin typeface="+mj-lt"/>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190966260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Beyond layout 3">
    <p:bg>
      <p:bgPr>
        <a:solidFill>
          <a:srgbClr val="EDEDED"/>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1" name="Diapositive think-cell" r:id="rId5" imgW="352" imgH="355" progId="TCLayout.ActiveDocument.1">
                  <p:embed/>
                </p:oleObj>
              </mc:Choice>
              <mc:Fallback>
                <p:oleObj name="Diapositive think-cell"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Henderson BCG Sans" panose="020B0502030402020204" pitchFamily="34" charset="0"/>
              <a:ea typeface="+mj-ea"/>
              <a:cs typeface="+mj-cs"/>
              <a:sym typeface="Henderson BCG Sans" panose="020B0502030402020204" pitchFamily="34" charset="0"/>
            </a:endParaRPr>
          </a:p>
        </p:txBody>
      </p:sp>
      <p:pic>
        <p:nvPicPr>
          <p:cNvPr id="16" name="Picture 15"/>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rgbClr val="F8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kern="0">
              <a:solidFill>
                <a:prstClr val="white"/>
              </a:solidFill>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kern="0">
                <a:solidFill>
                  <a:schemeClr val="bg1"/>
                </a:solidFill>
                <a:latin typeface="+mn-lt"/>
                <a:ea typeface="+mn-ea"/>
                <a:cs typeface="+mn-cs"/>
                <a:sym typeface="+mn-lt"/>
              </a:defRPr>
            </a:lvl1pPr>
          </a:lstStyle>
          <a:p>
            <a:endParaRPr lang="en-US">
              <a:solidFill>
                <a:prstClr val="white"/>
              </a:solidFill>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mn-lt"/>
              </a:rPr>
              <a:t>Copyright © 2022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kern="0" smtClean="0">
                <a:solidFill>
                  <a:prstClr val="white"/>
                </a:solidFill>
                <a:sym typeface="+mn-lt"/>
              </a:rPr>
              <a:pPr algn="r">
                <a:defRPr/>
              </a:pPr>
              <a:t>‹#›</a:t>
            </a:fld>
            <a:endParaRPr lang="en-US" sz="1000" kern="0">
              <a:solidFill>
                <a:prstClr val="white"/>
              </a:solidFill>
              <a:sym typeface="+mn-lt"/>
            </a:endParaRPr>
          </a:p>
        </p:txBody>
      </p:sp>
      <p:sp>
        <p:nvSpPr>
          <p:cNvPr id="2" name="Title 1"/>
          <p:cNvSpPr>
            <a:spLocks noGrp="1"/>
          </p:cNvSpPr>
          <p:nvPr>
            <p:ph type="title" hasCustomPrompt="1"/>
          </p:nvPr>
        </p:nvSpPr>
        <p:spPr>
          <a:xfrm>
            <a:off x="630000" y="622800"/>
            <a:ext cx="7123797" cy="443198"/>
          </a:xfrm>
          <a:prstGeom prst="rect">
            <a:avLst/>
          </a:prstGeom>
        </p:spPr>
        <p:txBody>
          <a:bodyPr vert="horz"/>
          <a:lstStyle>
            <a:lvl1pPr>
              <a:defRPr sz="3200" b="0" kern="0">
                <a:solidFill>
                  <a:srgbClr val="21BF61"/>
                </a:solidFill>
                <a:latin typeface="+mj-lt"/>
                <a:ea typeface="+mj-ea"/>
                <a:cs typeface="+mj-cs"/>
                <a:sym typeface="+mj-lt"/>
              </a:defRPr>
            </a:lvl1pPr>
          </a:lstStyle>
          <a:p>
            <a:r>
              <a:rPr lang="en-US"/>
              <a:t>Click to add title</a:t>
            </a:r>
          </a:p>
        </p:txBody>
      </p:sp>
      <p:pic>
        <p:nvPicPr>
          <p:cNvPr id="11" name="Picture 10">
            <a:extLst>
              <a:ext uri="{FF2B5EF4-FFF2-40B4-BE49-F238E27FC236}">
                <a16:creationId xmlns:a16="http://schemas.microsoft.com/office/drawing/2014/main" id="{0B7701B6-ED7F-4ED1-8A32-83A5F8CB3612}"/>
              </a:ext>
            </a:extLst>
          </p:cNvPr>
          <p:cNvPicPr>
            <a:picLocks noChangeAspect="1"/>
          </p:cNvPicPr>
          <p:nvPr userDrawn="1"/>
        </p:nvPicPr>
        <p:blipFill rotWithShape="1">
          <a:blip r:embed="rId8" cstate="screen">
            <a:extLst>
              <a:ext uri="{28A0092B-C50C-407E-A947-70E740481C1C}">
                <a14:useLocalDpi xmlns:a14="http://schemas.microsoft.com/office/drawing/2010/main"/>
              </a:ext>
            </a:extLst>
          </a:blip>
          <a:srcRect/>
          <a:stretch/>
        </p:blipFill>
        <p:spPr>
          <a:xfrm>
            <a:off x="8170748" y="0"/>
            <a:ext cx="4083486" cy="6857999"/>
          </a:xfrm>
          <a:prstGeom prst="rect">
            <a:avLst/>
          </a:prstGeom>
        </p:spPr>
      </p:pic>
      <p:pic>
        <p:nvPicPr>
          <p:cNvPr id="12" name="Picture 11">
            <a:extLst>
              <a:ext uri="{FF2B5EF4-FFF2-40B4-BE49-F238E27FC236}">
                <a16:creationId xmlns:a16="http://schemas.microsoft.com/office/drawing/2014/main" id="{4C673707-19ED-4AE1-971D-F49CB3A0856B}"/>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bwMode="ltGray">
          <a:xfrm flipH="1" flipV="1">
            <a:off x="7753797" y="0"/>
            <a:ext cx="416951" cy="6858000"/>
          </a:xfrm>
          <a:prstGeom prst="rect">
            <a:avLst/>
          </a:prstGeom>
        </p:spPr>
      </p:pic>
    </p:spTree>
    <p:extLst>
      <p:ext uri="{BB962C8B-B14F-4D97-AF65-F5344CB8AC3E}">
        <p14:creationId xmlns:p14="http://schemas.microsoft.com/office/powerpoint/2010/main" val="40187043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Beyond layout 39">
    <p:bg bwMode="grayWhite">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85" name="Diapositive think-cell" r:id="rId5" imgW="352" imgH="355" progId="TCLayout.ActiveDocument.1">
                  <p:embed/>
                </p:oleObj>
              </mc:Choice>
              <mc:Fallback>
                <p:oleObj name="Diapositive think-cell"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E14840E4-D7DD-4A96-8F0A-5CD28F4CEE7B}"/>
              </a:ext>
            </a:extLst>
          </p:cNvPr>
          <p:cNvSpPr/>
          <p:nvPr userDrawn="1"/>
        </p:nvSpPr>
        <p:spPr>
          <a:xfrm>
            <a:off x="0" y="-236920"/>
            <a:ext cx="12192000" cy="1543373"/>
          </a:xfrm>
          <a:prstGeom prst="rect">
            <a:avLst/>
          </a:prstGeom>
          <a:solidFill>
            <a:srgbClr val="EDEDED"/>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5" name="Rectangle 4"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4400">
              <a:solidFill>
                <a:srgbClr val="FFFFFF"/>
              </a:solidFill>
              <a:latin typeface="Henderson BCG Sans" panose="020B0502030402020204" pitchFamily="34" charset="0"/>
              <a:sym typeface="Henderson BCG Sans" panose="020B0502030402020204" pitchFamily="34" charset="0"/>
            </a:endParaRPr>
          </a:p>
        </p:txBody>
      </p:sp>
      <p:sp>
        <p:nvSpPr>
          <p:cNvPr id="13" name="Picture Placeholder 18"/>
          <p:cNvSpPr>
            <a:spLocks noGrp="1"/>
          </p:cNvSpPr>
          <p:nvPr>
            <p:ph type="pic" sz="quarter" idx="14" hasCustomPrompt="1"/>
          </p:nvPr>
        </p:nvSpPr>
        <p:spPr>
          <a:xfrm>
            <a:off x="0" y="-236920"/>
            <a:ext cx="12192000" cy="1543373"/>
          </a:xfrm>
          <a:prstGeom prst="rect">
            <a:avLst/>
          </a:prstGeom>
          <a:noFill/>
        </p:spPr>
        <p:txBody>
          <a:bodyPr lIns="914400" tIns="914400" rIns="914400" bIns="914400"/>
          <a:lstStyle>
            <a:lvl1pPr algn="ctr">
              <a:defRPr sz="1800" kern="0" baseline="0">
                <a:latin typeface="+mn-lt"/>
                <a:ea typeface="+mn-ea"/>
                <a:cs typeface="+mn-cs"/>
                <a:sym typeface="+mn-lt"/>
              </a:defRPr>
            </a:lvl1pPr>
          </a:lstStyle>
          <a:p>
            <a:r>
              <a:rPr lang="en-US"/>
              <a:t>Click icon below to insert an image or remove this placeholder to use the whitespace in another way</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kern="0" smtClean="0">
                <a:solidFill>
                  <a:prstClr val="white">
                    <a:lumMod val="50000"/>
                  </a:prstClr>
                </a:solidFill>
                <a:sym typeface="+mn-lt"/>
              </a:rPr>
              <a:pPr algn="r">
                <a:defRPr/>
              </a:pPr>
              <a:t>‹#›</a:t>
            </a:fld>
            <a:endParaRPr lang="en-US" sz="800" kern="0">
              <a:solidFill>
                <a:prstClr val="white">
                  <a:lumMod val="50000"/>
                </a:prstClr>
              </a:solidFill>
              <a:sym typeface="+mn-lt"/>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kern="0">
                <a:solidFill>
                  <a:schemeClr val="bg1">
                    <a:lumMod val="50000"/>
                  </a:schemeClr>
                </a:solidFill>
                <a:latin typeface="+mn-lt"/>
                <a:ea typeface="+mn-ea"/>
                <a:cs typeface="+mn-cs"/>
                <a:sym typeface="+mn-lt"/>
              </a:defRPr>
            </a:lvl1pPr>
          </a:lstStyle>
          <a:p>
            <a:endParaRPr lang="en-US">
              <a:solidFill>
                <a:prstClr val="white">
                  <a:lumMod val="50000"/>
                </a:prstClr>
              </a:solidFill>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mn-lt"/>
              </a:rPr>
              <a:t>Copyright © 2022 by Boston Consulting Group. All rights reserved.</a:t>
            </a:r>
          </a:p>
        </p:txBody>
      </p:sp>
    </p:spTree>
    <p:extLst>
      <p:ext uri="{BB962C8B-B14F-4D97-AF65-F5344CB8AC3E}">
        <p14:creationId xmlns:p14="http://schemas.microsoft.com/office/powerpoint/2010/main" val="73416334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Beyond layout 40">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A278B0-6C3F-4D95-9D3F-CC16C93FC336}"/>
              </a:ext>
            </a:extLst>
          </p:cNvPr>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09" name="Diapositive think-cell" r:id="rId5" imgW="286" imgH="286" progId="TCLayout.ActiveDocument.1">
                  <p:embed/>
                </p:oleObj>
              </mc:Choice>
              <mc:Fallback>
                <p:oleObj name="Diapositive think-cell" r:id="rId5" imgW="286" imgH="286" progId="TCLayout.ActiveDocument.1">
                  <p:embed/>
                  <p:pic>
                    <p:nvPicPr>
                      <p:cNvPr id="3" name="Object 2" hidden="1">
                        <a:extLst>
                          <a:ext uri="{FF2B5EF4-FFF2-40B4-BE49-F238E27FC236}">
                            <a16:creationId xmlns:a16="http://schemas.microsoft.com/office/drawing/2014/main" id="{38A278B0-6C3F-4D95-9D3F-CC16C93FC33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p>
        </p:txBody>
      </p:sp>
      <p:sp>
        <p:nvSpPr>
          <p:cNvPr id="20" name="TextBox 19"/>
          <p:cNvSpPr txBox="1"/>
          <p:nvPr userDrawn="1"/>
        </p:nvSpPr>
        <p:spPr>
          <a:xfrm>
            <a:off x="11167872" y="6405037"/>
            <a:ext cx="381000" cy="153888"/>
          </a:xfrm>
          <a:prstGeom prst="rect">
            <a:avLst/>
          </a:prstGeom>
          <a:noFill/>
        </p:spPr>
        <p:txBody>
          <a:bodyPr vert="horz" wrap="square" lIns="0" tIns="0" rIns="0" bIns="0" rtlCol="0" anchor="b" anchorCtr="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0" smtClean="0">
                <a:solidFill>
                  <a:srgbClr val="7F7F7F"/>
                </a:solidFill>
                <a:latin typeface="Henderson BCG Sans Light" panose="020B03020304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0">
              <a:solidFill>
                <a:srgbClr val="7F7F7F"/>
              </a:solidFill>
              <a:latin typeface="Henderson BCG Sans Light" panose="020B0302030402020204" pitchFamily="34" charset="0"/>
              <a:ea typeface="+mn-ea"/>
              <a:cs typeface="+mn-cs"/>
              <a:sym typeface="Trebuchet MS" panose="020B0603020202020204" pitchFamily="34" charset="0"/>
            </a:endParaRPr>
          </a:p>
        </p:txBody>
      </p:sp>
      <p:sp>
        <p:nvSpPr>
          <p:cNvPr id="9" name="Rectangle 8">
            <a:extLst>
              <a:ext uri="{FF2B5EF4-FFF2-40B4-BE49-F238E27FC236}">
                <a16:creationId xmlns:a16="http://schemas.microsoft.com/office/drawing/2014/main" id="{AEDD0933-3B27-4A72-828F-33ACDFCB9939}"/>
              </a:ext>
            </a:extLst>
          </p:cNvPr>
          <p:cNvSpPr/>
          <p:nvPr userDrawn="1"/>
        </p:nvSpPr>
        <p:spPr bwMode="white">
          <a:xfrm>
            <a:off x="0" y="0"/>
            <a:ext cx="4079508" cy="6858000"/>
          </a:xfrm>
          <a:prstGeom prst="rect">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a:solidFill>
                  <a:prstClr val="white"/>
                </a:solidFill>
                <a:sym typeface="+mn-lt"/>
              </a:rPr>
              <a:t>CC</a:t>
            </a:r>
          </a:p>
        </p:txBody>
      </p:sp>
      <p:sp>
        <p:nvSpPr>
          <p:cNvPr id="27"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200">
                <a:solidFill>
                  <a:srgbClr val="21BF61"/>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6718969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Beyond layout 41">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A278B0-6C3F-4D95-9D3F-CC16C93FC336}"/>
              </a:ext>
            </a:extLst>
          </p:cNvPr>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33" name="Diapositive think-cell" r:id="rId5" imgW="286" imgH="286" progId="TCLayout.ActiveDocument.1">
                  <p:embed/>
                </p:oleObj>
              </mc:Choice>
              <mc:Fallback>
                <p:oleObj name="Diapositive think-cell" r:id="rId5" imgW="286" imgH="286" progId="TCLayout.ActiveDocument.1">
                  <p:embed/>
                  <p:pic>
                    <p:nvPicPr>
                      <p:cNvPr id="3" name="Object 2" hidden="1">
                        <a:extLst>
                          <a:ext uri="{FF2B5EF4-FFF2-40B4-BE49-F238E27FC236}">
                            <a16:creationId xmlns:a16="http://schemas.microsoft.com/office/drawing/2014/main" id="{38A278B0-6C3F-4D95-9D3F-CC16C93FC33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p>
        </p:txBody>
      </p:sp>
      <p:sp>
        <p:nvSpPr>
          <p:cNvPr id="20" name="TextBox 19"/>
          <p:cNvSpPr txBox="1"/>
          <p:nvPr userDrawn="1"/>
        </p:nvSpPr>
        <p:spPr>
          <a:xfrm>
            <a:off x="11167872" y="6405037"/>
            <a:ext cx="381000" cy="153888"/>
          </a:xfrm>
          <a:prstGeom prst="rect">
            <a:avLst/>
          </a:prstGeom>
          <a:noFill/>
        </p:spPr>
        <p:txBody>
          <a:bodyPr vert="horz" wrap="square" lIns="0" tIns="0" rIns="0" bIns="0" rtlCol="0" anchor="b" anchorCtr="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0" smtClean="0">
                <a:solidFill>
                  <a:srgbClr val="7F7F7F"/>
                </a:solidFill>
                <a:latin typeface="Henderson BCG Sans Light" panose="020B03020304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0">
              <a:solidFill>
                <a:srgbClr val="7F7F7F"/>
              </a:solidFill>
              <a:latin typeface="Henderson BCG Sans Light" panose="020B0302030402020204" pitchFamily="34" charset="0"/>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pic>
        <p:nvPicPr>
          <p:cNvPr id="9" name="Picture 8">
            <a:extLst>
              <a:ext uri="{FF2B5EF4-FFF2-40B4-BE49-F238E27FC236}">
                <a16:creationId xmlns:a16="http://schemas.microsoft.com/office/drawing/2014/main" id="{55BAA4C8-10B9-4E3E-B65A-28D8693172DF}"/>
              </a:ext>
            </a:extLst>
          </p:cNvPr>
          <p:cNvPicPr>
            <a:picLocks noChangeAspect="1"/>
          </p:cNvPicPr>
          <p:nvPr userDrawn="1"/>
        </p:nvPicPr>
        <p:blipFill>
          <a:blip r:embed="rId8" cstate="screen">
            <a:extLst>
              <a:ext uri="{28A0092B-C50C-407E-A947-70E740481C1C}">
                <a14:useLocalDpi xmlns:a14="http://schemas.microsoft.com/office/drawing/2010/main"/>
              </a:ext>
            </a:extLst>
          </a:blip>
          <a:srcRect/>
          <a:stretch/>
        </p:blipFill>
        <p:spPr>
          <a:xfrm>
            <a:off x="0" y="0"/>
            <a:ext cx="4085488" cy="6864573"/>
          </a:xfrm>
          <a:prstGeom prst="rect">
            <a:avLst/>
          </a:prstGeom>
        </p:spPr>
      </p:pic>
      <p:sp>
        <p:nvSpPr>
          <p:cNvPr id="27"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200">
                <a:solidFill>
                  <a:srgbClr val="21BF61"/>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6067175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Beyond layout 42">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A278B0-6C3F-4D95-9D3F-CC16C93FC336}"/>
              </a:ext>
            </a:extLst>
          </p:cNvPr>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57" name="Diapositive think-cell" r:id="rId5" imgW="286" imgH="286" progId="TCLayout.ActiveDocument.1">
                  <p:embed/>
                </p:oleObj>
              </mc:Choice>
              <mc:Fallback>
                <p:oleObj name="Diapositive think-cell" r:id="rId5" imgW="286" imgH="286" progId="TCLayout.ActiveDocument.1">
                  <p:embed/>
                  <p:pic>
                    <p:nvPicPr>
                      <p:cNvPr id="3" name="Object 2" hidden="1">
                        <a:extLst>
                          <a:ext uri="{FF2B5EF4-FFF2-40B4-BE49-F238E27FC236}">
                            <a16:creationId xmlns:a16="http://schemas.microsoft.com/office/drawing/2014/main" id="{38A278B0-6C3F-4D95-9D3F-CC16C93FC33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p>
        </p:txBody>
      </p:sp>
      <p:sp>
        <p:nvSpPr>
          <p:cNvPr id="20" name="TextBox 19"/>
          <p:cNvSpPr txBox="1"/>
          <p:nvPr userDrawn="1"/>
        </p:nvSpPr>
        <p:spPr>
          <a:xfrm>
            <a:off x="11167872" y="6405037"/>
            <a:ext cx="381000" cy="153888"/>
          </a:xfrm>
          <a:prstGeom prst="rect">
            <a:avLst/>
          </a:prstGeom>
          <a:noFill/>
        </p:spPr>
        <p:txBody>
          <a:bodyPr vert="horz" wrap="square" lIns="0" tIns="0" rIns="0" bIns="0" rtlCol="0" anchor="b" anchorCtr="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0" smtClean="0">
                <a:solidFill>
                  <a:srgbClr val="7F7F7F"/>
                </a:solidFill>
                <a:latin typeface="Henderson BCG Sans Light" panose="020B03020304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0">
              <a:solidFill>
                <a:srgbClr val="7F7F7F"/>
              </a:solidFill>
              <a:latin typeface="Henderson BCG Sans Light" panose="020B0302030402020204" pitchFamily="34" charset="0"/>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pic>
        <p:nvPicPr>
          <p:cNvPr id="10" name="Picture 9">
            <a:extLst>
              <a:ext uri="{FF2B5EF4-FFF2-40B4-BE49-F238E27FC236}">
                <a16:creationId xmlns:a16="http://schemas.microsoft.com/office/drawing/2014/main" id="{37E4D49C-1513-4582-A2C4-2EDC959145DD}"/>
              </a:ext>
            </a:extLst>
          </p:cNvPr>
          <p:cNvPicPr>
            <a:picLocks noChangeAspect="1"/>
          </p:cNvPicPr>
          <p:nvPr userDrawn="1"/>
        </p:nvPicPr>
        <p:blipFill>
          <a:blip r:embed="rId8" cstate="screen">
            <a:extLst>
              <a:ext uri="{28A0092B-C50C-407E-A947-70E740481C1C}">
                <a14:useLocalDpi xmlns:a14="http://schemas.microsoft.com/office/drawing/2010/main"/>
              </a:ext>
            </a:extLst>
          </a:blip>
          <a:srcRect/>
          <a:stretch/>
        </p:blipFill>
        <p:spPr>
          <a:xfrm>
            <a:off x="0" y="0"/>
            <a:ext cx="4085488" cy="6864573"/>
          </a:xfrm>
          <a:prstGeom prst="rect">
            <a:avLst/>
          </a:prstGeom>
        </p:spPr>
      </p:pic>
      <p:sp>
        <p:nvSpPr>
          <p:cNvPr id="9" name="Title 4">
            <a:extLst>
              <a:ext uri="{FF2B5EF4-FFF2-40B4-BE49-F238E27FC236}">
                <a16:creationId xmlns:a16="http://schemas.microsoft.com/office/drawing/2014/main" id="{207F5C61-1F94-4D71-BF4F-ABB4FE6F981F}"/>
              </a:ext>
            </a:extLst>
          </p:cNvPr>
          <p:cNvSpPr>
            <a:spLocks noGrp="1"/>
          </p:cNvSpPr>
          <p:nvPr>
            <p:ph type="title" hasCustomPrompt="1"/>
          </p:nvPr>
        </p:nvSpPr>
        <p:spPr>
          <a:xfrm>
            <a:off x="630000" y="2681103"/>
            <a:ext cx="3127881" cy="1495794"/>
          </a:xfrm>
          <a:prstGeom prst="rect">
            <a:avLst/>
          </a:prstGeom>
        </p:spPr>
        <p:txBody>
          <a:bodyPr vert="horz" anchor="ctr">
            <a:noAutofit/>
          </a:bodyPr>
          <a:lstStyle>
            <a:lvl1pPr>
              <a:defRPr sz="3200">
                <a:solidFill>
                  <a:srgbClr val="FFFFFF"/>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4733137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Beyond layout 43">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A278B0-6C3F-4D95-9D3F-CC16C93FC336}"/>
              </a:ext>
            </a:extLst>
          </p:cNvPr>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81" name="Diapositive think-cell" r:id="rId5" imgW="286" imgH="286" progId="TCLayout.ActiveDocument.1">
                  <p:embed/>
                </p:oleObj>
              </mc:Choice>
              <mc:Fallback>
                <p:oleObj name="Diapositive think-cell" r:id="rId5" imgW="286" imgH="286" progId="TCLayout.ActiveDocument.1">
                  <p:embed/>
                  <p:pic>
                    <p:nvPicPr>
                      <p:cNvPr id="3" name="Object 2" hidden="1">
                        <a:extLst>
                          <a:ext uri="{FF2B5EF4-FFF2-40B4-BE49-F238E27FC236}">
                            <a16:creationId xmlns:a16="http://schemas.microsoft.com/office/drawing/2014/main" id="{38A278B0-6C3F-4D95-9D3F-CC16C93FC33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p>
        </p:txBody>
      </p:sp>
      <p:sp>
        <p:nvSpPr>
          <p:cNvPr id="20" name="TextBox 19"/>
          <p:cNvSpPr txBox="1"/>
          <p:nvPr userDrawn="1"/>
        </p:nvSpPr>
        <p:spPr>
          <a:xfrm>
            <a:off x="11167872" y="6405037"/>
            <a:ext cx="381000" cy="153888"/>
          </a:xfrm>
          <a:prstGeom prst="rect">
            <a:avLst/>
          </a:prstGeom>
          <a:noFill/>
        </p:spPr>
        <p:txBody>
          <a:bodyPr vert="horz" wrap="square" lIns="0" tIns="0" rIns="0" bIns="0" rtlCol="0" anchor="b" anchorCtr="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0" smtClean="0">
                <a:solidFill>
                  <a:srgbClr val="7F7F7F"/>
                </a:solidFill>
                <a:latin typeface="Henderson BCG Sans Light" panose="020B03020304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0">
              <a:solidFill>
                <a:srgbClr val="7F7F7F"/>
              </a:solidFill>
              <a:latin typeface="Henderson BCG Sans Light" panose="020B0302030402020204" pitchFamily="34" charset="0"/>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pic>
        <p:nvPicPr>
          <p:cNvPr id="10" name="Picture 9">
            <a:extLst>
              <a:ext uri="{FF2B5EF4-FFF2-40B4-BE49-F238E27FC236}">
                <a16:creationId xmlns:a16="http://schemas.microsoft.com/office/drawing/2014/main" id="{2C9D2649-8A6E-4661-BEA6-1D0ADC9B1A6D}"/>
              </a:ext>
            </a:extLst>
          </p:cNvPr>
          <p:cNvPicPr>
            <a:picLocks noChangeAspect="1"/>
          </p:cNvPicPr>
          <p:nvPr userDrawn="1"/>
        </p:nvPicPr>
        <p:blipFill>
          <a:blip r:embed="rId8" cstate="screen">
            <a:extLst>
              <a:ext uri="{28A0092B-C50C-407E-A947-70E740481C1C}">
                <a14:useLocalDpi xmlns:a14="http://schemas.microsoft.com/office/drawing/2010/main"/>
              </a:ext>
            </a:extLst>
          </a:blip>
          <a:srcRect/>
          <a:stretch/>
        </p:blipFill>
        <p:spPr>
          <a:xfrm>
            <a:off x="0" y="0"/>
            <a:ext cx="4085488" cy="6864573"/>
          </a:xfrm>
          <a:prstGeom prst="rect">
            <a:avLst/>
          </a:prstGeom>
        </p:spPr>
      </p:pic>
      <p:sp>
        <p:nvSpPr>
          <p:cNvPr id="9" name="Title 4">
            <a:extLst>
              <a:ext uri="{FF2B5EF4-FFF2-40B4-BE49-F238E27FC236}">
                <a16:creationId xmlns:a16="http://schemas.microsoft.com/office/drawing/2014/main" id="{0A3623B9-3A4C-427C-B25C-5C6A10D28505}"/>
              </a:ext>
            </a:extLst>
          </p:cNvPr>
          <p:cNvSpPr>
            <a:spLocks noGrp="1"/>
          </p:cNvSpPr>
          <p:nvPr>
            <p:ph type="title" hasCustomPrompt="1"/>
          </p:nvPr>
        </p:nvSpPr>
        <p:spPr>
          <a:xfrm>
            <a:off x="630000" y="2681103"/>
            <a:ext cx="3127881" cy="1495794"/>
          </a:xfrm>
          <a:prstGeom prst="rect">
            <a:avLst/>
          </a:prstGeom>
        </p:spPr>
        <p:txBody>
          <a:bodyPr vert="horz" anchor="ctr">
            <a:noAutofit/>
          </a:bodyPr>
          <a:lstStyle>
            <a:lvl1pPr>
              <a:defRPr sz="3200">
                <a:solidFill>
                  <a:srgbClr val="FFFFFF"/>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16241986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Beyond layout 44">
    <p:bg>
      <p:bgPr>
        <a:solidFill>
          <a:srgbClr val="EDEDED"/>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9FC77C1-CF09-48E9-9C80-D0AC60CA4AE9}"/>
              </a:ext>
            </a:extLst>
          </p:cNvPr>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05" name="Diapositive think-cell" r:id="rId5" imgW="286" imgH="286" progId="TCLayout.ActiveDocument.1">
                  <p:embed/>
                </p:oleObj>
              </mc:Choice>
              <mc:Fallback>
                <p:oleObj name="Diapositive think-cell" r:id="rId5" imgW="286" imgH="286" progId="TCLayout.ActiveDocument.1">
                  <p:embed/>
                  <p:pic>
                    <p:nvPicPr>
                      <p:cNvPr id="3" name="Object 2" hidden="1">
                        <a:extLst>
                          <a:ext uri="{FF2B5EF4-FFF2-40B4-BE49-F238E27FC236}">
                            <a16:creationId xmlns:a16="http://schemas.microsoft.com/office/drawing/2014/main" id="{A9FC77C1-CF09-48E9-9C80-D0AC60CA4AE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1" name="Picture 10">
            <a:extLst>
              <a:ext uri="{FF2B5EF4-FFF2-40B4-BE49-F238E27FC236}">
                <a16:creationId xmlns:a16="http://schemas.microsoft.com/office/drawing/2014/main" id="{74E37C26-3942-4F4C-B2EA-4BF5433900CE}"/>
              </a:ext>
            </a:extLst>
          </p:cNvPr>
          <p:cNvPicPr>
            <a:picLocks noChangeAspect="1"/>
          </p:cNvPicPr>
          <p:nvPr userDrawn="1"/>
        </p:nvPicPr>
        <p:blipFill rotWithShape="1">
          <a:blip r:embed="rId8" cstate="screen">
            <a:extLst>
              <a:ext uri="{28A0092B-C50C-407E-A947-70E740481C1C}">
                <a14:useLocalDpi xmlns:a14="http://schemas.microsoft.com/office/drawing/2010/main"/>
              </a:ext>
            </a:extLst>
          </a:blip>
          <a:srcRect r="-30395"/>
          <a:stretch/>
        </p:blipFill>
        <p:spPr>
          <a:xfrm>
            <a:off x="1" y="-1"/>
            <a:ext cx="8365992" cy="6854835"/>
          </a:xfrm>
          <a:prstGeom prst="rect">
            <a:avLst/>
          </a:prstGeom>
        </p:spPr>
      </p:pic>
      <p:sp>
        <p:nvSpPr>
          <p:cNvPr id="13" name="Rectangle 12">
            <a:extLst>
              <a:ext uri="{FF2B5EF4-FFF2-40B4-BE49-F238E27FC236}">
                <a16:creationId xmlns:a16="http://schemas.microsoft.com/office/drawing/2014/main" id="{32D0A38D-0C83-4499-AFB4-7F6948FB499C}"/>
              </a:ext>
            </a:extLst>
          </p:cNvPr>
          <p:cNvSpPr/>
          <p:nvPr userDrawn="1"/>
        </p:nvSpPr>
        <p:spPr>
          <a:xfrm rot="5400000" flipH="1">
            <a:off x="4732598" y="1092945"/>
            <a:ext cx="6870121" cy="4659987"/>
          </a:xfrm>
          <a:prstGeom prst="rect">
            <a:avLst/>
          </a:prstGeom>
          <a:gradFill flip="none" rotWithShape="1">
            <a:gsLst>
              <a:gs pos="100000">
                <a:schemeClr val="accent1">
                  <a:alpha val="92124"/>
                </a:schemeClr>
              </a:gs>
              <a:gs pos="0">
                <a:schemeClr val="accent1">
                  <a:alpha val="0"/>
                </a:schemeClr>
              </a:gs>
            </a:gsLst>
            <a:lin ang="16200000" scaled="1"/>
            <a:tileRect/>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14" name="Freeform 4">
            <a:extLst>
              <a:ext uri="{FF2B5EF4-FFF2-40B4-BE49-F238E27FC236}">
                <a16:creationId xmlns:a16="http://schemas.microsoft.com/office/drawing/2014/main" id="{128FA57E-DE77-4114-BB2E-CCBE540802DF}"/>
              </a:ext>
            </a:extLst>
          </p:cNvPr>
          <p:cNvSpPr/>
          <p:nvPr userDrawn="1"/>
        </p:nvSpPr>
        <p:spPr>
          <a:xfrm>
            <a:off x="3225219" y="-12119"/>
            <a:ext cx="8939222" cy="6866953"/>
          </a:xfrm>
          <a:custGeom>
            <a:avLst/>
            <a:gdLst>
              <a:gd name="connsiteX0" fmla="*/ 0 w 8939222"/>
              <a:gd name="connsiteY0" fmla="*/ 12964 h 6858000"/>
              <a:gd name="connsiteX1" fmla="*/ 13062 w 8939222"/>
              <a:gd name="connsiteY1" fmla="*/ 66235 h 6858000"/>
              <a:gd name="connsiteX2" fmla="*/ 13062 w 8939222"/>
              <a:gd name="connsiteY2" fmla="*/ 155570 h 6858000"/>
              <a:gd name="connsiteX3" fmla="*/ 13062 w 8939222"/>
              <a:gd name="connsiteY3" fmla="*/ 0 h 6858000"/>
              <a:gd name="connsiteX4" fmla="*/ 5434022 w 8939222"/>
              <a:gd name="connsiteY4" fmla="*/ 0 h 6858000"/>
              <a:gd name="connsiteX5" fmla="*/ 6662057 w 8939222"/>
              <a:gd name="connsiteY5" fmla="*/ 0 h 6858000"/>
              <a:gd name="connsiteX6" fmla="*/ 6805748 w 8939222"/>
              <a:gd name="connsiteY6" fmla="*/ 0 h 6858000"/>
              <a:gd name="connsiteX7" fmla="*/ 8939222 w 8939222"/>
              <a:gd name="connsiteY7" fmla="*/ 0 h 6858000"/>
              <a:gd name="connsiteX8" fmla="*/ 8939222 w 8939222"/>
              <a:gd name="connsiteY8" fmla="*/ 6858000 h 6858000"/>
              <a:gd name="connsiteX9" fmla="*/ 6662057 w 8939222"/>
              <a:gd name="connsiteY9" fmla="*/ 6858000 h 6858000"/>
              <a:gd name="connsiteX10" fmla="*/ 5434022 w 8939222"/>
              <a:gd name="connsiteY10" fmla="*/ 6858000 h 6858000"/>
              <a:gd name="connsiteX11" fmla="*/ 0 w 8939222"/>
              <a:gd name="connsiteY11" fmla="*/ 6858000 h 6858000"/>
              <a:gd name="connsiteX12" fmla="*/ 836022 w 8939222"/>
              <a:gd name="connsiteY12" fmla="*/ 3422519 h 6858000"/>
              <a:gd name="connsiteX13" fmla="*/ 13062 w 8939222"/>
              <a:gd name="connsiteY13" fmla="*/ 66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39222" h="6858000">
                <a:moveTo>
                  <a:pt x="0" y="12964"/>
                </a:moveTo>
                <a:lnTo>
                  <a:pt x="13062" y="66235"/>
                </a:lnTo>
                <a:lnTo>
                  <a:pt x="13062" y="155570"/>
                </a:lnTo>
                <a:close/>
                <a:moveTo>
                  <a:pt x="13062" y="0"/>
                </a:moveTo>
                <a:lnTo>
                  <a:pt x="5434022" y="0"/>
                </a:lnTo>
                <a:lnTo>
                  <a:pt x="6662057" y="0"/>
                </a:lnTo>
                <a:lnTo>
                  <a:pt x="6805748" y="0"/>
                </a:lnTo>
                <a:lnTo>
                  <a:pt x="8939222" y="0"/>
                </a:lnTo>
                <a:lnTo>
                  <a:pt x="8939222" y="6858000"/>
                </a:lnTo>
                <a:lnTo>
                  <a:pt x="6662057" y="6858000"/>
                </a:lnTo>
                <a:lnTo>
                  <a:pt x="5434022" y="6858000"/>
                </a:lnTo>
                <a:lnTo>
                  <a:pt x="0" y="6858000"/>
                </a:lnTo>
                <a:lnTo>
                  <a:pt x="836022" y="3422519"/>
                </a:lnTo>
                <a:lnTo>
                  <a:pt x="13062" y="66235"/>
                </a:lnTo>
                <a:close/>
              </a:path>
            </a:pathLst>
          </a:cu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15" name="Picture 14">
            <a:extLst>
              <a:ext uri="{FF2B5EF4-FFF2-40B4-BE49-F238E27FC236}">
                <a16:creationId xmlns:a16="http://schemas.microsoft.com/office/drawing/2014/main" id="{AFA39903-E8EB-4538-AB8B-5A7DC481B539}"/>
              </a:ext>
            </a:extLst>
          </p:cNvPr>
          <p:cNvPicPr>
            <a:picLocks noChangeAspect="1" noChangeArrowheads="1"/>
          </p:cNvPicPr>
          <p:nvPr userDrawn="1"/>
        </p:nvPicPr>
        <p:blipFill>
          <a:blip r:embed="rId7">
            <a:extLst>
              <a:ext uri="{28A0092B-C50C-407E-A947-70E740481C1C}">
                <a14:useLocalDpi xmlns:a14="http://schemas.microsoft.com/office/drawing/2010/main"/>
              </a:ext>
            </a:extLst>
          </a:blip>
          <a:srcRect/>
          <a:stretch>
            <a:fillRect/>
          </a:stretch>
        </p:blipFill>
        <p:spPr bwMode="auto">
          <a:xfrm>
            <a:off x="3069265"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0" name="Title 2">
            <a:extLst>
              <a:ext uri="{FF2B5EF4-FFF2-40B4-BE49-F238E27FC236}">
                <a16:creationId xmlns:a16="http://schemas.microsoft.com/office/drawing/2014/main" id="{34689FC1-542B-466C-BB5F-B6680C6EC281}"/>
              </a:ext>
            </a:extLst>
          </p:cNvPr>
          <p:cNvSpPr>
            <a:spLocks noGrp="1"/>
          </p:cNvSpPr>
          <p:nvPr>
            <p:ph type="title" hasCustomPrompt="1"/>
          </p:nvPr>
        </p:nvSpPr>
        <p:spPr>
          <a:xfrm>
            <a:off x="630000" y="2764203"/>
            <a:ext cx="2478638" cy="1314311"/>
          </a:xfrm>
        </p:spPr>
        <p:txBody>
          <a:bodyPr vert="horz" anchor="ctr" anchorCtr="0">
            <a:noAutofit/>
          </a:bodyPr>
          <a:lstStyle>
            <a:lvl1pPr>
              <a:defRPr sz="3200" baseline="0">
                <a:solidFill>
                  <a:srgbClr val="FFFFFF"/>
                </a:solidFill>
                <a:latin typeface="+mj-lt"/>
              </a:defRPr>
            </a:lvl1pPr>
          </a:lstStyle>
          <a:p>
            <a:r>
              <a:rPr lang="en-US"/>
              <a:t>Click to add title</a:t>
            </a: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2" name="TextBox 11"/>
          <p:cNvSpPr txBox="1"/>
          <p:nvPr userDrawn="1"/>
        </p:nvSpPr>
        <p:spPr>
          <a:xfrm>
            <a:off x="11167872" y="6405037"/>
            <a:ext cx="381000" cy="153888"/>
          </a:xfrm>
          <a:prstGeom prst="rect">
            <a:avLst/>
          </a:prstGeom>
          <a:noFill/>
        </p:spPr>
        <p:txBody>
          <a:bodyPr vert="horz" wrap="square" lIns="0" tIns="0" rIns="0" bIns="0" rtlCol="0" anchor="b" anchorCtr="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0" smtClean="0">
                <a:solidFill>
                  <a:srgbClr val="7F7F7F"/>
                </a:solidFill>
                <a:latin typeface="Henderson BCG Sans Light" panose="020B03020304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0">
              <a:solidFill>
                <a:srgbClr val="7F7F7F"/>
              </a:solidFill>
              <a:latin typeface="Henderson BCG Sans Light" panose="020B0302030402020204" pitchFamily="34" charset="0"/>
              <a:ea typeface="+mn-ea"/>
              <a:cs typeface="+mn-cs"/>
              <a:sym typeface="Trebuchet MS" panose="020B0603020202020204" pitchFamily="34" charset="0"/>
            </a:endParaRPr>
          </a:p>
        </p:txBody>
      </p:sp>
    </p:spTree>
    <p:extLst>
      <p:ext uri="{BB962C8B-B14F-4D97-AF65-F5344CB8AC3E}">
        <p14:creationId xmlns:p14="http://schemas.microsoft.com/office/powerpoint/2010/main" val="25097709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Beyond layout 45">
    <p:bg>
      <p:bgPr>
        <a:solidFill>
          <a:srgbClr val="EDEDED"/>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70F52D-56AA-429C-B3A4-A8B407B0EC87}"/>
              </a:ext>
            </a:extLst>
          </p:cNvPr>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29" name="Diapositive think-cell" r:id="rId5" imgW="286" imgH="286" progId="TCLayout.ActiveDocument.1">
                  <p:embed/>
                </p:oleObj>
              </mc:Choice>
              <mc:Fallback>
                <p:oleObj name="Diapositive think-cell" r:id="rId5" imgW="286" imgH="286" progId="TCLayout.ActiveDocument.1">
                  <p:embed/>
                  <p:pic>
                    <p:nvPicPr>
                      <p:cNvPr id="3" name="Object 2" hidden="1">
                        <a:extLst>
                          <a:ext uri="{FF2B5EF4-FFF2-40B4-BE49-F238E27FC236}">
                            <a16:creationId xmlns:a16="http://schemas.microsoft.com/office/drawing/2014/main" id="{6D70F52D-56AA-429C-B3A4-A8B407B0EC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p>
        </p:txBody>
      </p:sp>
      <p:sp>
        <p:nvSpPr>
          <p:cNvPr id="14" name="Pentagon 8"/>
          <p:cNvSpPr/>
          <p:nvPr userDrawn="1"/>
        </p:nvSpPr>
        <p:spPr bwMode="white">
          <a:xfrm>
            <a:off x="0" y="0"/>
            <a:ext cx="6363546"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pic>
        <p:nvPicPr>
          <p:cNvPr id="13" name="Picture 12">
            <a:extLst>
              <a:ext uri="{FF2B5EF4-FFF2-40B4-BE49-F238E27FC236}">
                <a16:creationId xmlns:a16="http://schemas.microsoft.com/office/drawing/2014/main" id="{12D8F748-169D-40DF-9A2C-954DD3D6998A}"/>
              </a:ext>
            </a:extLst>
          </p:cNvPr>
          <p:cNvPicPr>
            <a:picLocks noChangeAspect="1"/>
          </p:cNvPicPr>
          <p:nvPr userDrawn="1"/>
        </p:nvPicPr>
        <p:blipFill>
          <a:blip r:embed="rId8" cstate="screen">
            <a:extLst>
              <a:ext uri="{28A0092B-C50C-407E-A947-70E740481C1C}">
                <a14:useLocalDpi xmlns:a14="http://schemas.microsoft.com/office/drawing/2010/main"/>
              </a:ext>
            </a:extLst>
          </a:blip>
          <a:srcRect/>
          <a:stretch/>
        </p:blipFill>
        <p:spPr>
          <a:xfrm flipH="1">
            <a:off x="2617" y="0"/>
            <a:ext cx="10287000" cy="6858000"/>
          </a:xfrm>
          <a:prstGeom prst="rect">
            <a:avLst/>
          </a:prstGeom>
        </p:spPr>
      </p:pic>
      <p:sp>
        <p:nvSpPr>
          <p:cNvPr id="17" name="Rectangle 16">
            <a:extLst>
              <a:ext uri="{FF2B5EF4-FFF2-40B4-BE49-F238E27FC236}">
                <a16:creationId xmlns:a16="http://schemas.microsoft.com/office/drawing/2014/main" id="{3AE37BF0-65EC-4E95-99A3-B41CA3B5E7FC}"/>
              </a:ext>
            </a:extLst>
          </p:cNvPr>
          <p:cNvSpPr/>
          <p:nvPr userDrawn="1"/>
        </p:nvSpPr>
        <p:spPr>
          <a:xfrm flipH="1">
            <a:off x="0" y="1"/>
            <a:ext cx="6688183" cy="6849046"/>
          </a:xfrm>
          <a:prstGeom prst="rect">
            <a:avLst/>
          </a:prstGeom>
          <a:gradFill flip="none" rotWithShape="1">
            <a:gsLst>
              <a:gs pos="100000">
                <a:schemeClr val="accent1">
                  <a:alpha val="83685"/>
                </a:schemeClr>
              </a:gs>
              <a:gs pos="0">
                <a:schemeClr val="accent1">
                  <a:alpha val="0"/>
                </a:schemeClr>
              </a:gs>
            </a:gsLst>
            <a:lin ang="16200000" scaled="1"/>
            <a:tileRect/>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19" name="Freeform 3">
            <a:extLst>
              <a:ext uri="{FF2B5EF4-FFF2-40B4-BE49-F238E27FC236}">
                <a16:creationId xmlns:a16="http://schemas.microsoft.com/office/drawing/2014/main" id="{D4080255-2D95-4632-9292-F1CDAA45B34E}"/>
              </a:ext>
            </a:extLst>
          </p:cNvPr>
          <p:cNvSpPr/>
          <p:nvPr userDrawn="1"/>
        </p:nvSpPr>
        <p:spPr>
          <a:xfrm>
            <a:off x="5525715" y="0"/>
            <a:ext cx="6805748" cy="6858000"/>
          </a:xfrm>
          <a:custGeom>
            <a:avLst/>
            <a:gdLst>
              <a:gd name="connsiteX0" fmla="*/ 0 w 6805748"/>
              <a:gd name="connsiteY0" fmla="*/ 13063 h 6910252"/>
              <a:gd name="connsiteX1" fmla="*/ 836022 w 6805748"/>
              <a:gd name="connsiteY1" fmla="*/ 3448595 h 6910252"/>
              <a:gd name="connsiteX2" fmla="*/ 0 w 6805748"/>
              <a:gd name="connsiteY2" fmla="*/ 6910252 h 6910252"/>
              <a:gd name="connsiteX3" fmla="*/ 6662057 w 6805748"/>
              <a:gd name="connsiteY3" fmla="*/ 6910252 h 6910252"/>
              <a:gd name="connsiteX4" fmla="*/ 6662057 w 6805748"/>
              <a:gd name="connsiteY4" fmla="*/ 0 h 6910252"/>
              <a:gd name="connsiteX5" fmla="*/ 6805748 w 6805748"/>
              <a:gd name="connsiteY5" fmla="*/ 0 h 6910252"/>
              <a:gd name="connsiteX6" fmla="*/ 13062 w 6805748"/>
              <a:gd name="connsiteY6" fmla="*/ 0 h 6910252"/>
              <a:gd name="connsiteX7" fmla="*/ 13062 w 6805748"/>
              <a:gd name="connsiteY7" fmla="*/ 156755 h 6910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05748" h="6910252">
                <a:moveTo>
                  <a:pt x="0" y="13063"/>
                </a:moveTo>
                <a:lnTo>
                  <a:pt x="836022" y="3448595"/>
                </a:lnTo>
                <a:lnTo>
                  <a:pt x="0" y="6910252"/>
                </a:lnTo>
                <a:lnTo>
                  <a:pt x="6662057" y="6910252"/>
                </a:lnTo>
                <a:lnTo>
                  <a:pt x="6662057" y="0"/>
                </a:lnTo>
                <a:lnTo>
                  <a:pt x="6805748" y="0"/>
                </a:lnTo>
                <a:lnTo>
                  <a:pt x="13062" y="0"/>
                </a:lnTo>
                <a:lnTo>
                  <a:pt x="13062" y="156755"/>
                </a:lnTo>
              </a:path>
            </a:pathLst>
          </a:custGeom>
          <a:solidFill>
            <a:srgbClr val="EDEDED"/>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Picture 19">
            <a:extLst>
              <a:ext uri="{FF2B5EF4-FFF2-40B4-BE49-F238E27FC236}">
                <a16:creationId xmlns:a16="http://schemas.microsoft.com/office/drawing/2014/main" id="{33DB56B7-E380-475B-A5CA-77D43AB00578}"/>
              </a:ext>
            </a:extLst>
          </p:cNvPr>
          <p:cNvPicPr>
            <a:picLocks noChangeAspect="1" noChangeArrowheads="1"/>
          </p:cNvPicPr>
          <p:nvPr userDrawn="1"/>
        </p:nvPicPr>
        <p:blipFill>
          <a:blip r:embed="rId7">
            <a:extLst>
              <a:ext uri="{28A0092B-C50C-407E-A947-70E740481C1C}">
                <a14:useLocalDpi xmlns:a14="http://schemas.microsoft.com/office/drawing/2010/main"/>
              </a:ext>
            </a:extLst>
          </a:blip>
          <a:srcRect/>
          <a:stretch>
            <a:fillRect/>
          </a:stretch>
        </p:blipFill>
        <p:spPr bwMode="auto">
          <a:xfrm>
            <a:off x="5373931"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5" name="TextBox 14"/>
          <p:cNvSpPr txBox="1"/>
          <p:nvPr userDrawn="1"/>
        </p:nvSpPr>
        <p:spPr>
          <a:xfrm>
            <a:off x="11167872" y="6405037"/>
            <a:ext cx="381000" cy="153888"/>
          </a:xfrm>
          <a:prstGeom prst="rect">
            <a:avLst/>
          </a:prstGeom>
          <a:noFill/>
        </p:spPr>
        <p:txBody>
          <a:bodyPr vert="horz" wrap="square" lIns="0" tIns="0" rIns="0" bIns="0" rtlCol="0" anchor="b" anchorCtr="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0" smtClean="0">
                <a:solidFill>
                  <a:srgbClr val="7F7F7F"/>
                </a:solidFill>
                <a:latin typeface="Henderson BCG Sans Light" panose="020B03020304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0">
              <a:solidFill>
                <a:srgbClr val="7F7F7F"/>
              </a:solidFill>
              <a:latin typeface="Henderson BCG Sans Light" panose="020B0302030402020204" pitchFamily="34" charset="0"/>
              <a:ea typeface="+mn-ea"/>
              <a:cs typeface="+mn-cs"/>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b" anchorCtr="0">
            <a:noAutofit/>
          </a:bodyPr>
          <a:lstStyle>
            <a:lvl1pPr marL="0" indent="0" algn="l">
              <a:lnSpc>
                <a:spcPct val="93000"/>
              </a:lnSpc>
              <a:spcBef>
                <a:spcPct val="0"/>
              </a:spcBef>
              <a:spcAft>
                <a:spcPts val="0"/>
              </a:spcAft>
              <a:defRPr sz="3200" b="0" i="0" u="none" kern="0" spc="0">
                <a:solidFill>
                  <a:srgbClr val="FFFFFF"/>
                </a:solidFill>
                <a:latin typeface="+mj-lt"/>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8611308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Beyond layout 46">
    <p:bg>
      <p:bgPr>
        <a:solidFill>
          <a:srgbClr val="EDEDED"/>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70F52D-56AA-429C-B3A4-A8B407B0EC87}"/>
              </a:ext>
            </a:extLst>
          </p:cNvPr>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53" name="Diapositive think-cell" r:id="rId5" imgW="286" imgH="286" progId="TCLayout.ActiveDocument.1">
                  <p:embed/>
                </p:oleObj>
              </mc:Choice>
              <mc:Fallback>
                <p:oleObj name="Diapositive think-cell" r:id="rId5" imgW="286" imgH="286" progId="TCLayout.ActiveDocument.1">
                  <p:embed/>
                  <p:pic>
                    <p:nvPicPr>
                      <p:cNvPr id="3" name="Object 2" hidden="1">
                        <a:extLst>
                          <a:ext uri="{FF2B5EF4-FFF2-40B4-BE49-F238E27FC236}">
                            <a16:creationId xmlns:a16="http://schemas.microsoft.com/office/drawing/2014/main" id="{6D70F52D-56AA-429C-B3A4-A8B407B0EC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p>
        </p:txBody>
      </p:sp>
      <p:pic>
        <p:nvPicPr>
          <p:cNvPr id="25" name="Picture 24">
            <a:extLst>
              <a:ext uri="{FF2B5EF4-FFF2-40B4-BE49-F238E27FC236}">
                <a16:creationId xmlns:a16="http://schemas.microsoft.com/office/drawing/2014/main" id="{8718ACD9-2BC9-44A7-BE24-B31C500E21E1}"/>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flipH="1">
            <a:off x="1763389" y="0"/>
            <a:ext cx="10428611" cy="6858000"/>
          </a:xfrm>
          <a:prstGeom prst="rect">
            <a:avLst/>
          </a:prstGeom>
        </p:spPr>
      </p:pic>
      <p:sp>
        <p:nvSpPr>
          <p:cNvPr id="26" name="Rectangle 25">
            <a:extLst>
              <a:ext uri="{FF2B5EF4-FFF2-40B4-BE49-F238E27FC236}">
                <a16:creationId xmlns:a16="http://schemas.microsoft.com/office/drawing/2014/main" id="{B1EE9B9F-6920-4094-92AF-342B18AC90EB}"/>
              </a:ext>
            </a:extLst>
          </p:cNvPr>
          <p:cNvSpPr/>
          <p:nvPr userDrawn="1"/>
        </p:nvSpPr>
        <p:spPr>
          <a:xfrm>
            <a:off x="5107577" y="0"/>
            <a:ext cx="7084423" cy="6857998"/>
          </a:xfrm>
          <a:prstGeom prst="rect">
            <a:avLst/>
          </a:prstGeom>
          <a:gradFill>
            <a:gsLst>
              <a:gs pos="100000">
                <a:schemeClr val="accent1">
                  <a:alpha val="83685"/>
                </a:schemeClr>
              </a:gs>
              <a:gs pos="0">
                <a:schemeClr val="accent1">
                  <a:alpha val="0"/>
                </a:schemeClr>
              </a:gs>
            </a:gsLst>
            <a:lin ang="0" scaled="1"/>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27" name="Pentagon 8">
            <a:extLst>
              <a:ext uri="{FF2B5EF4-FFF2-40B4-BE49-F238E27FC236}">
                <a16:creationId xmlns:a16="http://schemas.microsoft.com/office/drawing/2014/main" id="{6E3099D0-E521-4531-88A7-523686DB7AD7}"/>
              </a:ext>
            </a:extLst>
          </p:cNvPr>
          <p:cNvSpPr/>
          <p:nvPr userDrawn="1"/>
        </p:nvSpPr>
        <p:spPr bwMode="white">
          <a:xfrm>
            <a:off x="0" y="0"/>
            <a:ext cx="6363546"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kern="0">
              <a:solidFill>
                <a:prstClr val="white"/>
              </a:solidFill>
              <a:sym typeface="+mn-lt"/>
            </a:endParaRPr>
          </a:p>
        </p:txBody>
      </p:sp>
      <p:pic>
        <p:nvPicPr>
          <p:cNvPr id="28" name="Picture 27">
            <a:extLst>
              <a:ext uri="{FF2B5EF4-FFF2-40B4-BE49-F238E27FC236}">
                <a16:creationId xmlns:a16="http://schemas.microsoft.com/office/drawing/2014/main" id="{B4406783-5B82-4C2D-9A20-6F0AFBCA3690}"/>
              </a:ext>
            </a:extLst>
          </p:cNvPr>
          <p:cNvPicPr>
            <a:picLocks noChangeAspect="1" noChangeArrowheads="1"/>
          </p:cNvPicPr>
          <p:nvPr userDrawn="1"/>
        </p:nvPicPr>
        <p:blipFill>
          <a:blip r:embed="rId8">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b" anchorCtr="0">
            <a:noAutofit/>
          </a:bodyPr>
          <a:lstStyle>
            <a:lvl1pPr marL="0" indent="0" algn="l">
              <a:lnSpc>
                <a:spcPct val="93000"/>
              </a:lnSpc>
              <a:spcBef>
                <a:spcPct val="0"/>
              </a:spcBef>
              <a:spcAft>
                <a:spcPts val="0"/>
              </a:spcAft>
              <a:defRPr sz="3200" b="0" i="0" u="none" kern="0" spc="0">
                <a:solidFill>
                  <a:srgbClr val="21BF61"/>
                </a:solidFill>
                <a:latin typeface="+mj-lt"/>
                <a:sym typeface="Trebuchet MS" panose="020B0603020202020204" pitchFamily="34" charset="0"/>
              </a:defRPr>
            </a:lvl1pPr>
          </a:lstStyle>
          <a:p>
            <a:pPr lvl="0"/>
            <a:r>
              <a:rPr lang="en-US"/>
              <a:t>Click to add title</a:t>
            </a:r>
          </a:p>
        </p:txBody>
      </p:sp>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rgbClr val="FFFFFF"/>
                </a:solidFill>
                <a:latin typeface="+mn-lt"/>
                <a:sym typeface="Trebuchet MS" panose="020B0603020202020204" pitchFamily="34" charset="0"/>
              </a:defRPr>
            </a:lvl1pPr>
          </a:lstStyle>
          <a:p>
            <a:endParaRPr lang="en-US"/>
          </a:p>
        </p:txBody>
      </p:sp>
      <p:sp>
        <p:nvSpPr>
          <p:cNvPr id="15" name="TextBox 14"/>
          <p:cNvSpPr txBox="1"/>
          <p:nvPr userDrawn="1"/>
        </p:nvSpPr>
        <p:spPr>
          <a:xfrm>
            <a:off x="11167872" y="6405037"/>
            <a:ext cx="381000" cy="153888"/>
          </a:xfrm>
          <a:prstGeom prst="rect">
            <a:avLst/>
          </a:prstGeom>
          <a:noFill/>
        </p:spPr>
        <p:txBody>
          <a:bodyPr vert="horz" wrap="square" lIns="0" tIns="0" rIns="0" bIns="0" rtlCol="0" anchor="b" anchorCtr="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0" smtClean="0">
                <a:solidFill>
                  <a:srgbClr val="FFFFFF"/>
                </a:solidFill>
                <a:latin typeface="Henderson BCG Sans Light" panose="020B03020304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0">
              <a:solidFill>
                <a:srgbClr val="FFFFFF"/>
              </a:solidFill>
              <a:latin typeface="Henderson BCG Sans Light" panose="020B0302030402020204" pitchFamily="34" charset="0"/>
              <a:ea typeface="+mn-ea"/>
              <a:cs typeface="+mn-cs"/>
              <a:sym typeface="Trebuchet MS" panose="020B0603020202020204" pitchFamily="34" charset="0"/>
            </a:endParaRPr>
          </a:p>
        </p:txBody>
      </p:sp>
    </p:spTree>
    <p:extLst>
      <p:ext uri="{BB962C8B-B14F-4D97-AF65-F5344CB8AC3E}">
        <p14:creationId xmlns:p14="http://schemas.microsoft.com/office/powerpoint/2010/main" val="7170069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Beyond layout 47">
    <p:bg>
      <p:bgPr>
        <a:solidFill>
          <a:srgbClr val="EDEDED"/>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9FC77C1-CF09-48E9-9C80-D0AC60CA4AE9}"/>
              </a:ext>
            </a:extLst>
          </p:cNvPr>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77" name="Diapositive think-cell" r:id="rId5" imgW="286" imgH="286" progId="TCLayout.ActiveDocument.1">
                  <p:embed/>
                </p:oleObj>
              </mc:Choice>
              <mc:Fallback>
                <p:oleObj name="Diapositive think-cell" r:id="rId5" imgW="286" imgH="286" progId="TCLayout.ActiveDocument.1">
                  <p:embed/>
                  <p:pic>
                    <p:nvPicPr>
                      <p:cNvPr id="3" name="Object 2" hidden="1">
                        <a:extLst>
                          <a:ext uri="{FF2B5EF4-FFF2-40B4-BE49-F238E27FC236}">
                            <a16:creationId xmlns:a16="http://schemas.microsoft.com/office/drawing/2014/main" id="{A9FC77C1-CF09-48E9-9C80-D0AC60CA4AE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p>
        </p:txBody>
      </p:sp>
      <p:pic>
        <p:nvPicPr>
          <p:cNvPr id="29" name="Picture 28">
            <a:extLst>
              <a:ext uri="{FF2B5EF4-FFF2-40B4-BE49-F238E27FC236}">
                <a16:creationId xmlns:a16="http://schemas.microsoft.com/office/drawing/2014/main" id="{21EAC800-599F-40E5-98A3-BE0A5858560A}"/>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a:xfrm>
            <a:off x="104503" y="1"/>
            <a:ext cx="12192000" cy="6857999"/>
          </a:xfrm>
          <a:prstGeom prst="rect">
            <a:avLst/>
          </a:prstGeom>
        </p:spPr>
      </p:pic>
      <p:sp>
        <p:nvSpPr>
          <p:cNvPr id="30" name="Rectangle 29">
            <a:extLst>
              <a:ext uri="{FF2B5EF4-FFF2-40B4-BE49-F238E27FC236}">
                <a16:creationId xmlns:a16="http://schemas.microsoft.com/office/drawing/2014/main" id="{2C3D1891-B7B7-4790-855A-4CCCD892E313}"/>
              </a:ext>
            </a:extLst>
          </p:cNvPr>
          <p:cNvSpPr/>
          <p:nvPr userDrawn="1"/>
        </p:nvSpPr>
        <p:spPr>
          <a:xfrm>
            <a:off x="5212080" y="-8951"/>
            <a:ext cx="7084423" cy="6857998"/>
          </a:xfrm>
          <a:prstGeom prst="rect">
            <a:avLst/>
          </a:prstGeom>
          <a:gradFill>
            <a:gsLst>
              <a:gs pos="100000">
                <a:srgbClr val="222222">
                  <a:alpha val="83685"/>
                </a:srgbClr>
              </a:gs>
              <a:gs pos="0">
                <a:srgbClr val="222222">
                  <a:alpha val="0"/>
                </a:srgbClr>
              </a:gs>
            </a:gsLst>
            <a:lin ang="0" scaled="1"/>
          </a:gra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Henderson BCG Sans Light"/>
              <a:ea typeface="+mn-ea"/>
              <a:cs typeface="+mn-cs"/>
            </a:endParaRPr>
          </a:p>
        </p:txBody>
      </p:sp>
      <p:sp>
        <p:nvSpPr>
          <p:cNvPr id="31" name="Freeform 14">
            <a:extLst>
              <a:ext uri="{FF2B5EF4-FFF2-40B4-BE49-F238E27FC236}">
                <a16:creationId xmlns:a16="http://schemas.microsoft.com/office/drawing/2014/main" id="{74DC30A5-4A10-47DD-A5A1-77E037C0DD18}"/>
              </a:ext>
            </a:extLst>
          </p:cNvPr>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2F2F2"/>
          </a:solidFill>
          <a:ln w="10795" cap="flat" cmpd="sng" algn="ctr">
            <a:noFill/>
            <a:prstDash val="solid"/>
          </a:ln>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Henderson BCG Sans Light"/>
              <a:ea typeface="+mn-ea"/>
              <a:cs typeface="+mn-cs"/>
              <a:sym typeface="+mn-lt"/>
            </a:endParaRPr>
          </a:p>
        </p:txBody>
      </p:sp>
      <p:pic>
        <p:nvPicPr>
          <p:cNvPr id="32" name="Picture 31">
            <a:extLst>
              <a:ext uri="{FF2B5EF4-FFF2-40B4-BE49-F238E27FC236}">
                <a16:creationId xmlns:a16="http://schemas.microsoft.com/office/drawing/2014/main" id="{64035084-2E19-4F46-9356-1F63801E29A2}"/>
              </a:ext>
            </a:extLst>
          </p:cNvPr>
          <p:cNvPicPr>
            <a:picLocks noChangeAspect="1" noChangeArrowheads="1"/>
          </p:cNvPicPr>
          <p:nvPr userDrawn="1"/>
        </p:nvPicPr>
        <p:blipFill>
          <a:blip r:embed="rId8">
            <a:extLst>
              <a:ext uri="{28A0092B-C50C-407E-A947-70E740481C1C}">
                <a14:useLocalDpi xmlns:a14="http://schemas.microsoft.com/office/drawing/2010/main"/>
              </a:ext>
            </a:extLst>
          </a:blip>
          <a:srcRect/>
          <a:stretch>
            <a:fillRect/>
          </a:stretch>
        </p:blipFill>
        <p:spPr bwMode="auto">
          <a:xfrm>
            <a:off x="3130918" y="358908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grpSp>
        <p:nvGrpSpPr>
          <p:cNvPr id="34" name="Group 33">
            <a:extLst>
              <a:ext uri="{FF2B5EF4-FFF2-40B4-BE49-F238E27FC236}">
                <a16:creationId xmlns:a16="http://schemas.microsoft.com/office/drawing/2014/main" id="{F2F851A1-8148-4675-92CE-D8CB3239603B}"/>
              </a:ext>
            </a:extLst>
          </p:cNvPr>
          <p:cNvGrpSpPr/>
          <p:nvPr userDrawn="1"/>
        </p:nvGrpSpPr>
        <p:grpSpPr>
          <a:xfrm>
            <a:off x="5619936" y="1032080"/>
            <a:ext cx="4712589" cy="4793839"/>
            <a:chOff x="1803027" y="0"/>
            <a:chExt cx="4712589" cy="4793839"/>
          </a:xfrm>
        </p:grpSpPr>
        <p:sp>
          <p:nvSpPr>
            <p:cNvPr id="35" name="Rectangle 34">
              <a:extLst>
                <a:ext uri="{FF2B5EF4-FFF2-40B4-BE49-F238E27FC236}">
                  <a16:creationId xmlns:a16="http://schemas.microsoft.com/office/drawing/2014/main" id="{252C85E8-D8BC-4ED4-828E-BE4271B62B8F}"/>
                </a:ext>
              </a:extLst>
            </p:cNvPr>
            <p:cNvSpPr/>
            <p:nvPr/>
          </p:nvSpPr>
          <p:spPr>
            <a:xfrm>
              <a:off x="1803027" y="0"/>
              <a:ext cx="4712589" cy="4793839"/>
            </a:xfrm>
            <a:prstGeom prst="rect">
              <a:avLst/>
            </a:prstGeom>
            <a:solidFill>
              <a:sysClr val="window" lastClr="FFFFFF"/>
            </a:soli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Henderson BCG Sans Light"/>
                <a:ea typeface="+mn-ea"/>
                <a:cs typeface="+mn-cs"/>
              </a:endParaRPr>
            </a:p>
          </p:txBody>
        </p:sp>
        <p:sp>
          <p:nvSpPr>
            <p:cNvPr id="36" name="Rectangle 35">
              <a:extLst>
                <a:ext uri="{FF2B5EF4-FFF2-40B4-BE49-F238E27FC236}">
                  <a16:creationId xmlns:a16="http://schemas.microsoft.com/office/drawing/2014/main" id="{2B456A7C-827C-46C6-8834-486E86FD1F23}"/>
                </a:ext>
              </a:extLst>
            </p:cNvPr>
            <p:cNvSpPr/>
            <p:nvPr/>
          </p:nvSpPr>
          <p:spPr>
            <a:xfrm>
              <a:off x="2222643" y="426851"/>
              <a:ext cx="3873357" cy="3940138"/>
            </a:xfrm>
            <a:prstGeom prst="rect">
              <a:avLst/>
            </a:prstGeom>
            <a:solidFill>
              <a:srgbClr val="EDEDED"/>
            </a:soli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Henderson BCG Sans Light"/>
                <a:ea typeface="+mn-ea"/>
                <a:cs typeface="+mn-cs"/>
              </a:endParaRPr>
            </a:p>
          </p:txBody>
        </p:sp>
      </p:grpSp>
      <p:sp>
        <p:nvSpPr>
          <p:cNvPr id="38" name="Title 2">
            <a:extLst>
              <a:ext uri="{FF2B5EF4-FFF2-40B4-BE49-F238E27FC236}">
                <a16:creationId xmlns:a16="http://schemas.microsoft.com/office/drawing/2014/main" id="{29F477AE-6F46-4A74-AA0A-310252883C62}"/>
              </a:ext>
            </a:extLst>
          </p:cNvPr>
          <p:cNvSpPr>
            <a:spLocks noGrp="1"/>
          </p:cNvSpPr>
          <p:nvPr>
            <p:ph type="title" hasCustomPrompt="1"/>
          </p:nvPr>
        </p:nvSpPr>
        <p:spPr>
          <a:xfrm>
            <a:off x="630000" y="2764203"/>
            <a:ext cx="2478638" cy="1314311"/>
          </a:xfrm>
        </p:spPr>
        <p:txBody>
          <a:bodyPr vert="horz" anchor="ctr" anchorCtr="0">
            <a:noAutofit/>
          </a:bodyPr>
          <a:lstStyle>
            <a:lvl1pPr>
              <a:defRPr sz="3200" baseline="0">
                <a:solidFill>
                  <a:srgbClr val="21BF61"/>
                </a:solidFill>
                <a:latin typeface="+mj-lt"/>
              </a:defRPr>
            </a:lvl1pPr>
          </a:lstStyle>
          <a:p>
            <a:r>
              <a:rPr lang="en-US"/>
              <a:t>Click to add title</a:t>
            </a:r>
          </a:p>
        </p:txBody>
      </p:sp>
      <p:sp>
        <p:nvSpPr>
          <p:cNvPr id="39" name="Picture Placeholder 18">
            <a:extLst>
              <a:ext uri="{FF2B5EF4-FFF2-40B4-BE49-F238E27FC236}">
                <a16:creationId xmlns:a16="http://schemas.microsoft.com/office/drawing/2014/main" id="{CE513D31-1C27-4851-84FA-FD836B898167}"/>
              </a:ext>
            </a:extLst>
          </p:cNvPr>
          <p:cNvSpPr>
            <a:spLocks noGrp="1"/>
          </p:cNvSpPr>
          <p:nvPr>
            <p:ph type="pic" sz="quarter" idx="14" hasCustomPrompt="1"/>
          </p:nvPr>
        </p:nvSpPr>
        <p:spPr>
          <a:xfrm>
            <a:off x="6048348" y="1458930"/>
            <a:ext cx="3855766" cy="3940138"/>
          </a:xfrm>
          <a:prstGeom prst="rect">
            <a:avLst/>
          </a:prstGeom>
          <a:noFill/>
        </p:spPr>
        <p:txBody>
          <a:bodyPr lIns="914400" tIns="914400" rIns="914400" bIns="914400"/>
          <a:lstStyle>
            <a:lvl1pPr algn="ctr">
              <a:defRPr sz="1800" kern="0" baseline="0">
                <a:latin typeface="+mn-lt"/>
                <a:ea typeface="+mn-ea"/>
                <a:cs typeface="+mn-cs"/>
                <a:sym typeface="+mn-lt"/>
              </a:defRPr>
            </a:lvl1pPr>
          </a:lstStyle>
          <a:p>
            <a:r>
              <a:rPr lang="en-US"/>
              <a:t>Click icon below to insert an image or remove this placeholder to use the whitespace in another way</a:t>
            </a:r>
          </a:p>
        </p:txBody>
      </p:sp>
      <p:sp>
        <p:nvSpPr>
          <p:cNvPr id="40" name="TextBox 39">
            <a:extLst>
              <a:ext uri="{FF2B5EF4-FFF2-40B4-BE49-F238E27FC236}">
                <a16:creationId xmlns:a16="http://schemas.microsoft.com/office/drawing/2014/main" id="{63FED85A-6F14-406E-B65A-2E037DC744E9}"/>
              </a:ext>
            </a:extLst>
          </p:cNvPr>
          <p:cNvSpPr txBox="1"/>
          <p:nvPr userDrawn="1"/>
        </p:nvSpPr>
        <p:spPr>
          <a:xfrm>
            <a:off x="11167872" y="6405037"/>
            <a:ext cx="381000" cy="153888"/>
          </a:xfrm>
          <a:prstGeom prst="rect">
            <a:avLst/>
          </a:prstGeom>
          <a:noFill/>
        </p:spPr>
        <p:txBody>
          <a:bodyPr vert="horz" wrap="square" lIns="0" tIns="0" rIns="0" bIns="0" rtlCol="0" anchor="b" anchorCtr="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0" smtClean="0">
                <a:solidFill>
                  <a:srgbClr val="FFFFFF"/>
                </a:solidFill>
                <a:latin typeface="Henderson BCG Sans Light" panose="020B03020304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0">
              <a:solidFill>
                <a:srgbClr val="FFFFFF"/>
              </a:solidFill>
              <a:latin typeface="Henderson BCG Sans Light" panose="020B0302030402020204" pitchFamily="34" charset="0"/>
              <a:ea typeface="+mn-ea"/>
              <a:cs typeface="+mn-cs"/>
              <a:sym typeface="Trebuchet MS" panose="020B0603020202020204" pitchFamily="34" charset="0"/>
            </a:endParaRPr>
          </a:p>
        </p:txBody>
      </p:sp>
    </p:spTree>
    <p:extLst>
      <p:ext uri="{BB962C8B-B14F-4D97-AF65-F5344CB8AC3E}">
        <p14:creationId xmlns:p14="http://schemas.microsoft.com/office/powerpoint/2010/main" val="34326558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Beyond layout 48">
    <p:bg bwMode="blackWhite">
      <p:bgPr>
        <a:solidFill>
          <a:srgbClr val="EDEDED"/>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27B99AE-C6E2-41E4-AADE-29F89C93F7E2}"/>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01" name="Diapositive think-cell" r:id="rId4" imgW="286" imgH="286" progId="TCLayout.ActiveDocument.1">
                  <p:embed/>
                </p:oleObj>
              </mc:Choice>
              <mc:Fallback>
                <p:oleObj name="Diapositive think-cell" r:id="rId4" imgW="286" imgH="286" progId="TCLayout.ActiveDocument.1">
                  <p:embed/>
                  <p:pic>
                    <p:nvPicPr>
                      <p:cNvPr id="3" name="Object 2" hidden="1">
                        <a:extLst>
                          <a:ext uri="{FF2B5EF4-FFF2-40B4-BE49-F238E27FC236}">
                            <a16:creationId xmlns:a16="http://schemas.microsoft.com/office/drawing/2014/main" id="{A27B99AE-C6E2-41E4-AADE-29F89C93F7E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11167872" y="6405037"/>
            <a:ext cx="381000" cy="153888"/>
          </a:xfrm>
          <a:prstGeom prst="rect">
            <a:avLst/>
          </a:prstGeom>
          <a:noFill/>
        </p:spPr>
        <p:txBody>
          <a:bodyPr vert="horz" wrap="square" lIns="0" tIns="0" rIns="0" bIns="0" rtlCol="0" anchor="b" anchorCtr="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0" smtClean="0">
                <a:solidFill>
                  <a:srgbClr val="7F7F7F"/>
                </a:solidFill>
                <a:latin typeface="Henderson BCG Sans Light" panose="020B03020304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0">
              <a:solidFill>
                <a:srgbClr val="7F7F7F"/>
              </a:solidFill>
              <a:latin typeface="Henderson BCG Sans Light" panose="020B0302030402020204" pitchFamily="34" charset="0"/>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pic>
        <p:nvPicPr>
          <p:cNvPr id="7" name="Picture 6">
            <a:extLst>
              <a:ext uri="{FF2B5EF4-FFF2-40B4-BE49-F238E27FC236}">
                <a16:creationId xmlns:a16="http://schemas.microsoft.com/office/drawing/2014/main" id="{8FE8EDC5-A15E-42DF-B0D0-9DF2C2AF70B0}"/>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8" name="Rectangle 7">
            <a:extLst>
              <a:ext uri="{FF2B5EF4-FFF2-40B4-BE49-F238E27FC236}">
                <a16:creationId xmlns:a16="http://schemas.microsoft.com/office/drawing/2014/main" id="{35966245-1B24-4993-88C3-6AA9E2AF32AE}"/>
              </a:ext>
            </a:extLst>
          </p:cNvPr>
          <p:cNvSpPr/>
          <p:nvPr userDrawn="1"/>
        </p:nvSpPr>
        <p:spPr>
          <a:xfrm>
            <a:off x="0" y="1199850"/>
            <a:ext cx="12192000" cy="4458300"/>
          </a:xfrm>
          <a:prstGeom prst="rect">
            <a:avLst/>
          </a:prstGeom>
          <a:solidFill>
            <a:srgbClr val="487555">
              <a:alpha val="85000"/>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pic>
        <p:nvPicPr>
          <p:cNvPr id="10" name="Picture 9">
            <a:extLst>
              <a:ext uri="{FF2B5EF4-FFF2-40B4-BE49-F238E27FC236}">
                <a16:creationId xmlns:a16="http://schemas.microsoft.com/office/drawing/2014/main" id="{BF5975C2-D77A-4747-8677-2E58529BFDB0}"/>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bwMode="ltGray">
          <a:xfrm rot="5400000" flipH="1">
            <a:off x="3220524" y="-2437628"/>
            <a:ext cx="416951" cy="6858000"/>
          </a:xfrm>
          <a:prstGeom prst="rect">
            <a:avLst/>
          </a:prstGeom>
        </p:spPr>
      </p:pic>
      <p:sp>
        <p:nvSpPr>
          <p:cNvPr id="147" name="Title 1"/>
          <p:cNvSpPr>
            <a:spLocks noGrp="1"/>
          </p:cNvSpPr>
          <p:nvPr>
            <p:ph type="title" hasCustomPrompt="1"/>
          </p:nvPr>
        </p:nvSpPr>
        <p:spPr bwMode="blackWhite">
          <a:xfrm>
            <a:off x="630000" y="3255300"/>
            <a:ext cx="10936799" cy="2041200"/>
          </a:xfrm>
          <a:prstGeom prst="rect">
            <a:avLst/>
          </a:prstGeom>
        </p:spPr>
        <p:txBody>
          <a:bodyPr vert="horz" anchor="t">
            <a:noAutofit/>
          </a:bodyPr>
          <a:lstStyle>
            <a:lvl1pPr>
              <a:defRPr sz="5400">
                <a:solidFill>
                  <a:srgbClr val="FFFFFF"/>
                </a:solidFill>
                <a:latin typeface="+mj-lt"/>
                <a:sym typeface="Trebuchet MS" panose="020B0603020202020204" pitchFamily="34" charset="0"/>
              </a:defRPr>
            </a:lvl1pPr>
          </a:lstStyle>
          <a:p>
            <a:r>
              <a:rPr lang="en-US"/>
              <a:t>Click to add big statement text</a:t>
            </a:r>
          </a:p>
        </p:txBody>
      </p:sp>
      <p:pic>
        <p:nvPicPr>
          <p:cNvPr id="9" name="Picture 8">
            <a:extLst>
              <a:ext uri="{FF2B5EF4-FFF2-40B4-BE49-F238E27FC236}">
                <a16:creationId xmlns:a16="http://schemas.microsoft.com/office/drawing/2014/main" id="{637FAF98-D6CB-4B5F-B25A-C747C2E6BD6D}"/>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bwMode="ltGray">
          <a:xfrm rot="16200000" flipH="1">
            <a:off x="8458181" y="2437627"/>
            <a:ext cx="416951" cy="6858000"/>
          </a:xfrm>
          <a:prstGeom prst="rect">
            <a:avLst/>
          </a:prstGeom>
        </p:spPr>
      </p:pic>
      <p:sp>
        <p:nvSpPr>
          <p:cNvPr id="14" name="TextBox 13">
            <a:extLst>
              <a:ext uri="{FF2B5EF4-FFF2-40B4-BE49-F238E27FC236}">
                <a16:creationId xmlns:a16="http://schemas.microsoft.com/office/drawing/2014/main" id="{E5E7A86E-D9CE-424C-83A7-5E9FAB386A6C}"/>
              </a:ext>
            </a:extLst>
          </p:cNvPr>
          <p:cNvSpPr txBox="1"/>
          <p:nvPr userDrawn="1"/>
        </p:nvSpPr>
        <p:spPr>
          <a:xfrm>
            <a:off x="11320272" y="6557437"/>
            <a:ext cx="381000" cy="153888"/>
          </a:xfrm>
          <a:prstGeom prst="rect">
            <a:avLst/>
          </a:prstGeom>
          <a:noFill/>
        </p:spPr>
        <p:txBody>
          <a:bodyPr vert="horz" wrap="square" lIns="0" tIns="0" rIns="0" bIns="0" rtlCol="0" anchor="b" anchorCtr="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0" smtClean="0">
                <a:solidFill>
                  <a:srgbClr val="FFFFFF"/>
                </a:solidFill>
                <a:latin typeface="Henderson BCG Sans Light" panose="020B03020304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0">
              <a:solidFill>
                <a:srgbClr val="FFFFFF"/>
              </a:solidFill>
              <a:latin typeface="Henderson BCG Sans Light" panose="020B0302030402020204" pitchFamily="34" charset="0"/>
              <a:ea typeface="+mn-ea"/>
              <a:cs typeface="+mn-cs"/>
              <a:sym typeface="Trebuchet MS" panose="020B0603020202020204" pitchFamily="34" charset="0"/>
            </a:endParaRPr>
          </a:p>
        </p:txBody>
      </p:sp>
    </p:spTree>
    <p:extLst>
      <p:ext uri="{BB962C8B-B14F-4D97-AF65-F5344CB8AC3E}">
        <p14:creationId xmlns:p14="http://schemas.microsoft.com/office/powerpoint/2010/main" val="195918607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Beyond layout 4">
    <p:bg>
      <p:bgPr>
        <a:solidFill>
          <a:srgbClr val="EDEDED"/>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A278B0-6C3F-4D95-9D3F-CC16C93FC336}"/>
              </a:ext>
            </a:extLst>
          </p:cNvPr>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5" name="Diapositive think-cell" r:id="rId5" imgW="286" imgH="286" progId="TCLayout.ActiveDocument.1">
                  <p:embed/>
                </p:oleObj>
              </mc:Choice>
              <mc:Fallback>
                <p:oleObj name="Diapositive think-cell" r:id="rId5" imgW="286" imgH="286" progId="TCLayout.ActiveDocument.1">
                  <p:embed/>
                  <p:pic>
                    <p:nvPicPr>
                      <p:cNvPr id="3" name="Object 2" hidden="1">
                        <a:extLst>
                          <a:ext uri="{FF2B5EF4-FFF2-40B4-BE49-F238E27FC236}">
                            <a16:creationId xmlns:a16="http://schemas.microsoft.com/office/drawing/2014/main" id="{38A278B0-6C3F-4D95-9D3F-CC16C93FC33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p>
        </p:txBody>
      </p:sp>
      <p:sp>
        <p:nvSpPr>
          <p:cNvPr id="20" name="TextBox 19"/>
          <p:cNvSpPr txBox="1"/>
          <p:nvPr userDrawn="1"/>
        </p:nvSpPr>
        <p:spPr>
          <a:xfrm>
            <a:off x="11167872" y="6405037"/>
            <a:ext cx="381000" cy="153888"/>
          </a:xfrm>
          <a:prstGeom prst="rect">
            <a:avLst/>
          </a:prstGeom>
          <a:noFill/>
        </p:spPr>
        <p:txBody>
          <a:bodyPr vert="horz" wrap="square" lIns="0" tIns="0" rIns="0" bIns="0" rtlCol="0" anchor="b" anchorCtr="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0" smtClean="0">
                <a:solidFill>
                  <a:srgbClr val="7F7F7F"/>
                </a:solidFill>
                <a:latin typeface="Henderson BCG Sans Light" panose="020B03020304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0">
              <a:solidFill>
                <a:srgbClr val="7F7F7F"/>
              </a:solidFill>
              <a:latin typeface="Henderson BCG Sans Light" panose="020B0302030402020204" pitchFamily="34" charset="0"/>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pic>
        <p:nvPicPr>
          <p:cNvPr id="11" name="Picture 10">
            <a:extLst>
              <a:ext uri="{FF2B5EF4-FFF2-40B4-BE49-F238E27FC236}">
                <a16:creationId xmlns:a16="http://schemas.microsoft.com/office/drawing/2014/main" id="{F12F609A-52C4-427F-A9CE-A8E08B31BEAE}"/>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0" y="-1062"/>
            <a:ext cx="5051594" cy="6859061"/>
          </a:xfrm>
          <a:prstGeom prst="rect">
            <a:avLst/>
          </a:prstGeom>
          <a:effectLst/>
        </p:spPr>
      </p:pic>
      <p:sp>
        <p:nvSpPr>
          <p:cNvPr id="12" name="Rectangle 11">
            <a:extLst>
              <a:ext uri="{FF2B5EF4-FFF2-40B4-BE49-F238E27FC236}">
                <a16:creationId xmlns:a16="http://schemas.microsoft.com/office/drawing/2014/main" id="{3110962B-EBC8-4546-BB11-930B8377E5D9}"/>
              </a:ext>
            </a:extLst>
          </p:cNvPr>
          <p:cNvSpPr/>
          <p:nvPr userDrawn="1"/>
        </p:nvSpPr>
        <p:spPr>
          <a:xfrm>
            <a:off x="0" y="-1"/>
            <a:ext cx="5051594" cy="6857999"/>
          </a:xfrm>
          <a:prstGeom prst="rect">
            <a:avLst/>
          </a:prstGeom>
          <a:gradFill flip="none" rotWithShape="1">
            <a:gsLst>
              <a:gs pos="100000">
                <a:schemeClr val="accent1">
                  <a:alpha val="90000"/>
                </a:schemeClr>
              </a:gs>
              <a:gs pos="0">
                <a:schemeClr val="accent1">
                  <a:alpha val="0"/>
                </a:schemeClr>
              </a:gs>
            </a:gsLst>
            <a:lin ang="13500000" scaled="1"/>
            <a:tileRect/>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4" name="Text Placeholder 3">
            <a:extLst>
              <a:ext uri="{FF2B5EF4-FFF2-40B4-BE49-F238E27FC236}">
                <a16:creationId xmlns:a16="http://schemas.microsoft.com/office/drawing/2014/main" id="{53881ED4-02E4-4578-98E2-5C83C6642D90}"/>
              </a:ext>
            </a:extLst>
          </p:cNvPr>
          <p:cNvSpPr>
            <a:spLocks noGrp="1"/>
          </p:cNvSpPr>
          <p:nvPr>
            <p:ph type="body" sz="quarter" idx="32"/>
          </p:nvPr>
        </p:nvSpPr>
        <p:spPr>
          <a:xfrm>
            <a:off x="630000" y="1522571"/>
            <a:ext cx="3127880" cy="1495795"/>
          </a:xfrm>
          <a:prstGeom prst="rect">
            <a:avLst/>
          </a:prstGeom>
        </p:spPr>
        <p:txBody>
          <a:bodyPr vert="horz" wrap="square" lIns="0" tIns="0" rIns="0" bIns="0" rtlCol="0" anchor="b" anchorCtr="0">
            <a:noAutofit/>
          </a:bodyPr>
          <a:lstStyle>
            <a:lvl1pPr>
              <a:defRPr lang="en-US" sz="2800" b="0" kern="0" dirty="0">
                <a:solidFill>
                  <a:schemeClr val="bg1"/>
                </a:solidFill>
                <a:latin typeface="Henderson BCG Sans Light" panose="020B0302030402020204" pitchFamily="34" charset="77"/>
                <a:ea typeface="+mj-ea"/>
                <a:cs typeface="Henderson BCG Sans Light" panose="020B0302030402020204" pitchFamily="34" charset="77"/>
              </a:defRPr>
            </a:lvl1pPr>
          </a:lstStyle>
          <a:p>
            <a:pPr lvl="0">
              <a:lnSpc>
                <a:spcPct val="93000"/>
              </a:lnSpc>
              <a:spcBef>
                <a:spcPct val="0"/>
              </a:spcBef>
              <a:buNone/>
            </a:pPr>
            <a:endParaRPr lang="en-US"/>
          </a:p>
        </p:txBody>
      </p:sp>
      <p:pic>
        <p:nvPicPr>
          <p:cNvPr id="14" name="Picture 13">
            <a:extLst>
              <a:ext uri="{FF2B5EF4-FFF2-40B4-BE49-F238E27FC236}">
                <a16:creationId xmlns:a16="http://schemas.microsoft.com/office/drawing/2014/main" id="{54406C1F-998F-403D-9D61-1C2D0AAA2C78}"/>
              </a:ext>
            </a:extLst>
          </p:cNvPr>
          <p:cNvPicPr>
            <a:picLocks noChangeAspect="1"/>
          </p:cNvPicPr>
          <p:nvPr userDrawn="1"/>
        </p:nvPicPr>
        <p:blipFill rotWithShape="1">
          <a:blip r:embed="rId8" cstate="screen">
            <a:extLst>
              <a:ext uri="{28A0092B-C50C-407E-A947-70E740481C1C}">
                <a14:useLocalDpi xmlns:a14="http://schemas.microsoft.com/office/drawing/2010/main"/>
              </a:ext>
            </a:extLst>
          </a:blip>
          <a:srcRect/>
          <a:stretch/>
        </p:blipFill>
        <p:spPr bwMode="ltGray">
          <a:xfrm flipV="1">
            <a:off x="5051594" y="0"/>
            <a:ext cx="416951" cy="6858000"/>
          </a:xfrm>
          <a:prstGeom prst="rect">
            <a:avLst/>
          </a:prstGeom>
        </p:spPr>
      </p:pic>
    </p:spTree>
    <p:extLst>
      <p:ext uri="{BB962C8B-B14F-4D97-AF65-F5344CB8AC3E}">
        <p14:creationId xmlns:p14="http://schemas.microsoft.com/office/powerpoint/2010/main" val="21979479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Beyond layout 49">
    <p:bg bwMode="blackWhite">
      <p:bgPr>
        <a:solidFill>
          <a:srgbClr val="EDEDED"/>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27B99AE-C6E2-41E4-AADE-29F89C93F7E2}"/>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25" name="Diapositive think-cell" r:id="rId4" imgW="286" imgH="286" progId="TCLayout.ActiveDocument.1">
                  <p:embed/>
                </p:oleObj>
              </mc:Choice>
              <mc:Fallback>
                <p:oleObj name="Diapositive think-cell" r:id="rId4" imgW="286" imgH="286" progId="TCLayout.ActiveDocument.1">
                  <p:embed/>
                  <p:pic>
                    <p:nvPicPr>
                      <p:cNvPr id="3" name="Object 2" hidden="1">
                        <a:extLst>
                          <a:ext uri="{FF2B5EF4-FFF2-40B4-BE49-F238E27FC236}">
                            <a16:creationId xmlns:a16="http://schemas.microsoft.com/office/drawing/2014/main" id="{A27B99AE-C6E2-41E4-AADE-29F89C93F7E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6FA6508C-E05B-4C89-AFE1-AE8F5F75E000}"/>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1" y="0"/>
            <a:ext cx="12192001" cy="6858000"/>
          </a:xfrm>
          <a:prstGeom prst="rect">
            <a:avLst/>
          </a:prstGeom>
        </p:spPr>
      </p:pic>
      <p:sp>
        <p:nvSpPr>
          <p:cNvPr id="12" name="Rectangle 11">
            <a:extLst>
              <a:ext uri="{FF2B5EF4-FFF2-40B4-BE49-F238E27FC236}">
                <a16:creationId xmlns:a16="http://schemas.microsoft.com/office/drawing/2014/main" id="{41A22C54-5ED0-4187-82AC-28DF782ECF44}"/>
              </a:ext>
            </a:extLst>
          </p:cNvPr>
          <p:cNvSpPr/>
          <p:nvPr userDrawn="1"/>
        </p:nvSpPr>
        <p:spPr>
          <a:xfrm>
            <a:off x="145141" y="1"/>
            <a:ext cx="12192001" cy="6857999"/>
          </a:xfrm>
          <a:prstGeom prst="rect">
            <a:avLst/>
          </a:prstGeom>
          <a:gradFill flip="none" rotWithShape="1">
            <a:gsLst>
              <a:gs pos="100000">
                <a:schemeClr val="accent1">
                  <a:alpha val="83685"/>
                </a:schemeClr>
              </a:gs>
              <a:gs pos="0">
                <a:schemeClr val="accent1">
                  <a:alpha val="0"/>
                </a:schemeClr>
              </a:gs>
            </a:gsLst>
            <a:lin ang="0" scaled="1"/>
            <a:tileRect/>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13" name="Rectangle 12">
            <a:extLst>
              <a:ext uri="{FF2B5EF4-FFF2-40B4-BE49-F238E27FC236}">
                <a16:creationId xmlns:a16="http://schemas.microsoft.com/office/drawing/2014/main" id="{735511AD-57E7-4389-8A76-05210884B7C3}"/>
              </a:ext>
            </a:extLst>
          </p:cNvPr>
          <p:cNvSpPr/>
          <p:nvPr userDrawn="1"/>
        </p:nvSpPr>
        <p:spPr>
          <a:xfrm>
            <a:off x="0" y="1199850"/>
            <a:ext cx="12192000" cy="4458300"/>
          </a:xfrm>
          <a:prstGeom prst="rect">
            <a:avLst/>
          </a:prstGeom>
          <a:solidFill>
            <a:srgbClr val="487555">
              <a:alpha val="85000"/>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pic>
        <p:nvPicPr>
          <p:cNvPr id="14" name="Picture 13">
            <a:extLst>
              <a:ext uri="{FF2B5EF4-FFF2-40B4-BE49-F238E27FC236}">
                <a16:creationId xmlns:a16="http://schemas.microsoft.com/office/drawing/2014/main" id="{8690DABC-1532-43E6-98BA-96A1550DDBF8}"/>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bwMode="ltGray">
          <a:xfrm rot="5400000" flipH="1">
            <a:off x="3220524" y="-2437628"/>
            <a:ext cx="416951" cy="6858000"/>
          </a:xfrm>
          <a:prstGeom prst="rect">
            <a:avLst/>
          </a:prstGeom>
        </p:spPr>
      </p:pic>
      <p:sp>
        <p:nvSpPr>
          <p:cNvPr id="147" name="Title 1"/>
          <p:cNvSpPr>
            <a:spLocks noGrp="1"/>
          </p:cNvSpPr>
          <p:nvPr>
            <p:ph type="title" hasCustomPrompt="1"/>
          </p:nvPr>
        </p:nvSpPr>
        <p:spPr bwMode="blackWhite">
          <a:xfrm>
            <a:off x="630000" y="3255300"/>
            <a:ext cx="10936799" cy="2041200"/>
          </a:xfrm>
          <a:prstGeom prst="rect">
            <a:avLst/>
          </a:prstGeom>
        </p:spPr>
        <p:txBody>
          <a:bodyPr vert="horz" anchor="t">
            <a:noAutofit/>
          </a:bodyPr>
          <a:lstStyle>
            <a:lvl1pPr>
              <a:defRPr sz="5400">
                <a:solidFill>
                  <a:srgbClr val="FFFFFF"/>
                </a:solidFill>
                <a:latin typeface="+mj-lt"/>
                <a:sym typeface="Trebuchet MS" panose="020B0603020202020204" pitchFamily="34" charset="0"/>
              </a:defRPr>
            </a:lvl1pPr>
          </a:lstStyle>
          <a:p>
            <a:r>
              <a:rPr lang="en-US"/>
              <a:t>Click to add big statement text</a:t>
            </a:r>
          </a:p>
        </p:txBody>
      </p:sp>
      <p:sp>
        <p:nvSpPr>
          <p:cNvPr id="15" name="TextBox 14">
            <a:extLst>
              <a:ext uri="{FF2B5EF4-FFF2-40B4-BE49-F238E27FC236}">
                <a16:creationId xmlns:a16="http://schemas.microsoft.com/office/drawing/2014/main" id="{6D97C1E2-96F9-4E99-AFDD-0FFD0D8A9051}"/>
              </a:ext>
            </a:extLst>
          </p:cNvPr>
          <p:cNvSpPr txBox="1"/>
          <p:nvPr userDrawn="1"/>
        </p:nvSpPr>
        <p:spPr>
          <a:xfrm>
            <a:off x="11167872" y="6405037"/>
            <a:ext cx="381000" cy="153888"/>
          </a:xfrm>
          <a:prstGeom prst="rect">
            <a:avLst/>
          </a:prstGeom>
          <a:noFill/>
        </p:spPr>
        <p:txBody>
          <a:bodyPr vert="horz" wrap="square" lIns="0" tIns="0" rIns="0" bIns="0" rtlCol="0" anchor="b" anchorCtr="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0" smtClean="0">
                <a:solidFill>
                  <a:srgbClr val="FFFFFF"/>
                </a:solidFill>
                <a:latin typeface="Henderson BCG Sans Light" panose="020B03020304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0">
              <a:solidFill>
                <a:srgbClr val="FFFFFF"/>
              </a:solidFill>
              <a:latin typeface="Henderson BCG Sans Light" panose="020B0302030402020204" pitchFamily="34" charset="0"/>
              <a:ea typeface="+mn-ea"/>
              <a:cs typeface="+mn-cs"/>
              <a:sym typeface="Trebuchet MS" panose="020B0603020202020204" pitchFamily="34" charset="0"/>
            </a:endParaRPr>
          </a:p>
        </p:txBody>
      </p:sp>
    </p:spTree>
    <p:extLst>
      <p:ext uri="{BB962C8B-B14F-4D97-AF65-F5344CB8AC3E}">
        <p14:creationId xmlns:p14="http://schemas.microsoft.com/office/powerpoint/2010/main" val="356313683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Beyond layout 50">
    <p:bg>
      <p:bgPr>
        <a:solidFill>
          <a:srgbClr val="EDEDED"/>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A278B0-6C3F-4D95-9D3F-CC16C93FC336}"/>
              </a:ext>
            </a:extLst>
          </p:cNvPr>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49" name="Diapositive think-cell" r:id="rId5" imgW="286" imgH="286" progId="TCLayout.ActiveDocument.1">
                  <p:embed/>
                </p:oleObj>
              </mc:Choice>
              <mc:Fallback>
                <p:oleObj name="Diapositive think-cell" r:id="rId5" imgW="286" imgH="286" progId="TCLayout.ActiveDocument.1">
                  <p:embed/>
                  <p:pic>
                    <p:nvPicPr>
                      <p:cNvPr id="3" name="Object 2" hidden="1">
                        <a:extLst>
                          <a:ext uri="{FF2B5EF4-FFF2-40B4-BE49-F238E27FC236}">
                            <a16:creationId xmlns:a16="http://schemas.microsoft.com/office/drawing/2014/main" id="{38A278B0-6C3F-4D95-9D3F-CC16C93FC33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p>
        </p:txBody>
      </p:sp>
      <p:sp>
        <p:nvSpPr>
          <p:cNvPr id="20" name="TextBox 19"/>
          <p:cNvSpPr txBox="1"/>
          <p:nvPr userDrawn="1"/>
        </p:nvSpPr>
        <p:spPr>
          <a:xfrm>
            <a:off x="11167872" y="6405037"/>
            <a:ext cx="381000" cy="153888"/>
          </a:xfrm>
          <a:prstGeom prst="rect">
            <a:avLst/>
          </a:prstGeom>
          <a:noFill/>
        </p:spPr>
        <p:txBody>
          <a:bodyPr vert="horz" wrap="square" lIns="0" tIns="0" rIns="0" bIns="0" rtlCol="0" anchor="b" anchorCtr="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0" smtClean="0">
                <a:solidFill>
                  <a:srgbClr val="7F7F7F"/>
                </a:solidFill>
                <a:latin typeface="Henderson BCG Sans Light" panose="020B03020304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0">
              <a:solidFill>
                <a:srgbClr val="7F7F7F"/>
              </a:solidFill>
              <a:latin typeface="Henderson BCG Sans Light" panose="020B0302030402020204" pitchFamily="34" charset="0"/>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200">
                <a:solidFill>
                  <a:srgbClr val="21BF61"/>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16662840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Beyond layout 51">
    <p:bg>
      <p:bgPr>
        <a:solidFill>
          <a:srgbClr val="EDEDED"/>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A278B0-6C3F-4D95-9D3F-CC16C93FC336}"/>
              </a:ext>
            </a:extLst>
          </p:cNvPr>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73" name="Diapositive think-cell" r:id="rId5" imgW="286" imgH="286" progId="TCLayout.ActiveDocument.1">
                  <p:embed/>
                </p:oleObj>
              </mc:Choice>
              <mc:Fallback>
                <p:oleObj name="Diapositive think-cell" r:id="rId5" imgW="286" imgH="286" progId="TCLayout.ActiveDocument.1">
                  <p:embed/>
                  <p:pic>
                    <p:nvPicPr>
                      <p:cNvPr id="3" name="Object 2" hidden="1">
                        <a:extLst>
                          <a:ext uri="{FF2B5EF4-FFF2-40B4-BE49-F238E27FC236}">
                            <a16:creationId xmlns:a16="http://schemas.microsoft.com/office/drawing/2014/main" id="{38A278B0-6C3F-4D95-9D3F-CC16C93FC33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p>
        </p:txBody>
      </p:sp>
      <p:sp>
        <p:nvSpPr>
          <p:cNvPr id="20" name="TextBox 19"/>
          <p:cNvSpPr txBox="1"/>
          <p:nvPr userDrawn="1"/>
        </p:nvSpPr>
        <p:spPr>
          <a:xfrm>
            <a:off x="11167872" y="6405037"/>
            <a:ext cx="381000" cy="153888"/>
          </a:xfrm>
          <a:prstGeom prst="rect">
            <a:avLst/>
          </a:prstGeom>
          <a:noFill/>
        </p:spPr>
        <p:txBody>
          <a:bodyPr vert="horz" wrap="square" lIns="0" tIns="0" rIns="0" bIns="0" rtlCol="0" anchor="b" anchorCtr="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0" smtClean="0">
                <a:solidFill>
                  <a:srgbClr val="7F7F7F"/>
                </a:solidFill>
                <a:latin typeface="Henderson BCG Sans Light" panose="020B03020304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0">
              <a:solidFill>
                <a:srgbClr val="7F7F7F"/>
              </a:solidFill>
              <a:latin typeface="Henderson BCG Sans Light" panose="020B0302030402020204" pitchFamily="34" charset="0"/>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200">
                <a:solidFill>
                  <a:srgbClr val="21BF61"/>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5557896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Beyond layout 52">
    <p:bg>
      <p:bgPr>
        <a:solidFill>
          <a:srgbClr val="EDEDED"/>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297" name="Diapositive think-cell" r:id="rId5" imgW="352" imgH="355" progId="TCLayout.ActiveDocument.1">
                  <p:embed/>
                </p:oleObj>
              </mc:Choice>
              <mc:Fallback>
                <p:oleObj name="Diapositive think-cell"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Henderson BCG Sans" panose="020B0502030402020204" pitchFamily="34" charset="0"/>
              <a:ea typeface="+mj-ea"/>
              <a:cs typeface="+mj-cs"/>
              <a:sym typeface="Henderson BCG Sans" panose="020B0502030402020204" pitchFamily="34" charset="0"/>
            </a:endParaRPr>
          </a:p>
        </p:txBody>
      </p:sp>
      <p:pic>
        <p:nvPicPr>
          <p:cNvPr id="10" name="Picture 9"/>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rgbClr val="F8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prstClr val="white"/>
              </a:solidFill>
              <a:sym typeface="+mn-lt"/>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solidFill>
                <a:prstClr val="white"/>
              </a:solidFill>
            </a:endParaRPr>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mn-lt"/>
              </a:rPr>
              <a:t>Copyright © 2022 by Boston Consulting Group.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mn-lt"/>
              </a:rPr>
              <a:pPr algn="r">
                <a:defRPr/>
              </a:pPr>
              <a:t>‹#›</a:t>
            </a:fld>
            <a:endParaRPr lang="en-US" sz="1000">
              <a:solidFill>
                <a:prstClr val="white"/>
              </a:solidFill>
              <a:sym typeface="+mn-lt"/>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0" spc="0">
                <a:solidFill>
                  <a:srgbClr val="21BF61"/>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123952440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Beyond layout 53">
    <p:bg bwMode="grayWhite">
      <p:bgPr>
        <a:solidFill>
          <a:srgbClr val="EDEDED"/>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21" name="Diapositive think-cell" r:id="rId5" imgW="352" imgH="355" progId="TCLayout.ActiveDocument.1">
                  <p:embed/>
                </p:oleObj>
              </mc:Choice>
              <mc:Fallback>
                <p:oleObj name="Diapositive think-cell"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4400">
              <a:solidFill>
                <a:srgbClr val="FFFFFF"/>
              </a:solidFill>
              <a:latin typeface="Henderson BCG Sans" panose="020B0502030402020204" pitchFamily="34" charset="0"/>
              <a:sym typeface="Henderson BCG Sans" panose="020B0502030402020204" pitchFamily="34" charset="0"/>
            </a:endParaRPr>
          </a:p>
        </p:txBody>
      </p:sp>
      <p:pic>
        <p:nvPicPr>
          <p:cNvPr id="11" name="Picture 10"/>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rgbClr val="F8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kern="0">
              <a:solidFill>
                <a:prstClr val="white"/>
              </a:solidFill>
              <a:sym typeface="+mn-lt"/>
            </a:endParaRPr>
          </a:p>
        </p:txBody>
      </p:sp>
      <p:sp>
        <p:nvSpPr>
          <p:cNvPr id="13" name="Picture Placeholder 18"/>
          <p:cNvSpPr>
            <a:spLocks noGrp="1"/>
          </p:cNvSpPr>
          <p:nvPr>
            <p:ph type="pic" sz="quarter" idx="14" hasCustomPrompt="1"/>
          </p:nvPr>
        </p:nvSpPr>
        <p:spPr>
          <a:xfrm>
            <a:off x="6096000" y="0"/>
            <a:ext cx="6099977" cy="6858000"/>
          </a:xfrm>
          <a:prstGeom prst="rect">
            <a:avLst/>
          </a:prstGeom>
          <a:noFill/>
        </p:spPr>
        <p:txBody>
          <a:bodyPr lIns="914400" tIns="914400" rIns="914400" bIns="914400"/>
          <a:lstStyle>
            <a:lvl1pPr algn="ctr">
              <a:defRPr sz="1800" kern="0" baseline="0">
                <a:latin typeface="+mn-lt"/>
                <a:ea typeface="+mn-ea"/>
                <a:cs typeface="+mn-cs"/>
                <a:sym typeface="+mn-lt"/>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vert="horz" wrap="square" lIns="0" tIns="0" rIns="320040" bIns="0" anchor="ctr">
            <a:noAutofit/>
          </a:bodyPr>
          <a:lstStyle>
            <a:lvl1pPr>
              <a:defRPr sz="4400" kern="0">
                <a:solidFill>
                  <a:srgbClr val="21BF61"/>
                </a:solidFill>
                <a:latin typeface="+mj-lt"/>
                <a:ea typeface="+mj-ea"/>
                <a:cs typeface="+mj-cs"/>
                <a:sym typeface="+mj-lt"/>
              </a:defRPr>
            </a:lvl1pPr>
          </a:lstStyle>
          <a:p>
            <a:r>
              <a:rPr lang="en-US"/>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kern="0" smtClean="0">
                <a:solidFill>
                  <a:prstClr val="white">
                    <a:lumMod val="50000"/>
                  </a:prstClr>
                </a:solidFill>
                <a:sym typeface="+mn-lt"/>
              </a:rPr>
              <a:pPr algn="r">
                <a:defRPr/>
              </a:pPr>
              <a:t>‹#›</a:t>
            </a:fld>
            <a:endParaRPr lang="en-US" sz="800" kern="0">
              <a:solidFill>
                <a:prstClr val="white">
                  <a:lumMod val="50000"/>
                </a:prstClr>
              </a:solidFill>
              <a:sym typeface="+mn-lt"/>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kern="0">
                <a:solidFill>
                  <a:schemeClr val="bg1">
                    <a:lumMod val="50000"/>
                  </a:schemeClr>
                </a:solidFill>
                <a:latin typeface="+mn-lt"/>
                <a:ea typeface="+mn-ea"/>
                <a:cs typeface="+mn-cs"/>
                <a:sym typeface="+mn-lt"/>
              </a:defRPr>
            </a:lvl1pPr>
          </a:lstStyle>
          <a:p>
            <a:endParaRPr lang="en-US">
              <a:solidFill>
                <a:prstClr val="white">
                  <a:lumMod val="50000"/>
                </a:prstClr>
              </a:solidFill>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mn-lt"/>
              </a:rPr>
              <a:t>Copyright © 2022 by Boston Consulting Group. All rights reserved.</a:t>
            </a:r>
          </a:p>
        </p:txBody>
      </p:sp>
    </p:spTree>
    <p:extLst>
      <p:ext uri="{BB962C8B-B14F-4D97-AF65-F5344CB8AC3E}">
        <p14:creationId xmlns:p14="http://schemas.microsoft.com/office/powerpoint/2010/main" val="138715357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Beyond layout 54">
    <p:bg>
      <p:bgPr>
        <a:solidFill>
          <a:srgbClr val="EDEDED"/>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45" name="Diapositive think-cell" r:id="rId5" imgW="352" imgH="355" progId="TCLayout.ActiveDocument.1">
                  <p:embed/>
                </p:oleObj>
              </mc:Choice>
              <mc:Fallback>
                <p:oleObj name="Diapositive think-cell"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Henderson BCG Sans" panose="020B0502030402020204" pitchFamily="34" charset="0"/>
              <a:ea typeface="+mj-ea"/>
              <a:cs typeface="+mj-cs"/>
              <a:sym typeface="Henderson BCG Sans" panose="020B0502030402020204" pitchFamily="34" charset="0"/>
            </a:endParaRPr>
          </a:p>
        </p:txBody>
      </p:sp>
      <p:pic>
        <p:nvPicPr>
          <p:cNvPr id="10" name="Picture 9"/>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200" kern="0">
                <a:solidFill>
                  <a:srgbClr val="21BF61"/>
                </a:solidFill>
                <a:latin typeface="+mj-lt"/>
                <a:ea typeface="+mj-ea"/>
                <a:cs typeface="+mj-cs"/>
                <a:sym typeface="+mj-lt"/>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rgbClr val="F8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prstClr val="white"/>
              </a:solidFill>
              <a:sym typeface="+mn-lt"/>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mn-lt"/>
              </a:rPr>
              <a:t>Copyright © 2022 by Boston Consulting Group. All rights reserved.</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solidFill>
                <a:prstClr val="white">
                  <a:lumMod val="50000"/>
                </a:prstClr>
              </a:solidFill>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mn-lt"/>
              </a:rPr>
              <a:pPr algn="r">
                <a:defRPr/>
              </a:pPr>
              <a:t>‹#›</a:t>
            </a:fld>
            <a:endParaRPr lang="en-US" sz="1000">
              <a:solidFill>
                <a:prstClr val="white">
                  <a:lumMod val="50000"/>
                </a:prstClr>
              </a:solidFill>
              <a:sym typeface="+mn-lt"/>
            </a:endParaRPr>
          </a:p>
        </p:txBody>
      </p:sp>
    </p:spTree>
    <p:extLst>
      <p:ext uri="{BB962C8B-B14F-4D97-AF65-F5344CB8AC3E}">
        <p14:creationId xmlns:p14="http://schemas.microsoft.com/office/powerpoint/2010/main" val="316561854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Beyond layout 55">
    <p:bg bwMode="grayWhite">
      <p:bgPr>
        <a:solidFill>
          <a:srgbClr val="EDEDED"/>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69" name="Diapositive think-cell" r:id="rId5" imgW="352" imgH="355" progId="TCLayout.ActiveDocument.1">
                  <p:embed/>
                </p:oleObj>
              </mc:Choice>
              <mc:Fallback>
                <p:oleObj name="Diapositive think-cell"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4400">
              <a:solidFill>
                <a:srgbClr val="FFFFFF"/>
              </a:solidFill>
              <a:latin typeface="Henderson BCG Sans" panose="020B0502030402020204" pitchFamily="34" charset="0"/>
              <a:sym typeface="Henderson BCG Sans" panose="020B0502030402020204" pitchFamily="34" charset="0"/>
            </a:endParaRPr>
          </a:p>
        </p:txBody>
      </p:sp>
      <p:pic>
        <p:nvPicPr>
          <p:cNvPr id="11" name="Picture 10"/>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rgbClr val="F8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kern="0">
              <a:solidFill>
                <a:prstClr val="white"/>
              </a:solidFill>
              <a:sym typeface="+mn-lt"/>
            </a:endParaRPr>
          </a:p>
        </p:txBody>
      </p:sp>
      <p:sp>
        <p:nvSpPr>
          <p:cNvPr id="13" name="Picture Placeholder 18"/>
          <p:cNvSpPr>
            <a:spLocks noGrp="1"/>
          </p:cNvSpPr>
          <p:nvPr>
            <p:ph type="pic" sz="quarter" idx="14" hasCustomPrompt="1"/>
          </p:nvPr>
        </p:nvSpPr>
        <p:spPr>
          <a:xfrm>
            <a:off x="6096000" y="0"/>
            <a:ext cx="6099977" cy="6858000"/>
          </a:xfrm>
          <a:prstGeom prst="rect">
            <a:avLst/>
          </a:prstGeom>
          <a:noFill/>
        </p:spPr>
        <p:txBody>
          <a:bodyPr lIns="914400" tIns="914400" rIns="914400" bIns="914400"/>
          <a:lstStyle>
            <a:lvl1pPr algn="ctr">
              <a:defRPr sz="1800" kern="0" baseline="0">
                <a:latin typeface="+mn-lt"/>
                <a:ea typeface="+mn-ea"/>
                <a:cs typeface="+mn-cs"/>
                <a:sym typeface="+mn-lt"/>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vert="horz" wrap="square" lIns="0" tIns="0" rIns="320040" bIns="0" anchor="ctr">
            <a:noAutofit/>
          </a:bodyPr>
          <a:lstStyle>
            <a:lvl1pPr>
              <a:defRPr sz="4400" kern="0">
                <a:solidFill>
                  <a:srgbClr val="21BF61"/>
                </a:solidFill>
                <a:latin typeface="+mj-lt"/>
                <a:ea typeface="+mj-ea"/>
                <a:cs typeface="+mj-cs"/>
                <a:sym typeface="+mj-lt"/>
              </a:defRPr>
            </a:lvl1pPr>
          </a:lstStyle>
          <a:p>
            <a:r>
              <a:rPr lang="en-US"/>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kern="0" smtClean="0">
                <a:solidFill>
                  <a:prstClr val="white">
                    <a:lumMod val="50000"/>
                  </a:prstClr>
                </a:solidFill>
                <a:sym typeface="+mn-lt"/>
              </a:rPr>
              <a:pPr algn="r">
                <a:defRPr/>
              </a:pPr>
              <a:t>‹#›</a:t>
            </a:fld>
            <a:endParaRPr lang="en-US" sz="800" kern="0">
              <a:solidFill>
                <a:prstClr val="white">
                  <a:lumMod val="50000"/>
                </a:prstClr>
              </a:solidFill>
              <a:sym typeface="+mn-lt"/>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kern="0">
                <a:solidFill>
                  <a:schemeClr val="bg1">
                    <a:lumMod val="50000"/>
                  </a:schemeClr>
                </a:solidFill>
                <a:latin typeface="+mn-lt"/>
                <a:ea typeface="+mn-ea"/>
                <a:cs typeface="+mn-cs"/>
                <a:sym typeface="+mn-lt"/>
              </a:defRPr>
            </a:lvl1pPr>
          </a:lstStyle>
          <a:p>
            <a:endParaRPr lang="en-US">
              <a:solidFill>
                <a:prstClr val="white">
                  <a:lumMod val="50000"/>
                </a:prstClr>
              </a:solidFill>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mn-lt"/>
              </a:rPr>
              <a:t>Copyright © 2022 by Boston Consulting Group. All rights reserved.</a:t>
            </a:r>
          </a:p>
        </p:txBody>
      </p:sp>
    </p:spTree>
    <p:extLst>
      <p:ext uri="{BB962C8B-B14F-4D97-AF65-F5344CB8AC3E}">
        <p14:creationId xmlns:p14="http://schemas.microsoft.com/office/powerpoint/2010/main" val="101107119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Beyond layout 56">
    <p:bg bwMode="grayWhite">
      <p:bgPr>
        <a:solidFill>
          <a:srgbClr val="EDEDED"/>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393" name="Diapositive think-cell" r:id="rId5" imgW="352" imgH="355" progId="TCLayout.ActiveDocument.1">
                  <p:embed/>
                </p:oleObj>
              </mc:Choice>
              <mc:Fallback>
                <p:oleObj name="Diapositive think-cell"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4400">
              <a:solidFill>
                <a:srgbClr val="FFFFFF"/>
              </a:solidFill>
              <a:latin typeface="Henderson BCG Sans" panose="020B0502030402020204" pitchFamily="34" charset="0"/>
              <a:sym typeface="Henderson BCG Sans" panose="020B0502030402020204" pitchFamily="34" charset="0"/>
            </a:endParaRPr>
          </a:p>
        </p:txBody>
      </p:sp>
      <p:pic>
        <p:nvPicPr>
          <p:cNvPr id="9" name="Picture 8"/>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rgbClr val="F8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kern="0">
              <a:solidFill>
                <a:prstClr val="white"/>
              </a:solidFill>
              <a:sym typeface="+mn-lt"/>
            </a:endParaRPr>
          </a:p>
        </p:txBody>
      </p:sp>
      <p:sp>
        <p:nvSpPr>
          <p:cNvPr id="11" name="Picture Placeholder 5"/>
          <p:cNvSpPr>
            <a:spLocks noGrp="1"/>
          </p:cNvSpPr>
          <p:nvPr>
            <p:ph type="pic" sz="quarter" idx="11" hasCustomPrompt="1"/>
          </p:nvPr>
        </p:nvSpPr>
        <p:spPr>
          <a:xfrm>
            <a:off x="7819543" y="0"/>
            <a:ext cx="4371975" cy="6858000"/>
          </a:xfrm>
          <a:prstGeom prst="rect">
            <a:avLst/>
          </a:prstGeom>
          <a:noFill/>
        </p:spPr>
        <p:txBody>
          <a:bodyPr lIns="182880" tIns="914400" rIns="182880" bIns="914400"/>
          <a:lstStyle>
            <a:lvl1pPr algn="ctr">
              <a:defRPr sz="1600" kern="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kern="0">
                <a:solidFill>
                  <a:schemeClr val="bg1">
                    <a:lumMod val="50000"/>
                  </a:schemeClr>
                </a:solidFill>
                <a:latin typeface="+mn-lt"/>
                <a:ea typeface="+mn-ea"/>
                <a:cs typeface="+mn-cs"/>
                <a:sym typeface="+mn-lt"/>
              </a:defRPr>
            </a:lvl1pPr>
          </a:lstStyle>
          <a:p>
            <a:endParaRPr lang="en-US">
              <a:solidFill>
                <a:prstClr val="white">
                  <a:lumMod val="50000"/>
                </a:prstClr>
              </a:solidFill>
            </a:endParaRPr>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mn-lt"/>
              </a:rPr>
              <a:t>Copyright © 2022 by Boston Consulting Group.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vert="horz" anchor="ctr">
            <a:noAutofit/>
          </a:bodyPr>
          <a:lstStyle>
            <a:lvl1pPr>
              <a:defRPr sz="4400" kern="0">
                <a:solidFill>
                  <a:srgbClr val="21BF61"/>
                </a:solidFill>
                <a:latin typeface="+mj-lt"/>
                <a:ea typeface="+mj-ea"/>
                <a:cs typeface="+mj-cs"/>
                <a:sym typeface="+mj-lt"/>
              </a:defRPr>
            </a:lvl1pPr>
          </a:lstStyle>
          <a:p>
            <a:r>
              <a:rPr lang="en-US"/>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kern="0" smtClean="0">
                <a:solidFill>
                  <a:prstClr val="white">
                    <a:lumMod val="50000"/>
                  </a:prstClr>
                </a:solidFill>
                <a:sym typeface="+mn-lt"/>
              </a:rPr>
              <a:pPr algn="r">
                <a:defRPr/>
              </a:pPr>
              <a:t>‹#›</a:t>
            </a:fld>
            <a:endParaRPr lang="en-US" sz="800" kern="0">
              <a:solidFill>
                <a:prstClr val="white">
                  <a:lumMod val="50000"/>
                </a:prstClr>
              </a:solidFill>
              <a:sym typeface="+mn-lt"/>
            </a:endParaRPr>
          </a:p>
        </p:txBody>
      </p:sp>
    </p:spTree>
    <p:extLst>
      <p:ext uri="{BB962C8B-B14F-4D97-AF65-F5344CB8AC3E}">
        <p14:creationId xmlns:p14="http://schemas.microsoft.com/office/powerpoint/2010/main" val="336934442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Beyond layout 57">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1A0193-B448-45BD-8D83-10692B54E8C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17" name="Diapositive think-cell" r:id="rId4" imgW="286" imgH="286" progId="TCLayout.ActiveDocument.1">
                  <p:embed/>
                </p:oleObj>
              </mc:Choice>
              <mc:Fallback>
                <p:oleObj name="Diapositive think-cell" r:id="rId4" imgW="286" imgH="286" progId="TCLayout.ActiveDocument.1">
                  <p:embed/>
                  <p:pic>
                    <p:nvPicPr>
                      <p:cNvPr id="4" name="Object 3" hidden="1">
                        <a:extLst>
                          <a:ext uri="{FF2B5EF4-FFF2-40B4-BE49-F238E27FC236}">
                            <a16:creationId xmlns:a16="http://schemas.microsoft.com/office/drawing/2014/main" id="{D61A0193-B448-45BD-8D83-10692B54E8C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Freeform 14">
            <a:extLst>
              <a:ext uri="{FF2B5EF4-FFF2-40B4-BE49-F238E27FC236}">
                <a16:creationId xmlns:a16="http://schemas.microsoft.com/office/drawing/2014/main" id="{25510967-361D-4165-AF82-24EED5DEAA4A}"/>
              </a:ext>
            </a:extLst>
          </p:cNvPr>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6E6F73"/>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lnSpc>
                <a:spcPct val="90000"/>
              </a:lnSpc>
              <a:spcAft>
                <a:spcPts val="1000"/>
              </a:spcAft>
            </a:pPr>
            <a:endParaRPr lang="en-US" sz="1200">
              <a:solidFill>
                <a:srgbClr val="FFFFFF"/>
              </a:solidFill>
              <a:sym typeface="Trebuchet MS" panose="020B0603020202020204" pitchFamily="34" charset="0"/>
            </a:endParaRPr>
          </a:p>
        </p:txBody>
      </p:sp>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extLst>
            <a:ext uri="{91240B29-F687-4F45-9708-019B960494DF}">
              <a14:hiddenLine xmlns:a14="http://schemas.microsoft.com/office/drawing/2010/main" w="9525" cap="rnd" cmpd="sng" algn="ctr">
                <a:solidFill>
                  <a:srgbClr val="6E6F73"/>
                </a:solidFill>
                <a:prstDash val="solid"/>
                <a:round/>
                <a:headEnd type="none" w="med" len="med"/>
                <a:tailEnd type="none" w="med" len="med"/>
              </a14:hiddenLine>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lnSpc>
                <a:spcPct val="90000"/>
              </a:lnSpc>
              <a:spcAft>
                <a:spcPts val="1000"/>
              </a:spcAft>
            </a:pPr>
            <a:endParaRPr lang="en-US" sz="1200">
              <a:solidFill>
                <a:srgbClr val="FFFFFF"/>
              </a:solidFill>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vert="horz" anchor="ctr" anchorCtr="0">
            <a:noAutofit/>
          </a:bodyPr>
          <a:lstStyle>
            <a:lvl1pPr>
              <a:defRPr sz="3200" baseline="0">
                <a:solidFill>
                  <a:srgbClr val="21BF61"/>
                </a:solidFill>
                <a:latin typeface="+mj-lt"/>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4" name="TextBox 13"/>
          <p:cNvSpPr txBox="1"/>
          <p:nvPr userDrawn="1"/>
        </p:nvSpPr>
        <p:spPr>
          <a:xfrm>
            <a:off x="11167872" y="6405037"/>
            <a:ext cx="381000" cy="153888"/>
          </a:xfrm>
          <a:prstGeom prst="rect">
            <a:avLst/>
          </a:prstGeom>
          <a:noFill/>
        </p:spPr>
        <p:txBody>
          <a:bodyPr vert="horz" wrap="square" lIns="0" tIns="0" rIns="0" bIns="0" rtlCol="0" anchor="b" anchorCtr="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0" smtClean="0">
                <a:solidFill>
                  <a:srgbClr val="7F7F7F"/>
                </a:solidFill>
                <a:latin typeface="Henderson BCG Sans Light" panose="020B03020304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0">
              <a:solidFill>
                <a:srgbClr val="7F7F7F"/>
              </a:solidFill>
              <a:latin typeface="Henderson BCG Sans Light" panose="020B0302030402020204" pitchFamily="34" charset="0"/>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411660410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Beyond layout 58">
    <p:bg>
      <p:bgPr>
        <a:solidFill>
          <a:srgbClr val="F8F8F8"/>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41" name="Diapositive think-cell" r:id="rId5" imgW="352" imgH="355" progId="TCLayout.ActiveDocument.1">
                  <p:embed/>
                </p:oleObj>
              </mc:Choice>
              <mc:Fallback>
                <p:oleObj name="Diapositive think-cell"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a:solidFill>
                <a:srgbClr val="FFFFFF"/>
              </a:solidFill>
              <a:latin typeface="Henderson BCG Sans" panose="020B0502030402020204" pitchFamily="34" charset="0"/>
              <a:sym typeface="Henderson BCG Sans" panose="020B0502030402020204" pitchFamily="34" charset="0"/>
            </a:endParaRPr>
          </a:p>
        </p:txBody>
      </p:sp>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kern="0">
              <a:solidFill>
                <a:prstClr val="white"/>
              </a:solidFill>
              <a:sym typeface="+mn-lt"/>
            </a:endParaRPr>
          </a:p>
        </p:txBody>
      </p:sp>
      <p:sp>
        <p:nvSpPr>
          <p:cNvPr id="3" name="Title 2"/>
          <p:cNvSpPr>
            <a:spLocks noGrp="1"/>
          </p:cNvSpPr>
          <p:nvPr>
            <p:ph type="title" hasCustomPrompt="1"/>
          </p:nvPr>
        </p:nvSpPr>
        <p:spPr>
          <a:xfrm>
            <a:off x="630000" y="2764203"/>
            <a:ext cx="2478638" cy="1314311"/>
          </a:xfrm>
        </p:spPr>
        <p:txBody>
          <a:bodyPr vert="horz" anchor="ctr" anchorCtr="0">
            <a:noAutofit/>
          </a:bodyPr>
          <a:lstStyle>
            <a:lvl1pPr>
              <a:defRPr sz="3200" kern="0" baseline="0">
                <a:solidFill>
                  <a:srgbClr val="21BF61"/>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kern="0">
                <a:solidFill>
                  <a:schemeClr val="bg1">
                    <a:lumMod val="50000"/>
                  </a:schemeClr>
                </a:solidFill>
                <a:latin typeface="+mn-lt"/>
                <a:ea typeface="+mn-ea"/>
                <a:cs typeface="+mn-cs"/>
                <a:sym typeface="+mn-lt"/>
              </a:defRPr>
            </a:lvl1pPr>
          </a:lstStyle>
          <a:p>
            <a:endParaRPr lang="en-US">
              <a:solidFill>
                <a:prstClr val="white">
                  <a:lumMod val="50000"/>
                </a:prstClr>
              </a:solidFill>
            </a:endParaRP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kern="0" smtClean="0">
                <a:solidFill>
                  <a:prstClr val="white">
                    <a:lumMod val="50000"/>
                  </a:prstClr>
                </a:solidFill>
                <a:sym typeface="+mn-lt"/>
              </a:rPr>
              <a:pPr algn="r">
                <a:defRPr/>
              </a:pPr>
              <a:t>‹#›</a:t>
            </a:fld>
            <a:endParaRPr lang="en-US" sz="1000" kern="0">
              <a:solidFill>
                <a:prstClr val="white">
                  <a:lumMod val="50000"/>
                </a:prstClr>
              </a:solidFill>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mn-lt"/>
              </a:rPr>
              <a:t>Copyright © 2022 by Boston Consulting Group. All rights reserved.</a:t>
            </a:r>
          </a:p>
        </p:txBody>
      </p:sp>
      <p:pic>
        <p:nvPicPr>
          <p:cNvPr id="9" name="Picture 8"/>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8647979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Beyond layout 5">
    <p:bg>
      <p:bgPr>
        <a:solidFill>
          <a:srgbClr val="EDEDED"/>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A278B0-6C3F-4D95-9D3F-CC16C93FC336}"/>
              </a:ext>
            </a:extLst>
          </p:cNvPr>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9" name="Diapositive think-cell" r:id="rId5" imgW="286" imgH="286" progId="TCLayout.ActiveDocument.1">
                  <p:embed/>
                </p:oleObj>
              </mc:Choice>
              <mc:Fallback>
                <p:oleObj name="Diapositive think-cell" r:id="rId5" imgW="286" imgH="286" progId="TCLayout.ActiveDocument.1">
                  <p:embed/>
                  <p:pic>
                    <p:nvPicPr>
                      <p:cNvPr id="3" name="Object 2" hidden="1">
                        <a:extLst>
                          <a:ext uri="{FF2B5EF4-FFF2-40B4-BE49-F238E27FC236}">
                            <a16:creationId xmlns:a16="http://schemas.microsoft.com/office/drawing/2014/main" id="{38A278B0-6C3F-4D95-9D3F-CC16C93FC33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p>
        </p:txBody>
      </p:sp>
      <p:sp>
        <p:nvSpPr>
          <p:cNvPr id="20" name="TextBox 19"/>
          <p:cNvSpPr txBox="1"/>
          <p:nvPr userDrawn="1"/>
        </p:nvSpPr>
        <p:spPr>
          <a:xfrm>
            <a:off x="11167872" y="6405037"/>
            <a:ext cx="381000" cy="153888"/>
          </a:xfrm>
          <a:prstGeom prst="rect">
            <a:avLst/>
          </a:prstGeom>
          <a:noFill/>
        </p:spPr>
        <p:txBody>
          <a:bodyPr vert="horz" wrap="square" lIns="0" tIns="0" rIns="0" bIns="0" rtlCol="0" anchor="b" anchorCtr="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0" smtClean="0">
                <a:solidFill>
                  <a:srgbClr val="7F7F7F"/>
                </a:solidFill>
                <a:latin typeface="Henderson BCG Sans Light" panose="020B03020304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0">
              <a:solidFill>
                <a:srgbClr val="7F7F7F"/>
              </a:solidFill>
              <a:latin typeface="Henderson BCG Sans Light" panose="020B0302030402020204" pitchFamily="34" charset="0"/>
              <a:ea typeface="+mn-ea"/>
              <a:cs typeface="+mn-cs"/>
              <a:sym typeface="Trebuchet MS" panose="020B0603020202020204" pitchFamily="34" charset="0"/>
            </a:endParaRPr>
          </a:p>
        </p:txBody>
      </p:sp>
      <p:sp>
        <p:nvSpPr>
          <p:cNvPr id="19" name="Rectangle 18">
            <a:extLst>
              <a:ext uri="{FF2B5EF4-FFF2-40B4-BE49-F238E27FC236}">
                <a16:creationId xmlns:a16="http://schemas.microsoft.com/office/drawing/2014/main" id="{C33C5FAC-27F4-48D4-9FDD-D8F23CB0F9AD}"/>
              </a:ext>
            </a:extLst>
          </p:cNvPr>
          <p:cNvSpPr/>
          <p:nvPr userDrawn="1"/>
        </p:nvSpPr>
        <p:spPr>
          <a:xfrm>
            <a:off x="0" y="-2"/>
            <a:ext cx="5026393" cy="5574084"/>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pic>
        <p:nvPicPr>
          <p:cNvPr id="21" name="Picture 20">
            <a:extLst>
              <a:ext uri="{FF2B5EF4-FFF2-40B4-BE49-F238E27FC236}">
                <a16:creationId xmlns:a16="http://schemas.microsoft.com/office/drawing/2014/main" id="{5E5072D8-2CCB-4C76-990F-E766759806C9}"/>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0" y="-2"/>
            <a:ext cx="4700399" cy="5203067"/>
          </a:xfrm>
          <a:prstGeom prst="rect">
            <a:avLst/>
          </a:prstGeom>
          <a:effectLst/>
        </p:spPr>
      </p:pic>
      <p:pic>
        <p:nvPicPr>
          <p:cNvPr id="22" name="Picture 21">
            <a:extLst>
              <a:ext uri="{FF2B5EF4-FFF2-40B4-BE49-F238E27FC236}">
                <a16:creationId xmlns:a16="http://schemas.microsoft.com/office/drawing/2014/main" id="{0D0D6572-FB60-4E68-853E-F294E1451A38}"/>
              </a:ext>
            </a:extLst>
          </p:cNvPr>
          <p:cNvPicPr>
            <a:picLocks noChangeAspect="1"/>
          </p:cNvPicPr>
          <p:nvPr userDrawn="1"/>
        </p:nvPicPr>
        <p:blipFill>
          <a:blip r:embed="rId8" cstate="screen">
            <a:extLst>
              <a:ext uri="{28A0092B-C50C-407E-A947-70E740481C1C}">
                <a14:useLocalDpi xmlns:a14="http://schemas.microsoft.com/office/drawing/2010/main"/>
              </a:ext>
            </a:extLst>
          </a:blip>
          <a:srcRect/>
          <a:stretch/>
        </p:blipFill>
        <p:spPr>
          <a:xfrm>
            <a:off x="2003557" y="2532702"/>
            <a:ext cx="4269268" cy="4339586"/>
          </a:xfrm>
          <a:prstGeom prst="rect">
            <a:avLst/>
          </a:prstGeom>
        </p:spPr>
      </p:pic>
      <p:sp>
        <p:nvSpPr>
          <p:cNvPr id="23" name="Rectangle 22">
            <a:extLst>
              <a:ext uri="{FF2B5EF4-FFF2-40B4-BE49-F238E27FC236}">
                <a16:creationId xmlns:a16="http://schemas.microsoft.com/office/drawing/2014/main" id="{E92CCDC0-B56B-4D85-AD90-5FEFDE5BC091}"/>
              </a:ext>
            </a:extLst>
          </p:cNvPr>
          <p:cNvSpPr/>
          <p:nvPr userDrawn="1"/>
        </p:nvSpPr>
        <p:spPr>
          <a:xfrm>
            <a:off x="0" y="0"/>
            <a:ext cx="4697627" cy="5203065"/>
          </a:xfrm>
          <a:prstGeom prst="rect">
            <a:avLst/>
          </a:prstGeom>
          <a:gradFill flip="none" rotWithShape="1">
            <a:gsLst>
              <a:gs pos="100000">
                <a:schemeClr val="accent1"/>
              </a:gs>
              <a:gs pos="0">
                <a:schemeClr val="accent1">
                  <a:alpha val="0"/>
                </a:schemeClr>
              </a:gs>
            </a:gsLst>
            <a:lin ang="13500000" scaled="1"/>
            <a:tileRect/>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24" name="TextBox 23">
            <a:extLst>
              <a:ext uri="{FF2B5EF4-FFF2-40B4-BE49-F238E27FC236}">
                <a16:creationId xmlns:a16="http://schemas.microsoft.com/office/drawing/2014/main" id="{2634546E-67F5-4FFF-BC47-7A602546AC23}"/>
              </a:ext>
            </a:extLst>
          </p:cNvPr>
          <p:cNvSpPr txBox="1"/>
          <p:nvPr userDrawn="1"/>
        </p:nvSpPr>
        <p:spPr>
          <a:xfrm>
            <a:off x="6386945" y="-429491"/>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a:solidFill>
                <a:srgbClr val="71747C"/>
              </a:solidFill>
            </a:endParaRPr>
          </a:p>
        </p:txBody>
      </p:sp>
      <p:pic>
        <p:nvPicPr>
          <p:cNvPr id="28" name="Picture 27">
            <a:extLst>
              <a:ext uri="{FF2B5EF4-FFF2-40B4-BE49-F238E27FC236}">
                <a16:creationId xmlns:a16="http://schemas.microsoft.com/office/drawing/2014/main" id="{BB31AFA2-F84B-4C73-B796-C99F5C9BB223}"/>
              </a:ext>
            </a:extLst>
          </p:cNvPr>
          <p:cNvPicPr>
            <a:picLocks noChangeAspect="1"/>
          </p:cNvPicPr>
          <p:nvPr userDrawn="1"/>
        </p:nvPicPr>
        <p:blipFill rotWithShape="1">
          <a:blip r:embed="rId9" cstate="screen">
            <a:extLst>
              <a:ext uri="{28A0092B-C50C-407E-A947-70E740481C1C}">
                <a14:useLocalDpi xmlns:a14="http://schemas.microsoft.com/office/drawing/2010/main"/>
              </a:ext>
            </a:extLst>
          </a:blip>
          <a:srcRect/>
          <a:stretch/>
        </p:blipFill>
        <p:spPr bwMode="ltGray">
          <a:xfrm flipV="1">
            <a:off x="5039792" y="0"/>
            <a:ext cx="416951" cy="6858000"/>
          </a:xfrm>
          <a:prstGeom prst="rect">
            <a:avLst/>
          </a:prstGeom>
        </p:spPr>
      </p:pic>
      <p:sp>
        <p:nvSpPr>
          <p:cNvPr id="29" name="Text Placeholder 3">
            <a:extLst>
              <a:ext uri="{FF2B5EF4-FFF2-40B4-BE49-F238E27FC236}">
                <a16:creationId xmlns:a16="http://schemas.microsoft.com/office/drawing/2014/main" id="{F326761C-6DFD-489E-89D3-A9FC05E48BF8}"/>
              </a:ext>
            </a:extLst>
          </p:cNvPr>
          <p:cNvSpPr>
            <a:spLocks noGrp="1"/>
          </p:cNvSpPr>
          <p:nvPr>
            <p:ph type="body" sz="quarter" idx="32"/>
          </p:nvPr>
        </p:nvSpPr>
        <p:spPr>
          <a:xfrm>
            <a:off x="630000" y="1522571"/>
            <a:ext cx="3127880" cy="1495795"/>
          </a:xfrm>
          <a:prstGeom prst="rect">
            <a:avLst/>
          </a:prstGeom>
        </p:spPr>
        <p:txBody>
          <a:bodyPr vert="horz" wrap="square" lIns="0" tIns="0" rIns="0" bIns="0" rtlCol="0" anchor="b" anchorCtr="0">
            <a:noAutofit/>
          </a:bodyPr>
          <a:lstStyle>
            <a:lvl1pPr>
              <a:defRPr lang="en-US" sz="2800" b="0" kern="0" dirty="0">
                <a:solidFill>
                  <a:schemeClr val="bg1"/>
                </a:solidFill>
                <a:latin typeface="Henderson BCG Sans Light" panose="020B0302030402020204" pitchFamily="34" charset="77"/>
                <a:ea typeface="+mj-ea"/>
                <a:cs typeface="Henderson BCG Sans Light" panose="020B0302030402020204" pitchFamily="34" charset="77"/>
              </a:defRPr>
            </a:lvl1pPr>
          </a:lstStyle>
          <a:p>
            <a:pPr lvl="0">
              <a:lnSpc>
                <a:spcPct val="93000"/>
              </a:lnSpc>
              <a:spcBef>
                <a:spcPct val="0"/>
              </a:spcBef>
              <a:buNone/>
            </a:pPr>
            <a:endParaRPr lang="en-US"/>
          </a:p>
        </p:txBody>
      </p:sp>
    </p:spTree>
    <p:extLst>
      <p:ext uri="{BB962C8B-B14F-4D97-AF65-F5344CB8AC3E}">
        <p14:creationId xmlns:p14="http://schemas.microsoft.com/office/powerpoint/2010/main" val="35801017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Beyond layout 59">
    <p:bg>
      <p:bgPr>
        <a:solidFill>
          <a:srgbClr val="EDEDED"/>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465" name="Diapositive think-cell" r:id="rId5" imgW="324" imgH="324" progId="TCLayout.ActiveDocument.1">
                  <p:embed/>
                </p:oleObj>
              </mc:Choice>
              <mc:Fallback>
                <p:oleObj name="Diapositive think-cell" r:id="rId5" imgW="324" imgH="32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7"/>
            <a:ext cx="381000" cy="153888"/>
          </a:xfrm>
          <a:prstGeom prst="rect">
            <a:avLst/>
          </a:prstGeom>
          <a:noFill/>
        </p:spPr>
        <p:txBody>
          <a:bodyPr vert="horz" wrap="square" lIns="0" tIns="0" rIns="0" bIns="0" rtlCol="0" anchor="b" anchorCtr="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0" smtClean="0">
                <a:solidFill>
                  <a:srgbClr val="7F7F7F"/>
                </a:solidFill>
                <a:latin typeface="Henderson BCG Sans Light" panose="020B03020304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0">
              <a:solidFill>
                <a:srgbClr val="7F7F7F"/>
              </a:solidFill>
              <a:latin typeface="Henderson BCG Sans Light" panose="020B0302030402020204" pitchFamily="34" charset="0"/>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21BF61"/>
                </a:solidFill>
                <a:latin typeface="+mj-lt"/>
                <a:sym typeface="Trebuchet MS" panose="020B0603020202020204" pitchFamily="34" charset="0"/>
              </a:defRPr>
            </a:lvl1pPr>
          </a:lstStyle>
          <a:p>
            <a:r>
              <a:rPr lang="en-US"/>
              <a:t>Click to add title</a:t>
            </a: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184727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Beyond layout 60">
    <p:bg>
      <p:bgPr>
        <a:solidFill>
          <a:srgbClr val="F8F8F8"/>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489" name="Diapositive think-cell" r:id="rId5" imgW="352" imgH="355" progId="TCLayout.ActiveDocument.1">
                  <p:embed/>
                </p:oleObj>
              </mc:Choice>
              <mc:Fallback>
                <p:oleObj name="Diapositive think-cell"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4400" b="1">
              <a:solidFill>
                <a:srgbClr val="FFFFFF"/>
              </a:solidFill>
              <a:latin typeface="Henderson BCG Sans" panose="020B0502030402020204" pitchFamily="34" charset="0"/>
              <a:sym typeface="Henderson BCG Sans" panose="020B05020304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kern="0">
              <a:solidFill>
                <a:prstClr val="white"/>
              </a:solidFill>
              <a:sym typeface="+mn-lt"/>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1" kern="0">
                <a:solidFill>
                  <a:srgbClr val="21BF61"/>
                </a:solidFill>
                <a:latin typeface="+mj-lt"/>
                <a:ea typeface="+mj-ea"/>
                <a:cs typeface="+mj-cs"/>
                <a:sym typeface="+mj-lt"/>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kern="0">
                <a:solidFill>
                  <a:schemeClr val="bg1">
                    <a:lumMod val="50000"/>
                  </a:schemeClr>
                </a:solidFill>
                <a:latin typeface="+mn-lt"/>
                <a:ea typeface="+mn-ea"/>
                <a:cs typeface="+mn-cs"/>
                <a:sym typeface="+mn-lt"/>
              </a:defRPr>
            </a:lvl1pPr>
          </a:lstStyle>
          <a:p>
            <a:endParaRPr lang="en-US">
              <a:solidFill>
                <a:prstClr val="white">
                  <a:lumMod val="50000"/>
                </a:prstClr>
              </a:solidFill>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kern="0" smtClean="0">
                <a:solidFill>
                  <a:prstClr val="white">
                    <a:lumMod val="50000"/>
                  </a:prstClr>
                </a:solidFill>
                <a:sym typeface="+mn-lt"/>
              </a:rPr>
              <a:pPr algn="r">
                <a:defRPr/>
              </a:pPr>
              <a:t>‹#›</a:t>
            </a:fld>
            <a:endParaRPr lang="en-US" sz="1000" kern="0">
              <a:solidFill>
                <a:prstClr val="white">
                  <a:lumMod val="50000"/>
                </a:prstClr>
              </a:solidFill>
              <a:sym typeface="+mn-lt"/>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mn-lt"/>
              </a:rPr>
              <a:t>Copyright © 2022 by Boston Consulting Group. All rights reserved.</a:t>
            </a:r>
          </a:p>
        </p:txBody>
      </p:sp>
      <p:pic>
        <p:nvPicPr>
          <p:cNvPr id="9" name="Picture 8"/>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31495804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Beyond layout 61">
    <p:bg>
      <p:bgPr>
        <a:solidFill>
          <a:srgbClr val="EDEDED"/>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70F52D-56AA-429C-B3A4-A8B407B0EC87}"/>
              </a:ext>
            </a:extLst>
          </p:cNvPr>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13" name="Diapositive think-cell" r:id="rId5" imgW="286" imgH="286" progId="TCLayout.ActiveDocument.1">
                  <p:embed/>
                </p:oleObj>
              </mc:Choice>
              <mc:Fallback>
                <p:oleObj name="Diapositive think-cell" r:id="rId5" imgW="286" imgH="286" progId="TCLayout.ActiveDocument.1">
                  <p:embed/>
                  <p:pic>
                    <p:nvPicPr>
                      <p:cNvPr id="3" name="Object 2" hidden="1">
                        <a:extLst>
                          <a:ext uri="{FF2B5EF4-FFF2-40B4-BE49-F238E27FC236}">
                            <a16:creationId xmlns:a16="http://schemas.microsoft.com/office/drawing/2014/main" id="{6D70F52D-56AA-429C-B3A4-A8B407B0EC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p>
        </p:txBody>
      </p:sp>
      <p:sp>
        <p:nvSpPr>
          <p:cNvPr id="14" name="Pentagon 8"/>
          <p:cNvSpPr/>
          <p:nvPr userDrawn="1"/>
        </p:nvSpPr>
        <p:spPr bwMode="white">
          <a:xfrm>
            <a:off x="0" y="0"/>
            <a:ext cx="6363546"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9" name="Freeform 3">
            <a:extLst>
              <a:ext uri="{FF2B5EF4-FFF2-40B4-BE49-F238E27FC236}">
                <a16:creationId xmlns:a16="http://schemas.microsoft.com/office/drawing/2014/main" id="{D4080255-2D95-4632-9292-F1CDAA45B34E}"/>
              </a:ext>
            </a:extLst>
          </p:cNvPr>
          <p:cNvSpPr/>
          <p:nvPr userDrawn="1"/>
        </p:nvSpPr>
        <p:spPr>
          <a:xfrm>
            <a:off x="5525715" y="0"/>
            <a:ext cx="6805748" cy="6858000"/>
          </a:xfrm>
          <a:custGeom>
            <a:avLst/>
            <a:gdLst>
              <a:gd name="connsiteX0" fmla="*/ 0 w 6805748"/>
              <a:gd name="connsiteY0" fmla="*/ 13063 h 6910252"/>
              <a:gd name="connsiteX1" fmla="*/ 836022 w 6805748"/>
              <a:gd name="connsiteY1" fmla="*/ 3448595 h 6910252"/>
              <a:gd name="connsiteX2" fmla="*/ 0 w 6805748"/>
              <a:gd name="connsiteY2" fmla="*/ 6910252 h 6910252"/>
              <a:gd name="connsiteX3" fmla="*/ 6662057 w 6805748"/>
              <a:gd name="connsiteY3" fmla="*/ 6910252 h 6910252"/>
              <a:gd name="connsiteX4" fmla="*/ 6662057 w 6805748"/>
              <a:gd name="connsiteY4" fmla="*/ 0 h 6910252"/>
              <a:gd name="connsiteX5" fmla="*/ 6805748 w 6805748"/>
              <a:gd name="connsiteY5" fmla="*/ 0 h 6910252"/>
              <a:gd name="connsiteX6" fmla="*/ 13062 w 6805748"/>
              <a:gd name="connsiteY6" fmla="*/ 0 h 6910252"/>
              <a:gd name="connsiteX7" fmla="*/ 13062 w 6805748"/>
              <a:gd name="connsiteY7" fmla="*/ 156755 h 6910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05748" h="6910252">
                <a:moveTo>
                  <a:pt x="0" y="13063"/>
                </a:moveTo>
                <a:lnTo>
                  <a:pt x="836022" y="3448595"/>
                </a:lnTo>
                <a:lnTo>
                  <a:pt x="0" y="6910252"/>
                </a:lnTo>
                <a:lnTo>
                  <a:pt x="6662057" y="6910252"/>
                </a:lnTo>
                <a:lnTo>
                  <a:pt x="6662057" y="0"/>
                </a:lnTo>
                <a:lnTo>
                  <a:pt x="6805748" y="0"/>
                </a:lnTo>
                <a:lnTo>
                  <a:pt x="13062" y="0"/>
                </a:lnTo>
                <a:lnTo>
                  <a:pt x="13062" y="156755"/>
                </a:lnTo>
              </a:path>
            </a:pathLst>
          </a:custGeom>
          <a:solidFill>
            <a:srgbClr val="EDEDED"/>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Picture 19">
            <a:extLst>
              <a:ext uri="{FF2B5EF4-FFF2-40B4-BE49-F238E27FC236}">
                <a16:creationId xmlns:a16="http://schemas.microsoft.com/office/drawing/2014/main" id="{33DB56B7-E380-475B-A5CA-77D43AB00578}"/>
              </a:ext>
            </a:extLst>
          </p:cNvPr>
          <p:cNvPicPr>
            <a:picLocks noChangeAspect="1" noChangeArrowheads="1"/>
          </p:cNvPicPr>
          <p:nvPr userDrawn="1"/>
        </p:nvPicPr>
        <p:blipFill>
          <a:blip r:embed="rId7">
            <a:extLst>
              <a:ext uri="{28A0092B-C50C-407E-A947-70E740481C1C}">
                <a14:useLocalDpi xmlns:a14="http://schemas.microsoft.com/office/drawing/2010/main"/>
              </a:ext>
            </a:extLst>
          </a:blip>
          <a:srcRect/>
          <a:stretch>
            <a:fillRect/>
          </a:stretch>
        </p:blipFill>
        <p:spPr bwMode="auto">
          <a:xfrm>
            <a:off x="5373931"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5" name="TextBox 14"/>
          <p:cNvSpPr txBox="1"/>
          <p:nvPr userDrawn="1"/>
        </p:nvSpPr>
        <p:spPr>
          <a:xfrm>
            <a:off x="11167872" y="6405037"/>
            <a:ext cx="381000" cy="153888"/>
          </a:xfrm>
          <a:prstGeom prst="rect">
            <a:avLst/>
          </a:prstGeom>
          <a:noFill/>
        </p:spPr>
        <p:txBody>
          <a:bodyPr vert="horz" wrap="square" lIns="0" tIns="0" rIns="0" bIns="0" rtlCol="0" anchor="b" anchorCtr="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0" smtClean="0">
                <a:solidFill>
                  <a:srgbClr val="7F7F7F"/>
                </a:solidFill>
                <a:latin typeface="Henderson BCG Sans Light" panose="020B03020304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0">
              <a:solidFill>
                <a:srgbClr val="7F7F7F"/>
              </a:solidFill>
              <a:latin typeface="Henderson BCG Sans Light" panose="020B0302030402020204" pitchFamily="34" charset="0"/>
              <a:ea typeface="+mn-ea"/>
              <a:cs typeface="+mn-cs"/>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b" anchorCtr="0">
            <a:noAutofit/>
          </a:bodyPr>
          <a:lstStyle>
            <a:lvl1pPr marL="0" indent="0" algn="l">
              <a:lnSpc>
                <a:spcPct val="93000"/>
              </a:lnSpc>
              <a:spcBef>
                <a:spcPct val="0"/>
              </a:spcBef>
              <a:spcAft>
                <a:spcPts val="0"/>
              </a:spcAft>
              <a:defRPr sz="3400" b="0" i="0" u="none" kern="0" spc="0">
                <a:solidFill>
                  <a:srgbClr val="21BF61"/>
                </a:solidFill>
                <a:latin typeface="+mj-lt"/>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39713568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Beyond layout 62">
    <p:bg>
      <p:bgPr>
        <a:solidFill>
          <a:srgbClr val="F8F8F8"/>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37" name="Diapositive think-cell" r:id="rId5" imgW="352" imgH="355" progId="TCLayout.ActiveDocument.1">
                  <p:embed/>
                </p:oleObj>
              </mc:Choice>
              <mc:Fallback>
                <p:oleObj name="Diapositive think-cell"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400" b="1">
              <a:solidFill>
                <a:srgbClr val="FFFFFF"/>
              </a:solidFill>
              <a:latin typeface="Henderson BCG Sans" panose="020B0502030402020204" pitchFamily="34" charset="0"/>
              <a:sym typeface="Henderson BCG Sans" panose="020B05020304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kern="0">
              <a:solidFill>
                <a:prstClr val="white"/>
              </a:solidFill>
              <a:sym typeface="+mn-lt"/>
            </a:endParaRP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kern="0">
                <a:solidFill>
                  <a:schemeClr val="bg1">
                    <a:lumMod val="50000"/>
                  </a:schemeClr>
                </a:solidFill>
                <a:latin typeface="+mn-lt"/>
                <a:ea typeface="+mn-ea"/>
                <a:cs typeface="+mn-cs"/>
                <a:sym typeface="+mn-lt"/>
              </a:defRPr>
            </a:lvl1pPr>
          </a:lstStyle>
          <a:p>
            <a:endParaRPr lang="en-US">
              <a:solidFill>
                <a:prstClr val="white">
                  <a:lumMod val="50000"/>
                </a:prstClr>
              </a:solidFill>
            </a:endParaRP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kern="0" smtClean="0">
                <a:solidFill>
                  <a:prstClr val="white">
                    <a:lumMod val="50000"/>
                  </a:prstClr>
                </a:solidFill>
                <a:sym typeface="+mn-lt"/>
              </a:rPr>
              <a:pPr algn="r">
                <a:defRPr/>
              </a:pPr>
              <a:t>‹#›</a:t>
            </a:fld>
            <a:endParaRPr lang="en-US" sz="1000" kern="0">
              <a:solidFill>
                <a:prstClr val="white">
                  <a:lumMod val="50000"/>
                </a:prstClr>
              </a:solidFill>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mn-lt"/>
              </a:rPr>
              <a:t>Copyright © 2022 by Boston Consulting Group. All rights reserved.</a:t>
            </a:r>
          </a:p>
        </p:txBody>
      </p:sp>
      <p:pic>
        <p:nvPicPr>
          <p:cNvPr id="9" name="Picture 8"/>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1" name="Title 2">
            <a:extLst>
              <a:ext uri="{FF2B5EF4-FFF2-40B4-BE49-F238E27FC236}">
                <a16:creationId xmlns:a16="http://schemas.microsoft.com/office/drawing/2014/main" id="{209C2727-C167-433F-870D-AFDC0437E9E9}"/>
              </a:ext>
            </a:extLst>
          </p:cNvPr>
          <p:cNvSpPr>
            <a:spLocks noGrp="1"/>
          </p:cNvSpPr>
          <p:nvPr>
            <p:ph type="title" hasCustomPrompt="1"/>
          </p:nvPr>
        </p:nvSpPr>
        <p:spPr>
          <a:xfrm>
            <a:off x="630000" y="622800"/>
            <a:ext cx="4673646" cy="470898"/>
          </a:xfrm>
          <a:prstGeom prst="rect">
            <a:avLst/>
          </a:prstGeom>
        </p:spPr>
        <p:txBody>
          <a:bodyPr vert="horz" wrap="square" lIns="0" tIns="0" rIns="0" bIns="0" anchor="b" anchorCtr="0">
            <a:noAutofit/>
          </a:bodyPr>
          <a:lstStyle>
            <a:lvl1pPr marL="0" indent="0" algn="l">
              <a:lnSpc>
                <a:spcPct val="93000"/>
              </a:lnSpc>
              <a:spcBef>
                <a:spcPct val="0"/>
              </a:spcBef>
              <a:spcAft>
                <a:spcPts val="0"/>
              </a:spcAft>
              <a:defRPr sz="3400" b="0" i="0" u="none" kern="0" spc="0">
                <a:solidFill>
                  <a:srgbClr val="21BF61"/>
                </a:solidFill>
                <a:latin typeface="+mj-lt"/>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30916676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Beyond layout 63">
    <p:bg>
      <p:bgPr>
        <a:solidFill>
          <a:srgbClr val="EDEDED"/>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561" name="Diapositive think-cell" r:id="rId5" imgW="352" imgH="355" progId="TCLayout.ActiveDocument.1">
                  <p:embed/>
                </p:oleObj>
              </mc:Choice>
              <mc:Fallback>
                <p:oleObj name="Diapositive think-cell"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400" b="1">
              <a:solidFill>
                <a:srgbClr val="FFFFFF"/>
              </a:solidFill>
              <a:latin typeface="Henderson BCG Sans" panose="020B0502030402020204" pitchFamily="34" charset="0"/>
              <a:sym typeface="Henderson BCG Sans" panose="020B0502030402020204" pitchFamily="34" charset="0"/>
            </a:endParaRP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kern="0">
                <a:solidFill>
                  <a:schemeClr val="bg1">
                    <a:lumMod val="50000"/>
                  </a:schemeClr>
                </a:solidFill>
                <a:latin typeface="+mn-lt"/>
                <a:ea typeface="+mn-ea"/>
                <a:cs typeface="+mn-cs"/>
                <a:sym typeface="+mn-lt"/>
              </a:defRPr>
            </a:lvl1pPr>
          </a:lstStyle>
          <a:p>
            <a:endParaRPr lang="en-US">
              <a:solidFill>
                <a:prstClr val="white">
                  <a:lumMod val="50000"/>
                </a:prstClr>
              </a:solidFill>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kern="0" smtClean="0">
                <a:solidFill>
                  <a:prstClr val="white">
                    <a:lumMod val="50000"/>
                  </a:prstClr>
                </a:solidFill>
                <a:sym typeface="+mn-lt"/>
              </a:rPr>
              <a:pPr algn="r">
                <a:defRPr/>
              </a:pPr>
              <a:t>‹#›</a:t>
            </a:fld>
            <a:endParaRPr lang="en-US" sz="1000" kern="0">
              <a:solidFill>
                <a:prstClr val="white">
                  <a:lumMod val="50000"/>
                </a:prstClr>
              </a:solidFill>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mn-lt"/>
              </a:rPr>
              <a:t>Copyright © 2022 by Boston Consulting Group. All rights reserved.</a:t>
            </a:r>
          </a:p>
        </p:txBody>
      </p:sp>
      <p:pic>
        <p:nvPicPr>
          <p:cNvPr id="9" name="Picture 8"/>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3" name="Freeform 18">
            <a:extLst>
              <a:ext uri="{FF2B5EF4-FFF2-40B4-BE49-F238E27FC236}">
                <a16:creationId xmlns:a16="http://schemas.microsoft.com/office/drawing/2014/main" id="{2377B12C-2B7B-4918-8C02-69E8853ED3F3}"/>
              </a:ext>
            </a:extLst>
          </p:cNvPr>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pic>
        <p:nvPicPr>
          <p:cNvPr id="15" name="Picture 14">
            <a:extLst>
              <a:ext uri="{FF2B5EF4-FFF2-40B4-BE49-F238E27FC236}">
                <a16:creationId xmlns:a16="http://schemas.microsoft.com/office/drawing/2014/main" id="{BB72F611-68D0-45A9-8A04-FF75B4EF6C0C}"/>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6" name="Title 3">
            <a:extLst>
              <a:ext uri="{FF2B5EF4-FFF2-40B4-BE49-F238E27FC236}">
                <a16:creationId xmlns:a16="http://schemas.microsoft.com/office/drawing/2014/main" id="{66E6B8E7-E6C0-494F-A91D-1626C8FD255C}"/>
              </a:ext>
            </a:extLst>
          </p:cNvPr>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0" spc="0">
                <a:solidFill>
                  <a:srgbClr val="21BF61"/>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2693499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Beyond layout 64">
    <p:bg>
      <p:bgPr>
        <a:solidFill>
          <a:srgbClr val="F8F8F8"/>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585" name="Diapositive think-cell" r:id="rId5" imgW="352" imgH="355" progId="TCLayout.ActiveDocument.1">
                  <p:embed/>
                </p:oleObj>
              </mc:Choice>
              <mc:Fallback>
                <p:oleObj name="Diapositive think-cell"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400" b="1">
              <a:solidFill>
                <a:srgbClr val="FFFFFF"/>
              </a:solidFill>
              <a:latin typeface="Henderson BCG Sans" panose="020B0502030402020204" pitchFamily="34" charset="0"/>
              <a:sym typeface="Henderson BCG Sans" panose="020B05020304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kern="0">
              <a:solidFill>
                <a:prstClr val="white"/>
              </a:solidFill>
              <a:sym typeface="+mn-lt"/>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0" spc="0">
                <a:solidFill>
                  <a:srgbClr val="21BF61"/>
                </a:solidFill>
                <a:latin typeface="+mj-lt"/>
                <a:ea typeface="+mj-ea"/>
                <a:cs typeface="+mj-cs"/>
                <a:sym typeface="+mj-lt"/>
              </a:defRPr>
            </a:lvl1pPr>
          </a:lstStyle>
          <a:p>
            <a:pPr lvl="0"/>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kern="0">
                <a:solidFill>
                  <a:schemeClr val="bg1">
                    <a:lumMod val="50000"/>
                  </a:schemeClr>
                </a:solidFill>
                <a:latin typeface="+mn-lt"/>
                <a:ea typeface="+mn-ea"/>
                <a:cs typeface="+mn-cs"/>
                <a:sym typeface="+mn-lt"/>
              </a:defRPr>
            </a:lvl1pPr>
          </a:lstStyle>
          <a:p>
            <a:endParaRPr lang="en-US">
              <a:solidFill>
                <a:prstClr val="white">
                  <a:lumMod val="50000"/>
                </a:prstClr>
              </a:solidFill>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kern="0" smtClean="0">
                <a:solidFill>
                  <a:prstClr val="white">
                    <a:lumMod val="50000"/>
                  </a:prstClr>
                </a:solidFill>
                <a:sym typeface="+mn-lt"/>
              </a:rPr>
              <a:pPr algn="r">
                <a:defRPr/>
              </a:pPr>
              <a:t>‹#›</a:t>
            </a:fld>
            <a:endParaRPr lang="en-US" sz="1000" kern="0">
              <a:solidFill>
                <a:prstClr val="white">
                  <a:lumMod val="50000"/>
                </a:prstClr>
              </a:solidFill>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mn-lt"/>
              </a:rPr>
              <a:t>Copyright © 2022 by Boston Consulting Group. All rights reserved.</a:t>
            </a:r>
          </a:p>
        </p:txBody>
      </p:sp>
      <p:pic>
        <p:nvPicPr>
          <p:cNvPr id="9" name="Picture 8"/>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835887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Beyond layout 65">
    <p:bg>
      <p:bgPr>
        <a:solidFill>
          <a:srgbClr val="EDEDED"/>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09" name="Diapositive think-cell" r:id="rId5" imgW="352" imgH="355" progId="TCLayout.ActiveDocument.1">
                  <p:embed/>
                </p:oleObj>
              </mc:Choice>
              <mc:Fallback>
                <p:oleObj name="Diapositive think-cell" r:id="rId5" imgW="352" imgH="355"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5400">
              <a:solidFill>
                <a:srgbClr val="FFFFFF"/>
              </a:solidFill>
              <a:latin typeface="Henderson BCG Sans" panose="020B0502030402020204" pitchFamily="34" charset="0"/>
              <a:sym typeface="Henderson BCG Sans" panose="020B0502030402020204" pitchFamily="34" charset="0"/>
            </a:endParaRPr>
          </a:p>
        </p:txBody>
      </p:sp>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kern="0" smtClean="0">
                <a:solidFill>
                  <a:prstClr val="white"/>
                </a:solidFill>
                <a:sym typeface="+mn-lt"/>
              </a:rPr>
              <a:pPr algn="r">
                <a:defRPr/>
              </a:pPr>
              <a:t>‹#›</a:t>
            </a:fld>
            <a:endParaRPr lang="en-US" sz="1000" kern="0">
              <a:solidFill>
                <a:prstClr val="white"/>
              </a:solidFill>
              <a:sym typeface="+mn-lt"/>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kern="0">
                <a:solidFill>
                  <a:schemeClr val="bg1"/>
                </a:solidFill>
                <a:latin typeface="+mn-lt"/>
                <a:ea typeface="+mn-ea"/>
                <a:cs typeface="+mn-cs"/>
                <a:sym typeface="+mn-lt"/>
              </a:defRPr>
            </a:lvl1pPr>
          </a:lstStyle>
          <a:p>
            <a:endParaRPr lang="en-US">
              <a:solidFill>
                <a:prstClr val="white"/>
              </a:solidFill>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mn-lt"/>
              </a:rPr>
              <a:t>Copyright © 2022 by Boston Consulting Group. All rights reserved.</a:t>
            </a:r>
          </a:p>
        </p:txBody>
      </p:sp>
      <p:sp>
        <p:nvSpPr>
          <p:cNvPr id="8"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0" baseline="0" dirty="0">
                <a:solidFill>
                  <a:srgbClr val="21BF61"/>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112274192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eyond layout 66">
    <p:bg>
      <p:bgPr>
        <a:solidFill>
          <a:schemeClr val="bg2"/>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633" name="Diapositive think-cell" r:id="rId5" imgW="286" imgH="286" progId="TCLayout.ActiveDocument.1">
                  <p:embed/>
                </p:oleObj>
              </mc:Choice>
              <mc:Fallback>
                <p:oleObj name="Diapositive think-cell" r:id="rId5" imgW="286" imgH="286"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58750" cy="158750"/>
          </a:xfrm>
          <a:prstGeom prst="rect">
            <a:avLst/>
          </a:prstGeom>
          <a:solidFill>
            <a:srgbClr val="42465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a:solidFill>
                <a:srgbClr val="FFFFFF"/>
              </a:solidFill>
              <a:latin typeface="Henderson BCG Sans Light" panose="020B0302030402020204" pitchFamily="34" charset="0"/>
              <a:ea typeface="+mj-ea"/>
              <a:cs typeface="+mj-cs"/>
              <a:sym typeface="Henderson BCG Sans Light" panose="020B0302030402020204" pitchFamily="34" charset="0"/>
            </a:endParaRPr>
          </a:p>
        </p:txBody>
      </p:sp>
      <p:sp>
        <p:nvSpPr>
          <p:cNvPr id="3" name="Date Placeholder 2"/>
          <p:cNvSpPr>
            <a:spLocks noGrp="1"/>
          </p:cNvSpPr>
          <p:nvPr>
            <p:ph type="dt" sz="half" idx="10"/>
          </p:nvPr>
        </p:nvSpPr>
        <p:spPr>
          <a:xfrm>
            <a:off x="9550400" y="14063136"/>
            <a:ext cx="1482051" cy="153888"/>
          </a:xfrm>
        </p:spPr>
        <p:txBody>
          <a:bodyPr/>
          <a:lstStyle/>
          <a:p>
            <a:endParaRPr lang="en-US">
              <a:solidFill>
                <a:prstClr val="white">
                  <a:lumMod val="50000"/>
                </a:prstClr>
              </a:solidFill>
            </a:endParaRPr>
          </a:p>
        </p:txBody>
      </p:sp>
      <p:sp>
        <p:nvSpPr>
          <p:cNvPr id="5" name="Title 7"/>
          <p:cNvSpPr>
            <a:spLocks noGrp="1"/>
          </p:cNvSpPr>
          <p:nvPr>
            <p:ph type="title" hasCustomPrompt="1"/>
          </p:nvPr>
        </p:nvSpPr>
        <p:spPr>
          <a:xfrm>
            <a:off x="641023" y="2081213"/>
            <a:ext cx="3230890" cy="4473688"/>
          </a:xfrm>
        </p:spPr>
        <p:txBody>
          <a:bodyPr>
            <a:noAutofit/>
          </a:bodyPr>
          <a:lstStyle>
            <a:lvl1pPr>
              <a:defRPr sz="3400" b="0" kern="0">
                <a:latin typeface="+mn-lt"/>
                <a:ea typeface="+mj-ea"/>
                <a:cs typeface="+mj-cs"/>
                <a:sym typeface="+mj-lt"/>
              </a:defRPr>
            </a:lvl1pPr>
          </a:lstStyle>
          <a:p>
            <a:r>
              <a:rPr lang="en-US"/>
              <a:t>Click to add title</a:t>
            </a:r>
          </a:p>
        </p:txBody>
      </p:sp>
      <p:sp>
        <p:nvSpPr>
          <p:cNvPr id="4" name="Text Placeholder 3"/>
          <p:cNvSpPr>
            <a:spLocks noGrp="1"/>
          </p:cNvSpPr>
          <p:nvPr>
            <p:ph type="body" sz="quarter" idx="12" hasCustomPrompt="1"/>
          </p:nvPr>
        </p:nvSpPr>
        <p:spPr>
          <a:xfrm>
            <a:off x="641023" y="593890"/>
            <a:ext cx="631595" cy="1117229"/>
          </a:xfrm>
        </p:spPr>
        <p:txBody>
          <a:bodyPr wrap="none">
            <a:noAutofit/>
          </a:bodyPr>
          <a:lstStyle>
            <a:lvl1pPr marL="0" algn="ctr" defTabSz="914400" rtl="0" eaLnBrk="1" latinLnBrk="0" hangingPunct="1">
              <a:defRPr lang="en-US" sz="6600" b="1" kern="0" dirty="0">
                <a:solidFill>
                  <a:srgbClr val="21BF61"/>
                </a:solidFill>
                <a:latin typeface="Henderson BCG Sans" panose="020B0502030402020204" pitchFamily="34" charset="0"/>
                <a:ea typeface="+mn-ea"/>
                <a:cs typeface="Henderson BCG Sans" panose="020B0502030402020204" pitchFamily="34" charset="0"/>
              </a:defRPr>
            </a:lvl1pPr>
          </a:lstStyle>
          <a:p>
            <a:pPr lvl="0"/>
            <a:r>
              <a:rPr lang="en-US"/>
              <a:t>#</a:t>
            </a:r>
          </a:p>
        </p:txBody>
      </p:sp>
      <p:pic>
        <p:nvPicPr>
          <p:cNvPr id="14" name="Picture 13"/>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bwMode="ltGray">
          <a:xfrm flipH="1">
            <a:off x="5689582" y="0"/>
            <a:ext cx="416951" cy="6858000"/>
          </a:xfrm>
          <a:prstGeom prst="rect">
            <a:avLst/>
          </a:prstGeom>
        </p:spPr>
      </p:pic>
      <p:sp>
        <p:nvSpPr>
          <p:cNvPr id="15" name="Rectangle 14"/>
          <p:cNvSpPr/>
          <p:nvPr userDrawn="1"/>
        </p:nvSpPr>
        <p:spPr>
          <a:xfrm>
            <a:off x="6096000" y="0"/>
            <a:ext cx="6096000" cy="6858000"/>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kern="0">
              <a:solidFill>
                <a:prstClr val="white"/>
              </a:solidFill>
              <a:sym typeface="+mn-lt"/>
            </a:endParaRPr>
          </a:p>
        </p:txBody>
      </p:sp>
      <p:sp>
        <p:nvSpPr>
          <p:cNvPr id="16"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kern="0" baseline="0">
                <a:latin typeface="+mn-lt"/>
                <a:ea typeface="+mn-ea"/>
                <a:cs typeface="+mn-cs"/>
                <a:sym typeface="+mn-lt"/>
              </a:defRPr>
            </a:lvl1pPr>
          </a:lstStyle>
          <a:p>
            <a:r>
              <a:rPr lang="en-US"/>
              <a:t>Click icon below to insert an image or remove this placeholder to use the whitespace in another way</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kern="0" smtClean="0">
                <a:solidFill>
                  <a:prstClr val="white">
                    <a:lumMod val="50000"/>
                  </a:prstClr>
                </a:solidFill>
                <a:sym typeface="+mn-lt"/>
              </a:rPr>
              <a:pPr algn="r">
                <a:defRPr/>
              </a:pPr>
              <a:t>‹#›</a:t>
            </a:fld>
            <a:endParaRPr lang="en-US" sz="800" kern="0">
              <a:solidFill>
                <a:prstClr val="white">
                  <a:lumMod val="50000"/>
                </a:prstClr>
              </a:solidFill>
              <a:sym typeface="+mn-lt"/>
            </a:endParaRPr>
          </a:p>
        </p:txBody>
      </p:sp>
    </p:spTree>
    <p:extLst>
      <p:ext uri="{BB962C8B-B14F-4D97-AF65-F5344CB8AC3E}">
        <p14:creationId xmlns:p14="http://schemas.microsoft.com/office/powerpoint/2010/main" val="22254906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Beyond layout 67">
    <p:bg>
      <p:bgPr>
        <a:solidFill>
          <a:srgbClr val="EDEDED"/>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0657" name="Diapositive think-cell" r:id="rId4" imgW="324" imgH="324" progId="TCLayout.ActiveDocument.1">
                  <p:embed/>
                </p:oleObj>
              </mc:Choice>
              <mc:Fallback>
                <p:oleObj name="Diapositive think-cell" r:id="rId4" imgW="324" imgH="32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F8F8F8"/>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sym typeface="Trebuchet MS" panose="020B0603020202020204" pitchFamily="34" charset="0"/>
            </a:endParaRPr>
          </a:p>
        </p:txBody>
      </p:sp>
      <p:sp>
        <p:nvSpPr>
          <p:cNvPr id="10" name="TextBox 9">
            <a:extLst>
              <a:ext uri="{FF2B5EF4-FFF2-40B4-BE49-F238E27FC236}">
                <a16:creationId xmlns:a16="http://schemas.microsoft.com/office/drawing/2014/main" id="{2E29B6EC-AE4A-4771-B039-3685DE664F4B}"/>
              </a:ext>
            </a:extLst>
          </p:cNvPr>
          <p:cNvSpPr txBox="1"/>
          <p:nvPr userDrawn="1"/>
        </p:nvSpPr>
        <p:spPr bwMode="white">
          <a:xfrm>
            <a:off x="11167872" y="6405037"/>
            <a:ext cx="381000" cy="153888"/>
          </a:xfrm>
          <a:prstGeom prst="rect">
            <a:avLst/>
          </a:prstGeom>
          <a:noFill/>
        </p:spPr>
        <p:txBody>
          <a:bodyPr vert="horz" wrap="square" lIns="0" tIns="0" rIns="0" bIns="0" rtlCol="0" anchor="b" anchorCtr="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0" smtClean="0">
                <a:solidFill>
                  <a:srgbClr val="7F7F7F"/>
                </a:solidFill>
                <a:latin typeface="Henderson BCG Sans Light" panose="020B03020304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0">
              <a:solidFill>
                <a:srgbClr val="7F7F7F"/>
              </a:solidFill>
              <a:latin typeface="Henderson BCG Sans Light" panose="020B0302030402020204" pitchFamily="34" charset="0"/>
              <a:ea typeface="+mn-ea"/>
              <a:cs typeface="+mn-cs"/>
              <a:sym typeface="Trebuchet MS" panose="020B0603020202020204" pitchFamily="34" charset="0"/>
            </a:endParaRPr>
          </a:p>
        </p:txBody>
      </p:sp>
    </p:spTree>
    <p:extLst>
      <p:ext uri="{BB962C8B-B14F-4D97-AF65-F5344CB8AC3E}">
        <p14:creationId xmlns:p14="http://schemas.microsoft.com/office/powerpoint/2010/main" val="153011653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Beyond layout 68">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CBB02ED-30FF-4234-8DEC-CE832C1833CE}"/>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81" name="Diapositive think-cell" r:id="rId4" imgW="286" imgH="286" progId="TCLayout.ActiveDocument.1">
                  <p:embed/>
                </p:oleObj>
              </mc:Choice>
              <mc:Fallback>
                <p:oleObj name="Diapositive think-cell" r:id="rId4" imgW="286" imgH="286" progId="TCLayout.ActiveDocument.1">
                  <p:embed/>
                  <p:pic>
                    <p:nvPicPr>
                      <p:cNvPr id="6" name="Object 5" hidden="1">
                        <a:extLst>
                          <a:ext uri="{FF2B5EF4-FFF2-40B4-BE49-F238E27FC236}">
                            <a16:creationId xmlns:a16="http://schemas.microsoft.com/office/drawing/2014/main" id="{5CBB02ED-30FF-4234-8DEC-CE832C1833C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p>
        </p:txBody>
      </p:sp>
      <p:pic>
        <p:nvPicPr>
          <p:cNvPr id="7" name="Picture 6">
            <a:extLst>
              <a:ext uri="{FF2B5EF4-FFF2-40B4-BE49-F238E27FC236}">
                <a16:creationId xmlns:a16="http://schemas.microsoft.com/office/drawing/2014/main" id="{21FC09CF-31C8-4069-8493-ED2171DB5097}"/>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8" name="Picture 7">
            <a:extLst>
              <a:ext uri="{FF2B5EF4-FFF2-40B4-BE49-F238E27FC236}">
                <a16:creationId xmlns:a16="http://schemas.microsoft.com/office/drawing/2014/main" id="{3831ACB0-9313-46D8-B361-9953098C6413}"/>
              </a:ext>
            </a:extLst>
          </p:cNvPr>
          <p:cNvPicPr>
            <a:picLocks noChangeAspect="1"/>
          </p:cNvPicPr>
          <p:nvPr userDrawn="1"/>
        </p:nvPicPr>
        <p:blipFill>
          <a:blip r:embed="rId7"/>
          <a:srcRect/>
          <a:stretch/>
        </p:blipFill>
        <p:spPr>
          <a:xfrm>
            <a:off x="1229212" y="2062932"/>
            <a:ext cx="716583" cy="470898"/>
          </a:xfrm>
          <a:prstGeom prst="rect">
            <a:avLst/>
          </a:prstGeom>
        </p:spPr>
      </p:pic>
      <p:sp>
        <p:nvSpPr>
          <p:cNvPr id="9" name="Rectangle 8">
            <a:extLst>
              <a:ext uri="{FF2B5EF4-FFF2-40B4-BE49-F238E27FC236}">
                <a16:creationId xmlns:a16="http://schemas.microsoft.com/office/drawing/2014/main" id="{62217998-77F8-44FA-8C98-B7EED202AF21}"/>
              </a:ext>
            </a:extLst>
          </p:cNvPr>
          <p:cNvSpPr/>
          <p:nvPr userDrawn="1"/>
        </p:nvSpPr>
        <p:spPr>
          <a:xfrm>
            <a:off x="8673086" y="3278412"/>
            <a:ext cx="3098569" cy="3151992"/>
          </a:xfrm>
          <a:prstGeom prst="rect">
            <a:avLst/>
          </a:prstGeom>
          <a:solidFill>
            <a:schemeClr val="bg1"/>
          </a:solidFill>
          <a:ln w="9525" cap="rnd" cmpd="sng" algn="ctr">
            <a:noFill/>
            <a:prstDash val="solid"/>
            <a:round/>
            <a:headEnd type="none" w="med" len="med"/>
            <a:tailEnd type="none" w="med" len="med"/>
          </a:ln>
          <a:effectLst>
            <a:outerShdw blurRad="146485" dist="21160" dir="2700000" algn="tl" rotWithShape="0">
              <a:srgbClr val="237A56">
                <a:alpha val="16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10" name="Rectangle 9">
            <a:extLst>
              <a:ext uri="{FF2B5EF4-FFF2-40B4-BE49-F238E27FC236}">
                <a16:creationId xmlns:a16="http://schemas.microsoft.com/office/drawing/2014/main" id="{F67FF4DA-FE16-4DF2-AE09-C8EDB8DA770B}"/>
              </a:ext>
            </a:extLst>
          </p:cNvPr>
          <p:cNvSpPr/>
          <p:nvPr userDrawn="1"/>
        </p:nvSpPr>
        <p:spPr>
          <a:xfrm>
            <a:off x="8948987" y="3559070"/>
            <a:ext cx="2546767" cy="2590676"/>
          </a:xfrm>
          <a:prstGeom prst="rect">
            <a:avLst/>
          </a:prstGeom>
          <a:solidFill>
            <a:srgbClr val="EDEDED"/>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12" name="TextBox 11">
            <a:extLst>
              <a:ext uri="{FF2B5EF4-FFF2-40B4-BE49-F238E27FC236}">
                <a16:creationId xmlns:a16="http://schemas.microsoft.com/office/drawing/2014/main" id="{ADA4AAAC-170B-49BD-9A0B-8DE0DE705057}"/>
              </a:ext>
            </a:extLst>
          </p:cNvPr>
          <p:cNvSpPr txBox="1"/>
          <p:nvPr userDrawn="1"/>
        </p:nvSpPr>
        <p:spPr>
          <a:xfrm>
            <a:off x="9543497" y="4250917"/>
            <a:ext cx="1357746" cy="120698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solidFill>
                  <a:srgbClr val="71747C"/>
                </a:solidFill>
              </a:rPr>
              <a:t>Click to add picture</a:t>
            </a:r>
          </a:p>
        </p:txBody>
      </p:sp>
      <p:sp>
        <p:nvSpPr>
          <p:cNvPr id="4" name="Title 3"/>
          <p:cNvSpPr>
            <a:spLocks noGrp="1"/>
          </p:cNvSpPr>
          <p:nvPr>
            <p:ph type="title" hasCustomPrompt="1"/>
          </p:nvPr>
        </p:nvSpPr>
        <p:spPr>
          <a:xfrm>
            <a:off x="1227908" y="2807514"/>
            <a:ext cx="7024833" cy="470898"/>
          </a:xfrm>
          <a:prstGeom prst="rect">
            <a:avLst/>
          </a:prstGeom>
        </p:spPr>
        <p:txBody>
          <a:bodyPr vert="horz" wrap="square" lIns="0" tIns="0" rIns="0" bIns="0" anchor="b" anchorCtr="0">
            <a:noAutofit/>
          </a:bodyPr>
          <a:lstStyle>
            <a:lvl1pPr>
              <a:defRPr sz="3400">
                <a:solidFill>
                  <a:srgbClr val="21BF61"/>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222906592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Beyond layout 6">
    <p:bg>
      <p:bgPr>
        <a:solidFill>
          <a:srgbClr val="EDEDED"/>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3" name="Diapositive think-cell" r:id="rId6" imgW="352" imgH="355" progId="TCLayout.ActiveDocument.1">
                  <p:embed/>
                </p:oleObj>
              </mc:Choice>
              <mc:Fallback>
                <p:oleObj name="Diapositive think-cell" r:id="rId6" imgW="352" imgH="355"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Henderson BCG Sans" panose="020B0502030402020204" pitchFamily="34" charset="0"/>
              <a:ea typeface="+mj-ea"/>
              <a:cs typeface="+mj-cs"/>
              <a:sym typeface="Henderson BCG Sans" panose="020B0502030402020204" pitchFamily="34" charset="0"/>
            </a:endParaRPr>
          </a:p>
        </p:txBody>
      </p:sp>
      <p:pic>
        <p:nvPicPr>
          <p:cNvPr id="10" name="Picture 9"/>
          <p:cNvPicPr>
            <a:picLocks noChangeAspect="1"/>
          </p:cNvPicPr>
          <p:nvPr userDrawn="1"/>
        </p:nvPicPr>
        <p:blipFill rotWithShape="1">
          <a:blip r:embed="rId8" cstate="screen">
            <a:extLst>
              <a:ext uri="{28A0092B-C50C-407E-A947-70E740481C1C}">
                <a14:useLocalDpi xmlns:a14="http://schemas.microsoft.com/office/drawing/2010/main"/>
              </a:ext>
            </a:extLst>
          </a:blip>
          <a:srcRect/>
          <a:stretch/>
        </p:blipFill>
        <p:spPr bwMode="ltGray">
          <a:xfrm flipV="1">
            <a:off x="7165606" y="0"/>
            <a:ext cx="416951" cy="6858000"/>
          </a:xfrm>
          <a:prstGeom prst="rect">
            <a:avLst/>
          </a:prstGeom>
        </p:spPr>
      </p:pic>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solidFill>
                <a:prstClr val="white"/>
              </a:solidFill>
            </a:endParaRPr>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mn-lt"/>
              </a:rPr>
              <a:t>Copyright © 2022 by Boston Consulting Group.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mn-lt"/>
              </a:rPr>
              <a:pPr algn="r">
                <a:defRPr/>
              </a:pPr>
              <a:t>‹#›</a:t>
            </a:fld>
            <a:endParaRPr lang="en-US" sz="1000">
              <a:solidFill>
                <a:prstClr val="white"/>
              </a:solidFill>
              <a:sym typeface="+mn-lt"/>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0" spc="0">
                <a:solidFill>
                  <a:srgbClr val="21BF61"/>
                </a:solidFill>
                <a:latin typeface="+mj-lt"/>
                <a:ea typeface="+mj-ea"/>
                <a:cs typeface="+mj-cs"/>
                <a:sym typeface="+mj-lt"/>
              </a:defRPr>
            </a:lvl1pPr>
          </a:lstStyle>
          <a:p>
            <a:pPr lvl="0"/>
            <a:r>
              <a:rPr lang="en-US"/>
              <a:t>Click to add title</a:t>
            </a:r>
          </a:p>
        </p:txBody>
      </p:sp>
      <p:pic>
        <p:nvPicPr>
          <p:cNvPr id="11" name="Picture 10">
            <a:extLst>
              <a:ext uri="{FF2B5EF4-FFF2-40B4-BE49-F238E27FC236}">
                <a16:creationId xmlns:a16="http://schemas.microsoft.com/office/drawing/2014/main" id="{D6873714-4639-4B26-AF5F-B1595DC93D07}"/>
              </a:ext>
            </a:extLst>
          </p:cNvPr>
          <p:cNvPicPr>
            <a:picLocks noChangeAspect="1"/>
          </p:cNvPicPr>
          <p:nvPr userDrawn="1"/>
        </p:nvPicPr>
        <p:blipFill rotWithShape="1">
          <a:blip r:embed="rId9" cstate="screen">
            <a:extLst>
              <a:ext uri="{28A0092B-C50C-407E-A947-70E740481C1C}">
                <a14:useLocalDpi xmlns:a14="http://schemas.microsoft.com/office/drawing/2010/main"/>
              </a:ext>
            </a:extLst>
          </a:blip>
          <a:srcRect/>
          <a:stretch/>
        </p:blipFill>
        <p:spPr>
          <a:xfrm>
            <a:off x="7165606" y="0"/>
            <a:ext cx="5051594" cy="6858000"/>
          </a:xfrm>
          <a:prstGeom prst="rect">
            <a:avLst/>
          </a:prstGeom>
        </p:spPr>
      </p:pic>
      <p:pic>
        <p:nvPicPr>
          <p:cNvPr id="12" name="Picture 11">
            <a:extLst>
              <a:ext uri="{FF2B5EF4-FFF2-40B4-BE49-F238E27FC236}">
                <a16:creationId xmlns:a16="http://schemas.microsoft.com/office/drawing/2014/main" id="{CFE1916E-4666-4129-AF95-22BE027A14C7}"/>
              </a:ext>
            </a:extLst>
          </p:cNvPr>
          <p:cNvPicPr>
            <a:picLocks noChangeAspect="1"/>
          </p:cNvPicPr>
          <p:nvPr userDrawn="1"/>
        </p:nvPicPr>
        <p:blipFill rotWithShape="1">
          <a:blip r:embed="rId8" cstate="screen">
            <a:extLst>
              <a:ext uri="{28A0092B-C50C-407E-A947-70E740481C1C}">
                <a14:useLocalDpi xmlns:a14="http://schemas.microsoft.com/office/drawing/2010/main"/>
              </a:ext>
            </a:extLst>
          </a:blip>
          <a:srcRect/>
          <a:stretch/>
        </p:blipFill>
        <p:spPr bwMode="ltGray">
          <a:xfrm flipH="1" flipV="1">
            <a:off x="6748655" y="0"/>
            <a:ext cx="416951" cy="6858000"/>
          </a:xfrm>
          <a:prstGeom prst="rect">
            <a:avLst/>
          </a:prstGeom>
        </p:spPr>
      </p:pic>
    </p:spTree>
    <p:extLst>
      <p:ext uri="{BB962C8B-B14F-4D97-AF65-F5344CB8AC3E}">
        <p14:creationId xmlns:p14="http://schemas.microsoft.com/office/powerpoint/2010/main" val="40258594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Beyond layout 69">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CBB02ED-30FF-4234-8DEC-CE832C1833CE}"/>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05" name="Diapositive think-cell" r:id="rId4" imgW="286" imgH="286" progId="TCLayout.ActiveDocument.1">
                  <p:embed/>
                </p:oleObj>
              </mc:Choice>
              <mc:Fallback>
                <p:oleObj name="Diapositive think-cell" r:id="rId4" imgW="286" imgH="286" progId="TCLayout.ActiveDocument.1">
                  <p:embed/>
                  <p:pic>
                    <p:nvPicPr>
                      <p:cNvPr id="6" name="Object 5" hidden="1">
                        <a:extLst>
                          <a:ext uri="{FF2B5EF4-FFF2-40B4-BE49-F238E27FC236}">
                            <a16:creationId xmlns:a16="http://schemas.microsoft.com/office/drawing/2014/main" id="{5CBB02ED-30FF-4234-8DEC-CE832C1833C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3" name="Picture 12">
            <a:extLst>
              <a:ext uri="{FF2B5EF4-FFF2-40B4-BE49-F238E27FC236}">
                <a16:creationId xmlns:a16="http://schemas.microsoft.com/office/drawing/2014/main" id="{1C8D3259-1C1D-48DF-A258-96D3AC56A60E}"/>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p>
        </p:txBody>
      </p:sp>
      <p:sp>
        <p:nvSpPr>
          <p:cNvPr id="9" name="Rectangle 8">
            <a:extLst>
              <a:ext uri="{FF2B5EF4-FFF2-40B4-BE49-F238E27FC236}">
                <a16:creationId xmlns:a16="http://schemas.microsoft.com/office/drawing/2014/main" id="{62217998-77F8-44FA-8C98-B7EED202AF21}"/>
              </a:ext>
            </a:extLst>
          </p:cNvPr>
          <p:cNvSpPr/>
          <p:nvPr userDrawn="1"/>
        </p:nvSpPr>
        <p:spPr>
          <a:xfrm>
            <a:off x="8673086" y="3278412"/>
            <a:ext cx="3098569" cy="3151992"/>
          </a:xfrm>
          <a:prstGeom prst="rect">
            <a:avLst/>
          </a:prstGeom>
          <a:solidFill>
            <a:schemeClr val="bg1"/>
          </a:solidFill>
          <a:ln w="9525" cap="rnd" cmpd="sng" algn="ctr">
            <a:noFill/>
            <a:prstDash val="solid"/>
            <a:round/>
            <a:headEnd type="none" w="med" len="med"/>
            <a:tailEnd type="none" w="med" len="med"/>
          </a:ln>
          <a:effectLst>
            <a:outerShdw blurRad="146485" dist="21160" dir="2700000" algn="tl" rotWithShape="0">
              <a:srgbClr val="237A56">
                <a:alpha val="16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10" name="Rectangle 9">
            <a:extLst>
              <a:ext uri="{FF2B5EF4-FFF2-40B4-BE49-F238E27FC236}">
                <a16:creationId xmlns:a16="http://schemas.microsoft.com/office/drawing/2014/main" id="{F67FF4DA-FE16-4DF2-AE09-C8EDB8DA770B}"/>
              </a:ext>
            </a:extLst>
          </p:cNvPr>
          <p:cNvSpPr/>
          <p:nvPr userDrawn="1"/>
        </p:nvSpPr>
        <p:spPr>
          <a:xfrm>
            <a:off x="8948987" y="3559070"/>
            <a:ext cx="2546767" cy="2590676"/>
          </a:xfrm>
          <a:prstGeom prst="rect">
            <a:avLst/>
          </a:prstGeom>
          <a:solidFill>
            <a:srgbClr val="EDEDED"/>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12" name="TextBox 11">
            <a:extLst>
              <a:ext uri="{FF2B5EF4-FFF2-40B4-BE49-F238E27FC236}">
                <a16:creationId xmlns:a16="http://schemas.microsoft.com/office/drawing/2014/main" id="{ADA4AAAC-170B-49BD-9A0B-8DE0DE705057}"/>
              </a:ext>
            </a:extLst>
          </p:cNvPr>
          <p:cNvSpPr txBox="1"/>
          <p:nvPr userDrawn="1"/>
        </p:nvSpPr>
        <p:spPr>
          <a:xfrm>
            <a:off x="9543497" y="4250917"/>
            <a:ext cx="1357746" cy="120698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solidFill>
                  <a:srgbClr val="71747C"/>
                </a:solidFill>
              </a:rPr>
              <a:t>Click to add picture</a:t>
            </a:r>
          </a:p>
        </p:txBody>
      </p:sp>
      <p:sp>
        <p:nvSpPr>
          <p:cNvPr id="4" name="Title 3"/>
          <p:cNvSpPr>
            <a:spLocks noGrp="1"/>
          </p:cNvSpPr>
          <p:nvPr>
            <p:ph type="title" hasCustomPrompt="1"/>
          </p:nvPr>
        </p:nvSpPr>
        <p:spPr>
          <a:xfrm>
            <a:off x="1227908" y="2807514"/>
            <a:ext cx="7024833" cy="470898"/>
          </a:xfrm>
          <a:prstGeom prst="rect">
            <a:avLst/>
          </a:prstGeom>
        </p:spPr>
        <p:txBody>
          <a:bodyPr vert="horz" wrap="square" lIns="0" tIns="0" rIns="0" bIns="0" anchor="b" anchorCtr="0">
            <a:noAutofit/>
          </a:bodyPr>
          <a:lstStyle>
            <a:lvl1pPr>
              <a:defRPr sz="3400">
                <a:solidFill>
                  <a:srgbClr val="FFFFFF"/>
                </a:solidFill>
                <a:latin typeface="+mj-lt"/>
                <a:sym typeface="Trebuchet MS" panose="020B0603020202020204" pitchFamily="34" charset="0"/>
              </a:defRPr>
            </a:lvl1pPr>
          </a:lstStyle>
          <a:p>
            <a:r>
              <a:rPr lang="en-US"/>
              <a:t>Click to add title</a:t>
            </a:r>
          </a:p>
        </p:txBody>
      </p:sp>
      <p:pic>
        <p:nvPicPr>
          <p:cNvPr id="14" name="Picture 13">
            <a:extLst>
              <a:ext uri="{FF2B5EF4-FFF2-40B4-BE49-F238E27FC236}">
                <a16:creationId xmlns:a16="http://schemas.microsoft.com/office/drawing/2014/main" id="{63935992-B642-4274-B080-B27A4438FEDF}"/>
              </a:ext>
            </a:extLst>
          </p:cNvPr>
          <p:cNvPicPr>
            <a:picLocks noChangeAspect="1"/>
          </p:cNvPicPr>
          <p:nvPr userDrawn="1"/>
        </p:nvPicPr>
        <p:blipFill>
          <a:blip r:embed="rId7"/>
          <a:srcRect/>
          <a:stretch/>
        </p:blipFill>
        <p:spPr>
          <a:xfrm>
            <a:off x="1229212" y="2062932"/>
            <a:ext cx="716583" cy="470898"/>
          </a:xfrm>
          <a:prstGeom prst="rect">
            <a:avLst/>
          </a:prstGeom>
        </p:spPr>
      </p:pic>
    </p:spTree>
    <p:extLst>
      <p:ext uri="{BB962C8B-B14F-4D97-AF65-F5344CB8AC3E}">
        <p14:creationId xmlns:p14="http://schemas.microsoft.com/office/powerpoint/2010/main" val="151662493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Beyond layout 70">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CBB02ED-30FF-4234-8DEC-CE832C1833CE}"/>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729" name="Diapositive think-cell" r:id="rId4" imgW="286" imgH="286" progId="TCLayout.ActiveDocument.1">
                  <p:embed/>
                </p:oleObj>
              </mc:Choice>
              <mc:Fallback>
                <p:oleObj name="Diapositive think-cell" r:id="rId4" imgW="286" imgH="286" progId="TCLayout.ActiveDocument.1">
                  <p:embed/>
                  <p:pic>
                    <p:nvPicPr>
                      <p:cNvPr id="6" name="Object 5" hidden="1">
                        <a:extLst>
                          <a:ext uri="{FF2B5EF4-FFF2-40B4-BE49-F238E27FC236}">
                            <a16:creationId xmlns:a16="http://schemas.microsoft.com/office/drawing/2014/main" id="{5CBB02ED-30FF-4234-8DEC-CE832C1833C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p>
        </p:txBody>
      </p:sp>
      <p:pic>
        <p:nvPicPr>
          <p:cNvPr id="14" name="Picture 13">
            <a:extLst>
              <a:ext uri="{FF2B5EF4-FFF2-40B4-BE49-F238E27FC236}">
                <a16:creationId xmlns:a16="http://schemas.microsoft.com/office/drawing/2014/main" id="{C800E9D0-FE37-4AEF-B7C3-A89D73D44D5C}"/>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9" name="Rectangle 8">
            <a:extLst>
              <a:ext uri="{FF2B5EF4-FFF2-40B4-BE49-F238E27FC236}">
                <a16:creationId xmlns:a16="http://schemas.microsoft.com/office/drawing/2014/main" id="{62217998-77F8-44FA-8C98-B7EED202AF21}"/>
              </a:ext>
            </a:extLst>
          </p:cNvPr>
          <p:cNvSpPr/>
          <p:nvPr userDrawn="1"/>
        </p:nvSpPr>
        <p:spPr>
          <a:xfrm>
            <a:off x="8673086" y="3278412"/>
            <a:ext cx="3098569" cy="3151992"/>
          </a:xfrm>
          <a:prstGeom prst="rect">
            <a:avLst/>
          </a:prstGeom>
          <a:solidFill>
            <a:schemeClr val="bg1"/>
          </a:solidFill>
          <a:ln w="9525" cap="rnd" cmpd="sng" algn="ctr">
            <a:noFill/>
            <a:prstDash val="solid"/>
            <a:round/>
            <a:headEnd type="none" w="med" len="med"/>
            <a:tailEnd type="none" w="med" len="med"/>
          </a:ln>
          <a:effectLst>
            <a:outerShdw blurRad="146485" dist="21160" dir="2700000" algn="tl" rotWithShape="0">
              <a:srgbClr val="237A56">
                <a:alpha val="16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10" name="Rectangle 9">
            <a:extLst>
              <a:ext uri="{FF2B5EF4-FFF2-40B4-BE49-F238E27FC236}">
                <a16:creationId xmlns:a16="http://schemas.microsoft.com/office/drawing/2014/main" id="{F67FF4DA-FE16-4DF2-AE09-C8EDB8DA770B}"/>
              </a:ext>
            </a:extLst>
          </p:cNvPr>
          <p:cNvSpPr/>
          <p:nvPr userDrawn="1"/>
        </p:nvSpPr>
        <p:spPr>
          <a:xfrm>
            <a:off x="8948987" y="3559070"/>
            <a:ext cx="2546767" cy="2590676"/>
          </a:xfrm>
          <a:prstGeom prst="rect">
            <a:avLst/>
          </a:prstGeom>
          <a:solidFill>
            <a:srgbClr val="EDEDED"/>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12" name="TextBox 11">
            <a:extLst>
              <a:ext uri="{FF2B5EF4-FFF2-40B4-BE49-F238E27FC236}">
                <a16:creationId xmlns:a16="http://schemas.microsoft.com/office/drawing/2014/main" id="{ADA4AAAC-170B-49BD-9A0B-8DE0DE705057}"/>
              </a:ext>
            </a:extLst>
          </p:cNvPr>
          <p:cNvSpPr txBox="1"/>
          <p:nvPr userDrawn="1"/>
        </p:nvSpPr>
        <p:spPr>
          <a:xfrm>
            <a:off x="9543497" y="4250917"/>
            <a:ext cx="1357746" cy="120698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solidFill>
                  <a:srgbClr val="71747C"/>
                </a:solidFill>
              </a:rPr>
              <a:t>Click to add picture</a:t>
            </a:r>
          </a:p>
        </p:txBody>
      </p:sp>
      <p:sp>
        <p:nvSpPr>
          <p:cNvPr id="15" name="Title 3">
            <a:extLst>
              <a:ext uri="{FF2B5EF4-FFF2-40B4-BE49-F238E27FC236}">
                <a16:creationId xmlns:a16="http://schemas.microsoft.com/office/drawing/2014/main" id="{5E680129-ED69-410F-8FEE-83AB982A3209}"/>
              </a:ext>
            </a:extLst>
          </p:cNvPr>
          <p:cNvSpPr>
            <a:spLocks noGrp="1"/>
          </p:cNvSpPr>
          <p:nvPr>
            <p:ph type="title" hasCustomPrompt="1"/>
          </p:nvPr>
        </p:nvSpPr>
        <p:spPr>
          <a:xfrm>
            <a:off x="1227908" y="2807514"/>
            <a:ext cx="7024833" cy="470898"/>
          </a:xfrm>
          <a:prstGeom prst="rect">
            <a:avLst/>
          </a:prstGeom>
        </p:spPr>
        <p:txBody>
          <a:bodyPr vert="horz" wrap="square" lIns="0" tIns="0" rIns="0" bIns="0" anchor="b" anchorCtr="0">
            <a:noAutofit/>
          </a:bodyPr>
          <a:lstStyle>
            <a:lvl1pPr>
              <a:defRPr sz="3400">
                <a:solidFill>
                  <a:srgbClr val="FFFFFF"/>
                </a:solidFill>
                <a:latin typeface="+mj-lt"/>
                <a:sym typeface="Trebuchet MS" panose="020B0603020202020204" pitchFamily="34" charset="0"/>
              </a:defRPr>
            </a:lvl1pPr>
          </a:lstStyle>
          <a:p>
            <a:r>
              <a:rPr lang="en-US"/>
              <a:t>Click to add title</a:t>
            </a:r>
          </a:p>
        </p:txBody>
      </p:sp>
      <p:pic>
        <p:nvPicPr>
          <p:cNvPr id="16" name="Picture 15">
            <a:extLst>
              <a:ext uri="{FF2B5EF4-FFF2-40B4-BE49-F238E27FC236}">
                <a16:creationId xmlns:a16="http://schemas.microsoft.com/office/drawing/2014/main" id="{B789EAD5-336D-41A4-8F31-97C75BE99E95}"/>
              </a:ext>
            </a:extLst>
          </p:cNvPr>
          <p:cNvPicPr>
            <a:picLocks noChangeAspect="1"/>
          </p:cNvPicPr>
          <p:nvPr userDrawn="1"/>
        </p:nvPicPr>
        <p:blipFill>
          <a:blip r:embed="rId7"/>
          <a:srcRect/>
          <a:stretch/>
        </p:blipFill>
        <p:spPr>
          <a:xfrm>
            <a:off x="1229212" y="2062932"/>
            <a:ext cx="716583" cy="470898"/>
          </a:xfrm>
          <a:prstGeom prst="rect">
            <a:avLst/>
          </a:prstGeom>
        </p:spPr>
      </p:pic>
    </p:spTree>
    <p:extLst>
      <p:ext uri="{BB962C8B-B14F-4D97-AF65-F5344CB8AC3E}">
        <p14:creationId xmlns:p14="http://schemas.microsoft.com/office/powerpoint/2010/main" val="397859480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6B02D07-A2F4-48DF-8D05-AFD80D10F6D9}"/>
              </a:ext>
            </a:extLst>
          </p:cNvPr>
          <p:cNvGraphicFramePr>
            <a:graphicFrameLocks noChangeAspect="1"/>
          </p:cNvGraphicFramePr>
          <p:nvPr userDrawn="1">
            <p:custDataLst>
              <p:tags r:id="rId2"/>
            </p:custDataLst>
            <p:extLst>
              <p:ext uri="{D42A27DB-BD31-4B8C-83A1-F6EECF244321}">
                <p14:modId xmlns:p14="http://schemas.microsoft.com/office/powerpoint/2010/main" val="40387530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753" name="Diapositive think-cell" r:id="rId4" imgW="286" imgH="286" progId="TCLayout.ActiveDocument.1">
                  <p:embed/>
                </p:oleObj>
              </mc:Choice>
              <mc:Fallback>
                <p:oleObj name="Diapositive think-cell" r:id="rId4" imgW="286" imgH="286" progId="TCLayout.ActiveDocument.1">
                  <p:embed/>
                  <p:pic>
                    <p:nvPicPr>
                      <p:cNvPr id="4" name="Object 3" hidden="1">
                        <a:extLst>
                          <a:ext uri="{FF2B5EF4-FFF2-40B4-BE49-F238E27FC236}">
                            <a16:creationId xmlns:a16="http://schemas.microsoft.com/office/drawing/2014/main" id="{E6B02D07-A2F4-48DF-8D05-AFD80D10F6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b" anchorCtr="0">
            <a:noAutofit/>
          </a:bodyPr>
          <a:lstStyle>
            <a:lvl1pPr marL="0" indent="0" algn="l">
              <a:lnSpc>
                <a:spcPct val="93000"/>
              </a:lnSpc>
              <a:spcBef>
                <a:spcPct val="0"/>
              </a:spcBef>
              <a:spcAft>
                <a:spcPts val="0"/>
              </a:spcAft>
              <a:defRPr sz="3200" b="0" i="0" u="none" kern="0" spc="0">
                <a:solidFill>
                  <a:srgbClr val="21BF61"/>
                </a:solidFill>
                <a:latin typeface="+mj-lt"/>
                <a:ea typeface="+mj-ea"/>
                <a:cs typeface="+mj-cs"/>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234B2D-663F-433A-A9DB-F5A2FE259DE4}"/>
              </a:ext>
            </a:extLst>
          </p:cNvPr>
          <p:cNvGraphicFramePr>
            <a:graphicFrameLocks noChangeAspect="1"/>
          </p:cNvGraphicFramePr>
          <p:nvPr userDrawn="1">
            <p:custDataLst>
              <p:tags r:id="rId2"/>
            </p:custDataLst>
            <p:extLst>
              <p:ext uri="{D42A27DB-BD31-4B8C-83A1-F6EECF244321}">
                <p14:modId xmlns:p14="http://schemas.microsoft.com/office/powerpoint/2010/main" val="4305131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777" name="Diapositive think-cell" r:id="rId4" imgW="286" imgH="286" progId="TCLayout.ActiveDocument.1">
                  <p:embed/>
                </p:oleObj>
              </mc:Choice>
              <mc:Fallback>
                <p:oleObj name="Diapositive think-cell" r:id="rId4" imgW="286" imgH="286" progId="TCLayout.ActiveDocument.1">
                  <p:embed/>
                  <p:pic>
                    <p:nvPicPr>
                      <p:cNvPr id="4" name="Object 3" hidden="1">
                        <a:extLst>
                          <a:ext uri="{FF2B5EF4-FFF2-40B4-BE49-F238E27FC236}">
                            <a16:creationId xmlns:a16="http://schemas.microsoft.com/office/drawing/2014/main" id="{3C234B2D-663F-433A-A9DB-F5A2FE259DE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a:prstGeom prst="rect">
            <a:avLst/>
          </a:prstGeom>
        </p:spPr>
        <p:txBody>
          <a:bodyPr vert="horz" wrap="square" lIns="0" tIns="0" rIns="0" bIns="0" anchor="b" anchorCtr="0">
            <a:noAutofit/>
          </a:bodyPr>
          <a:lstStyle>
            <a:lvl1pPr>
              <a:defRPr sz="3200">
                <a:latin typeface="+mj-lt"/>
                <a:ea typeface="+mj-ea"/>
                <a:cs typeface="+mj-cs"/>
              </a:defRPr>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atin typeface="+mn-lt"/>
                <a:ea typeface="+mn-ea"/>
                <a:cs typeface="+mn-cs"/>
              </a:defRPr>
            </a:lvl1pPr>
            <a:lvl2pPr>
              <a:lnSpc>
                <a:spcPct val="100000"/>
              </a:lnSpc>
              <a:spcBef>
                <a:spcPts val="0"/>
              </a:spcBef>
              <a:spcAft>
                <a:spcPts val="0"/>
              </a:spcAft>
              <a:defRPr sz="2000">
                <a:latin typeface="+mn-lt"/>
                <a:ea typeface="+mn-ea"/>
                <a:cs typeface="+mn-cs"/>
              </a:defRPr>
            </a:lvl2pPr>
            <a:lvl3pPr>
              <a:lnSpc>
                <a:spcPct val="100000"/>
              </a:lnSpc>
              <a:spcBef>
                <a:spcPts val="0"/>
              </a:spcBef>
              <a:spcAft>
                <a:spcPts val="0"/>
              </a:spcAft>
              <a:defRPr sz="2000">
                <a:latin typeface="+mn-lt"/>
                <a:ea typeface="+mn-ea"/>
                <a:cs typeface="+mn-cs"/>
              </a:defRPr>
            </a:lvl3pPr>
            <a:lvl4pPr>
              <a:lnSpc>
                <a:spcPct val="100000"/>
              </a:lnSpc>
              <a:spcBef>
                <a:spcPts val="0"/>
              </a:spcBef>
              <a:spcAft>
                <a:spcPts val="0"/>
              </a:spcAft>
              <a:defRPr sz="2800">
                <a:latin typeface="+mn-lt"/>
                <a:ea typeface="+mn-ea"/>
                <a:cs typeface="+mn-cs"/>
              </a:defRPr>
            </a:lvl4pPr>
            <a:lvl5pPr>
              <a:lnSpc>
                <a:spcPct val="100000"/>
              </a:lnSpc>
              <a:spcBef>
                <a:spcPts val="0"/>
              </a:spcBef>
              <a:spcAft>
                <a:spcPts val="0"/>
              </a:spcAft>
              <a:defRPr sz="2800">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39B814D-48A3-4A12-94C5-3B232E118125}"/>
              </a:ext>
            </a:extLst>
          </p:cNvPr>
          <p:cNvGraphicFramePr>
            <a:graphicFrameLocks noChangeAspect="1"/>
          </p:cNvGraphicFramePr>
          <p:nvPr userDrawn="1">
            <p:custDataLst>
              <p:tags r:id="rId2"/>
            </p:custDataLst>
            <p:extLst>
              <p:ext uri="{D42A27DB-BD31-4B8C-83A1-F6EECF244321}">
                <p14:modId xmlns:p14="http://schemas.microsoft.com/office/powerpoint/2010/main" val="30158808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801" name="Diapositive think-cell" r:id="rId4" imgW="286" imgH="286" progId="TCLayout.ActiveDocument.1">
                  <p:embed/>
                </p:oleObj>
              </mc:Choice>
              <mc:Fallback>
                <p:oleObj name="Diapositive think-cell" r:id="rId4" imgW="286" imgH="286" progId="TCLayout.ActiveDocument.1">
                  <p:embed/>
                  <p:pic>
                    <p:nvPicPr>
                      <p:cNvPr id="4" name="Object 3" hidden="1">
                        <a:extLst>
                          <a:ext uri="{FF2B5EF4-FFF2-40B4-BE49-F238E27FC236}">
                            <a16:creationId xmlns:a16="http://schemas.microsoft.com/office/drawing/2014/main" id="{E39B814D-48A3-4A12-94C5-3B232E1181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Trebuchet MS" panose="020B0603020202020204" pitchFamily="34" charset="0"/>
              </a:defRPr>
            </a:lvl1pPr>
          </a:lstStyle>
          <a:p>
            <a:endParaRPr lang="en-US"/>
          </a:p>
        </p:txBody>
      </p:sp>
      <p:sp>
        <p:nvSpPr>
          <p:cNvPr id="9" name="Title 1"/>
          <p:cNvSpPr>
            <a:spLocks noGrp="1"/>
          </p:cNvSpPr>
          <p:nvPr>
            <p:ph type="title" hasCustomPrompt="1"/>
          </p:nvPr>
        </p:nvSpPr>
        <p:spPr bwMode="ltGray">
          <a:xfrm>
            <a:off x="630000" y="1544274"/>
            <a:ext cx="3452400" cy="1495794"/>
          </a:xfrm>
          <a:noFill/>
        </p:spPr>
        <p:txBody>
          <a:bodyPr vert="horz" wrap="square" lIns="0" tIns="0" rIns="320040" bIns="0" anchor="b">
            <a:noAutofit/>
          </a:bodyPr>
          <a:lstStyle>
            <a:lvl1pPr>
              <a:defRPr sz="3200">
                <a:solidFill>
                  <a:srgbClr val="21BF61"/>
                </a:solidFill>
                <a:latin typeface="+mj-lt"/>
                <a:ea typeface="+mj-ea"/>
                <a:cs typeface="+mj-cs"/>
              </a:defRPr>
            </a:lvl1pPr>
          </a:lstStyle>
          <a:p>
            <a:r>
              <a:rPr lang="en-US"/>
              <a:t>Click to add title</a:t>
            </a: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solidFill>
          <a:srgbClr val="EDEDED"/>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D9D905A-2472-4769-A48D-A1E42101012E}"/>
              </a:ext>
            </a:extLst>
          </p:cNvPr>
          <p:cNvGraphicFramePr>
            <a:graphicFrameLocks noChangeAspect="1"/>
          </p:cNvGraphicFramePr>
          <p:nvPr userDrawn="1">
            <p:custDataLst>
              <p:tags r:id="rId3"/>
            </p:custDataLst>
            <p:extLst>
              <p:ext uri="{D42A27DB-BD31-4B8C-83A1-F6EECF244321}">
                <p14:modId xmlns:p14="http://schemas.microsoft.com/office/powerpoint/2010/main" val="17340601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825" name="Diapositive think-cell" r:id="rId5" imgW="286" imgH="286" progId="TCLayout.ActiveDocument.1">
                  <p:embed/>
                </p:oleObj>
              </mc:Choice>
              <mc:Fallback>
                <p:oleObj name="Diapositive think-cell" r:id="rId5" imgW="286" imgH="286" progId="TCLayout.ActiveDocument.1">
                  <p:embed/>
                  <p:pic>
                    <p:nvPicPr>
                      <p:cNvPr id="6" name="Object 5" hidden="1">
                        <a:extLst>
                          <a:ext uri="{FF2B5EF4-FFF2-40B4-BE49-F238E27FC236}">
                            <a16:creationId xmlns:a16="http://schemas.microsoft.com/office/drawing/2014/main" id="{1D9D905A-2472-4769-A48D-A1E42101012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rgbClr val="21BF61"/>
            </a:solidFill>
          </a:ln>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21BF61"/>
                </a:solidFill>
                <a:latin typeface="+mj-lt"/>
                <a:ea typeface="+mj-ea"/>
                <a:cs typeface="+mj-cs"/>
                <a:sym typeface="Trebuchet MS" panose="020B0603020202020204" pitchFamily="34" charset="0"/>
              </a:defRPr>
            </a:lvl1pPr>
          </a:lstStyle>
          <a:p>
            <a:r>
              <a:rPr lang="en-US"/>
              <a:t>Click to add big statement text</a:t>
            </a:r>
          </a:p>
        </p:txBody>
      </p:sp>
      <p:sp>
        <p:nvSpPr>
          <p:cNvPr id="4" name="TextBox 3"/>
          <p:cNvSpPr txBox="1"/>
          <p:nvPr/>
        </p:nvSpPr>
        <p:spPr>
          <a:xfrm>
            <a:off x="11167872" y="6405037"/>
            <a:ext cx="381000" cy="153888"/>
          </a:xfrm>
          <a:prstGeom prst="rect">
            <a:avLst/>
          </a:prstGeom>
          <a:noFill/>
        </p:spPr>
        <p:txBody>
          <a:bodyPr vert="horz" wrap="square" lIns="0" tIns="0" rIns="0" bIns="0" rtlCol="0" anchor="b" anchorCtr="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0" smtClean="0">
                <a:solidFill>
                  <a:srgbClr val="7F7F7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0">
              <a:solidFill>
                <a:srgbClr val="7F7F7F"/>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59" name="Rectangle 58"/>
          <p:cNvSpPr/>
          <p:nvPr userDrawn="1"/>
        </p:nvSpPr>
        <p:spPr bwMode="white">
          <a:xfrm>
            <a:off x="1284743" y="1428131"/>
            <a:ext cx="947672" cy="947672"/>
          </a:xfrm>
          <a:prstGeom prst="rect">
            <a:avLst/>
          </a:prstGeom>
          <a:noFill/>
          <a:ln>
            <a:solidFill>
              <a:srgbClr val="21BF6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7123234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solidFill>
          <a:srgbClr val="EDEDED"/>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27B99AE-C6E2-41E4-AADE-29F89C93F7E2}"/>
              </a:ext>
            </a:extLst>
          </p:cNvPr>
          <p:cNvGraphicFramePr>
            <a:graphicFrameLocks noChangeAspect="1"/>
          </p:cNvGraphicFramePr>
          <p:nvPr userDrawn="1">
            <p:custDataLst>
              <p:tags r:id="rId2"/>
            </p:custDataLst>
            <p:extLst>
              <p:ext uri="{D42A27DB-BD31-4B8C-83A1-F6EECF244321}">
                <p14:modId xmlns:p14="http://schemas.microsoft.com/office/powerpoint/2010/main" val="244571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8849" name="Diapositive think-cell" r:id="rId4" imgW="286" imgH="286" progId="TCLayout.ActiveDocument.1">
                  <p:embed/>
                </p:oleObj>
              </mc:Choice>
              <mc:Fallback>
                <p:oleObj name="Diapositive think-cell" r:id="rId4" imgW="286" imgH="286" progId="TCLayout.ActiveDocument.1">
                  <p:embed/>
                  <p:pic>
                    <p:nvPicPr>
                      <p:cNvPr id="3" name="Object 2" hidden="1">
                        <a:extLst>
                          <a:ext uri="{FF2B5EF4-FFF2-40B4-BE49-F238E27FC236}">
                            <a16:creationId xmlns:a16="http://schemas.microsoft.com/office/drawing/2014/main" id="{A27B99AE-C6E2-41E4-AADE-29F89C93F7E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11167872" y="6405037"/>
            <a:ext cx="381000" cy="153888"/>
          </a:xfrm>
          <a:prstGeom prst="rect">
            <a:avLst/>
          </a:prstGeom>
          <a:noFill/>
        </p:spPr>
        <p:txBody>
          <a:bodyPr vert="horz" wrap="square" lIns="0" tIns="0" rIns="0" bIns="0" rtlCol="0" anchor="b" anchorCtr="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0" smtClean="0">
                <a:solidFill>
                  <a:srgbClr val="7F7F7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0">
              <a:solidFill>
                <a:srgbClr val="7F7F7F"/>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14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rgbClr val="21BF61"/>
                </a:solidFill>
                <a:latin typeface="+mj-lt"/>
                <a:ea typeface="+mj-ea"/>
                <a:cs typeface="+mj-cs"/>
                <a:sym typeface="Trebuchet MS" panose="020B0603020202020204" pitchFamily="34" charset="0"/>
              </a:defRPr>
            </a:lvl1pPr>
          </a:lstStyle>
          <a:p>
            <a:r>
              <a:rPr lang="en-US"/>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rgbClr val="21BF6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solidFill>
          <a:srgbClr val="EDEDED"/>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A278B0-6C3F-4D95-9D3F-CC16C93FC336}"/>
              </a:ext>
            </a:extLst>
          </p:cNvPr>
          <p:cNvGraphicFramePr>
            <a:graphicFrameLocks noChangeAspect="1"/>
          </p:cNvGraphicFramePr>
          <p:nvPr userDrawn="1">
            <p:custDataLst>
              <p:tags r:id="rId3"/>
            </p:custDataLst>
            <p:extLst>
              <p:ext uri="{D42A27DB-BD31-4B8C-83A1-F6EECF244321}">
                <p14:modId xmlns:p14="http://schemas.microsoft.com/office/powerpoint/2010/main" val="20170228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9873" name="Diapositive think-cell" r:id="rId5" imgW="286" imgH="286" progId="TCLayout.ActiveDocument.1">
                  <p:embed/>
                </p:oleObj>
              </mc:Choice>
              <mc:Fallback>
                <p:oleObj name="Diapositive think-cell" r:id="rId5" imgW="286" imgH="286" progId="TCLayout.ActiveDocument.1">
                  <p:embed/>
                  <p:pic>
                    <p:nvPicPr>
                      <p:cNvPr id="3" name="Object 2" hidden="1">
                        <a:extLst>
                          <a:ext uri="{FF2B5EF4-FFF2-40B4-BE49-F238E27FC236}">
                            <a16:creationId xmlns:a16="http://schemas.microsoft.com/office/drawing/2014/main" id="{38A278B0-6C3F-4D95-9D3F-CC16C93FC33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20" name="TextBox 19"/>
          <p:cNvSpPr txBox="1"/>
          <p:nvPr userDrawn="1"/>
        </p:nvSpPr>
        <p:spPr>
          <a:xfrm>
            <a:off x="11167872" y="6405037"/>
            <a:ext cx="381000" cy="153888"/>
          </a:xfrm>
          <a:prstGeom prst="rect">
            <a:avLst/>
          </a:prstGeom>
          <a:noFill/>
        </p:spPr>
        <p:txBody>
          <a:bodyPr vert="horz" wrap="square" lIns="0" tIns="0" rIns="0" bIns="0" rtlCol="0" anchor="b" anchorCtr="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0" smtClean="0">
                <a:solidFill>
                  <a:srgbClr val="7F7F7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0">
              <a:solidFill>
                <a:srgbClr val="7F7F7F"/>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200">
                <a:solidFill>
                  <a:srgbClr val="21BF61"/>
                </a:solidFill>
                <a:latin typeface="+mj-lt"/>
                <a:ea typeface="+mj-ea"/>
                <a:cs typeface="+mj-cs"/>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38842776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solidFill>
          <a:srgbClr val="EDEDED"/>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8B119FE-0804-41D6-8FAD-1A565AB4B504}"/>
              </a:ext>
            </a:extLst>
          </p:cNvPr>
          <p:cNvGraphicFramePr>
            <a:graphicFrameLocks noChangeAspect="1"/>
          </p:cNvGraphicFramePr>
          <p:nvPr userDrawn="1">
            <p:custDataLst>
              <p:tags r:id="rId3"/>
            </p:custDataLst>
            <p:extLst>
              <p:ext uri="{D42A27DB-BD31-4B8C-83A1-F6EECF244321}">
                <p14:modId xmlns:p14="http://schemas.microsoft.com/office/powerpoint/2010/main" val="29519825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897" name="Diapositive think-cell" r:id="rId5" imgW="286" imgH="286" progId="TCLayout.ActiveDocument.1">
                  <p:embed/>
                </p:oleObj>
              </mc:Choice>
              <mc:Fallback>
                <p:oleObj name="Diapositive think-cell" r:id="rId5" imgW="286" imgH="286" progId="TCLayout.ActiveDocument.1">
                  <p:embed/>
                  <p:pic>
                    <p:nvPicPr>
                      <p:cNvPr id="3" name="Object 2" hidden="1">
                        <a:extLst>
                          <a:ext uri="{FF2B5EF4-FFF2-40B4-BE49-F238E27FC236}">
                            <a16:creationId xmlns:a16="http://schemas.microsoft.com/office/drawing/2014/main" id="{E8B119FE-0804-41D6-8FAD-1A565AB4B50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7" name="TextBox 16"/>
          <p:cNvSpPr txBox="1"/>
          <p:nvPr userDrawn="1"/>
        </p:nvSpPr>
        <p:spPr>
          <a:xfrm>
            <a:off x="11167872" y="6405037"/>
            <a:ext cx="381000" cy="153888"/>
          </a:xfrm>
          <a:prstGeom prst="rect">
            <a:avLst/>
          </a:prstGeom>
          <a:noFill/>
        </p:spPr>
        <p:txBody>
          <a:bodyPr vert="horz" wrap="square" lIns="0" tIns="0" rIns="0" bIns="0" rtlCol="0" anchor="b" anchorCtr="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0" smtClean="0">
                <a:solidFill>
                  <a:srgbClr val="7F7F7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0">
              <a:solidFill>
                <a:srgbClr val="7F7F7F"/>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b" anchorCtr="0">
            <a:noAutofit/>
          </a:bodyPr>
          <a:lstStyle>
            <a:lvl1pPr marL="0" indent="0" algn="l">
              <a:lnSpc>
                <a:spcPct val="93000"/>
              </a:lnSpc>
              <a:spcBef>
                <a:spcPct val="0"/>
              </a:spcBef>
              <a:spcAft>
                <a:spcPts val="0"/>
              </a:spcAft>
              <a:defRPr sz="3200" b="0" i="0" u="none" kern="0" spc="0">
                <a:solidFill>
                  <a:srgbClr val="21BF61"/>
                </a:solidFill>
                <a:latin typeface="+mj-lt"/>
                <a:ea typeface="+mj-ea"/>
                <a:cs typeface="+mj-cs"/>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35922638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solidFill>
          <a:srgbClr val="EDEDED"/>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84483A4-B580-4AD4-A2E6-E2FBDB45B523}"/>
              </a:ext>
            </a:extLst>
          </p:cNvPr>
          <p:cNvGraphicFramePr>
            <a:graphicFrameLocks noChangeAspect="1"/>
          </p:cNvGraphicFramePr>
          <p:nvPr userDrawn="1">
            <p:custDataLst>
              <p:tags r:id="rId3"/>
            </p:custDataLst>
            <p:extLst>
              <p:ext uri="{D42A27DB-BD31-4B8C-83A1-F6EECF244321}">
                <p14:modId xmlns:p14="http://schemas.microsoft.com/office/powerpoint/2010/main" val="27765214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21" name="Diapositive think-cell" r:id="rId5" imgW="286" imgH="286" progId="TCLayout.ActiveDocument.1">
                  <p:embed/>
                </p:oleObj>
              </mc:Choice>
              <mc:Fallback>
                <p:oleObj name="Diapositive think-cell" r:id="rId5" imgW="286" imgH="286" progId="TCLayout.ActiveDocument.1">
                  <p:embed/>
                  <p:pic>
                    <p:nvPicPr>
                      <p:cNvPr id="3" name="Object 2" hidden="1">
                        <a:extLst>
                          <a:ext uri="{FF2B5EF4-FFF2-40B4-BE49-F238E27FC236}">
                            <a16:creationId xmlns:a16="http://schemas.microsoft.com/office/drawing/2014/main" id="{984483A4-B580-4AD4-A2E6-E2FBDB45B52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200">
                <a:solidFill>
                  <a:srgbClr val="21BF61"/>
                </a:solidFill>
                <a:latin typeface="+mj-lt"/>
                <a:ea typeface="+mj-ea"/>
                <a:cs typeface="+mj-cs"/>
                <a:sym typeface="Trebuchet MS" panose="020B0603020202020204" pitchFamily="34" charset="0"/>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514967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Beyond layout 7">
    <p:bg>
      <p:bgPr>
        <a:solidFill>
          <a:srgbClr val="EDEDED"/>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7" name="Diapositive think-cell" r:id="rId5" imgW="352" imgH="355" progId="TCLayout.ActiveDocument.1">
                  <p:embed/>
                </p:oleObj>
              </mc:Choice>
              <mc:Fallback>
                <p:oleObj name="Diapositive think-cell"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Henderson BCG Sans" panose="020B0502030402020204" pitchFamily="34" charset="0"/>
              <a:ea typeface="+mj-ea"/>
              <a:cs typeface="+mj-cs"/>
              <a:sym typeface="Henderson BCG Sans" panose="020B0502030402020204" pitchFamily="34" charset="0"/>
            </a:endParaRPr>
          </a:p>
        </p:txBody>
      </p:sp>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prstClr val="white"/>
              </a:solidFill>
              <a:sym typeface="+mn-lt"/>
            </a:endParaRPr>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mn-lt"/>
              </a:rPr>
              <a:t>Copyright © 2022 by Boston Consulting Group. All rights reserved.</a:t>
            </a: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0" spc="0">
                <a:solidFill>
                  <a:srgbClr val="21BF61"/>
                </a:solidFill>
                <a:latin typeface="+mj-lt"/>
                <a:ea typeface="+mj-ea"/>
                <a:cs typeface="+mj-cs"/>
                <a:sym typeface="+mj-lt"/>
              </a:defRPr>
            </a:lvl1pPr>
          </a:lstStyle>
          <a:p>
            <a:pPr lvl="0"/>
            <a:r>
              <a:rPr lang="en-US"/>
              <a:t>Click to add title</a:t>
            </a:r>
          </a:p>
        </p:txBody>
      </p:sp>
      <p:sp>
        <p:nvSpPr>
          <p:cNvPr id="14" name="Rectangle 13">
            <a:extLst>
              <a:ext uri="{FF2B5EF4-FFF2-40B4-BE49-F238E27FC236}">
                <a16:creationId xmlns:a16="http://schemas.microsoft.com/office/drawing/2014/main" id="{A95E4DFB-A52E-4ACD-81F6-F0948EBC9B4B}"/>
              </a:ext>
            </a:extLst>
          </p:cNvPr>
          <p:cNvSpPr/>
          <p:nvPr userDrawn="1"/>
        </p:nvSpPr>
        <p:spPr>
          <a:xfrm>
            <a:off x="7165606" y="0"/>
            <a:ext cx="5026394" cy="5665229"/>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pic>
        <p:nvPicPr>
          <p:cNvPr id="15" name="Picture 14">
            <a:extLst>
              <a:ext uri="{FF2B5EF4-FFF2-40B4-BE49-F238E27FC236}">
                <a16:creationId xmlns:a16="http://schemas.microsoft.com/office/drawing/2014/main" id="{EB421CCA-0496-436D-9D63-FE21EAD2C770}"/>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flipH="1">
            <a:off x="4172364" y="3254339"/>
            <a:ext cx="5428872" cy="3603661"/>
          </a:xfrm>
          <a:prstGeom prst="rect">
            <a:avLst/>
          </a:prstGeom>
        </p:spPr>
      </p:pic>
      <p:pic>
        <p:nvPicPr>
          <p:cNvPr id="18" name="Picture 17">
            <a:extLst>
              <a:ext uri="{FF2B5EF4-FFF2-40B4-BE49-F238E27FC236}">
                <a16:creationId xmlns:a16="http://schemas.microsoft.com/office/drawing/2014/main" id="{AB62493A-9602-4961-854B-F3AC559B0C34}"/>
              </a:ext>
            </a:extLst>
          </p:cNvPr>
          <p:cNvPicPr>
            <a:picLocks noChangeAspect="1"/>
          </p:cNvPicPr>
          <p:nvPr userDrawn="1"/>
        </p:nvPicPr>
        <p:blipFill rotWithShape="1">
          <a:blip r:embed="rId8" cstate="screen">
            <a:extLst>
              <a:ext uri="{28A0092B-C50C-407E-A947-70E740481C1C}">
                <a14:useLocalDpi xmlns:a14="http://schemas.microsoft.com/office/drawing/2010/main"/>
              </a:ext>
            </a:extLst>
          </a:blip>
          <a:srcRect/>
          <a:stretch/>
        </p:blipFill>
        <p:spPr bwMode="ltGray">
          <a:xfrm flipH="1" flipV="1">
            <a:off x="6748655" y="0"/>
            <a:ext cx="416951" cy="6858000"/>
          </a:xfrm>
          <a:prstGeom prst="rect">
            <a:avLst/>
          </a:prstGeom>
        </p:spPr>
      </p:pic>
      <p:pic>
        <p:nvPicPr>
          <p:cNvPr id="19" name="Picture 18">
            <a:extLst>
              <a:ext uri="{FF2B5EF4-FFF2-40B4-BE49-F238E27FC236}">
                <a16:creationId xmlns:a16="http://schemas.microsoft.com/office/drawing/2014/main" id="{BD077922-DD50-4091-9FB9-6A90344541D2}"/>
              </a:ext>
            </a:extLst>
          </p:cNvPr>
          <p:cNvPicPr>
            <a:picLocks noChangeAspect="1"/>
          </p:cNvPicPr>
          <p:nvPr userDrawn="1"/>
        </p:nvPicPr>
        <p:blipFill rotWithShape="1">
          <a:blip r:embed="rId9" cstate="screen">
            <a:extLst>
              <a:ext uri="{28A0092B-C50C-407E-A947-70E740481C1C}">
                <a14:useLocalDpi xmlns:a14="http://schemas.microsoft.com/office/drawing/2010/main"/>
              </a:ext>
            </a:extLst>
          </a:blip>
          <a:srcRect/>
          <a:stretch/>
        </p:blipFill>
        <p:spPr>
          <a:xfrm>
            <a:off x="7491600" y="1"/>
            <a:ext cx="4700400" cy="5346700"/>
          </a:xfrm>
          <a:prstGeom prst="rect">
            <a:avLst/>
          </a:prstGeom>
        </p:spPr>
      </p:pic>
    </p:spTree>
    <p:extLst>
      <p:ext uri="{BB962C8B-B14F-4D97-AF65-F5344CB8AC3E}">
        <p14:creationId xmlns:p14="http://schemas.microsoft.com/office/powerpoint/2010/main" val="179136164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solidFill>
          <a:srgbClr val="EDEDED"/>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1772EB6-8C2B-416C-B698-0E4759796302}"/>
              </a:ext>
            </a:extLst>
          </p:cNvPr>
          <p:cNvGraphicFramePr>
            <a:graphicFrameLocks noChangeAspect="1"/>
          </p:cNvGraphicFramePr>
          <p:nvPr userDrawn="1">
            <p:custDataLst>
              <p:tags r:id="rId3"/>
            </p:custDataLst>
            <p:extLst>
              <p:ext uri="{D42A27DB-BD31-4B8C-83A1-F6EECF244321}">
                <p14:modId xmlns:p14="http://schemas.microsoft.com/office/powerpoint/2010/main" val="40626937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945" name="Diapositive think-cell" r:id="rId5" imgW="286" imgH="286" progId="TCLayout.ActiveDocument.1">
                  <p:embed/>
                </p:oleObj>
              </mc:Choice>
              <mc:Fallback>
                <p:oleObj name="Diapositive think-cell" r:id="rId5" imgW="286" imgH="286" progId="TCLayout.ActiveDocument.1">
                  <p:embed/>
                  <p:pic>
                    <p:nvPicPr>
                      <p:cNvPr id="3" name="Object 2" hidden="1">
                        <a:extLst>
                          <a:ext uri="{FF2B5EF4-FFF2-40B4-BE49-F238E27FC236}">
                            <a16:creationId xmlns:a16="http://schemas.microsoft.com/office/drawing/2014/main" id="{11772EB6-8C2B-416C-B698-0E475979630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vert="horz" wrap="square" lIns="0" tIns="0" rIns="320040" bIns="0" anchor="ctr">
            <a:noAutofit/>
          </a:bodyPr>
          <a:lstStyle>
            <a:lvl1pPr>
              <a:defRPr sz="4400">
                <a:solidFill>
                  <a:srgbClr val="21BF61"/>
                </a:solidFill>
                <a:latin typeface="+mj-lt"/>
                <a:ea typeface="+mj-ea"/>
                <a:cs typeface="+mj-cs"/>
                <a:sym typeface="Trebuchet MS" panose="020B0603020202020204" pitchFamily="34" charset="0"/>
              </a:defRPr>
            </a:lvl1pPr>
          </a:lstStyle>
          <a:p>
            <a:r>
              <a:rPr lang="en-US"/>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19235241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solidFill>
          <a:srgbClr val="EDEDED"/>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AE74108-8BC7-4F50-A75D-10E25E3EFCCA}"/>
              </a:ext>
            </a:extLst>
          </p:cNvPr>
          <p:cNvGraphicFramePr>
            <a:graphicFrameLocks noChangeAspect="1"/>
          </p:cNvGraphicFramePr>
          <p:nvPr userDrawn="1">
            <p:custDataLst>
              <p:tags r:id="rId3"/>
            </p:custDataLst>
            <p:extLst>
              <p:ext uri="{D42A27DB-BD31-4B8C-83A1-F6EECF244321}">
                <p14:modId xmlns:p14="http://schemas.microsoft.com/office/powerpoint/2010/main" val="35628477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969" name="Diapositive think-cell" r:id="rId5" imgW="286" imgH="286" progId="TCLayout.ActiveDocument.1">
                  <p:embed/>
                </p:oleObj>
              </mc:Choice>
              <mc:Fallback>
                <p:oleObj name="Diapositive think-cell" r:id="rId5" imgW="286" imgH="286" progId="TCLayout.ActiveDocument.1">
                  <p:embed/>
                  <p:pic>
                    <p:nvPicPr>
                      <p:cNvPr id="3" name="Object 2" hidden="1">
                        <a:extLst>
                          <a:ext uri="{FF2B5EF4-FFF2-40B4-BE49-F238E27FC236}">
                            <a16:creationId xmlns:a16="http://schemas.microsoft.com/office/drawing/2014/main" id="{CAE74108-8BC7-4F50-A75D-10E25E3EFCC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vert="horz" anchor="ctr">
            <a:noAutofit/>
          </a:bodyPr>
          <a:lstStyle>
            <a:lvl1pPr>
              <a:defRPr sz="4400">
                <a:solidFill>
                  <a:srgbClr val="21BF61"/>
                </a:solidFill>
                <a:latin typeface="+mj-lt"/>
                <a:ea typeface="+mj-ea"/>
                <a:cs typeface="+mj-cs"/>
                <a:sym typeface="Trebuchet MS" panose="020B0603020202020204" pitchFamily="34" charset="0"/>
              </a:defRPr>
            </a:lvl1pPr>
          </a:lstStyle>
          <a:p>
            <a:r>
              <a:rPr lang="en-US"/>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328090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solidFill>
          <a:srgbClr val="EDEDED"/>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9FC77C1-CF09-48E9-9C80-D0AC60CA4AE9}"/>
              </a:ext>
            </a:extLst>
          </p:cNvPr>
          <p:cNvGraphicFramePr>
            <a:graphicFrameLocks noChangeAspect="1"/>
          </p:cNvGraphicFramePr>
          <p:nvPr userDrawn="1">
            <p:custDataLst>
              <p:tags r:id="rId3"/>
            </p:custDataLst>
            <p:extLst>
              <p:ext uri="{D42A27DB-BD31-4B8C-83A1-F6EECF244321}">
                <p14:modId xmlns:p14="http://schemas.microsoft.com/office/powerpoint/2010/main" val="36430592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4993" name="Diapositive think-cell" r:id="rId5" imgW="286" imgH="286" progId="TCLayout.ActiveDocument.1">
                  <p:embed/>
                </p:oleObj>
              </mc:Choice>
              <mc:Fallback>
                <p:oleObj name="Diapositive think-cell" r:id="rId5" imgW="286" imgH="286" progId="TCLayout.ActiveDocument.1">
                  <p:embed/>
                  <p:pic>
                    <p:nvPicPr>
                      <p:cNvPr id="3" name="Object 2" hidden="1">
                        <a:extLst>
                          <a:ext uri="{FF2B5EF4-FFF2-40B4-BE49-F238E27FC236}">
                            <a16:creationId xmlns:a16="http://schemas.microsoft.com/office/drawing/2014/main" id="{A9FC77C1-CF09-48E9-9C80-D0AC60CA4AE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2" name="TextBox 11"/>
          <p:cNvSpPr txBox="1"/>
          <p:nvPr userDrawn="1"/>
        </p:nvSpPr>
        <p:spPr>
          <a:xfrm>
            <a:off x="11167872" y="6405037"/>
            <a:ext cx="381000" cy="153888"/>
          </a:xfrm>
          <a:prstGeom prst="rect">
            <a:avLst/>
          </a:prstGeom>
          <a:noFill/>
        </p:spPr>
        <p:txBody>
          <a:bodyPr vert="horz" wrap="square" lIns="0" tIns="0" rIns="0" bIns="0" rtlCol="0" anchor="b" anchorCtr="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0" smtClean="0">
                <a:solidFill>
                  <a:srgbClr val="7F7F7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0">
              <a:solidFill>
                <a:srgbClr val="7F7F7F"/>
              </a:solidFill>
              <a:latin typeface="+mn-lt"/>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0" name="Title 2">
            <a:extLst>
              <a:ext uri="{FF2B5EF4-FFF2-40B4-BE49-F238E27FC236}">
                <a16:creationId xmlns:a16="http://schemas.microsoft.com/office/drawing/2014/main" id="{34689FC1-542B-466C-BB5F-B6680C6EC281}"/>
              </a:ext>
            </a:extLst>
          </p:cNvPr>
          <p:cNvSpPr>
            <a:spLocks noGrp="1"/>
          </p:cNvSpPr>
          <p:nvPr>
            <p:ph type="title" hasCustomPrompt="1"/>
          </p:nvPr>
        </p:nvSpPr>
        <p:spPr>
          <a:xfrm>
            <a:off x="630000" y="2764203"/>
            <a:ext cx="2478638" cy="1314311"/>
          </a:xfrm>
        </p:spPr>
        <p:txBody>
          <a:bodyPr vert="horz" anchor="ctr" anchorCtr="0">
            <a:noAutofit/>
          </a:bodyPr>
          <a:lstStyle>
            <a:lvl1pPr>
              <a:defRPr sz="3200" baseline="0">
                <a:solidFill>
                  <a:srgbClr val="21BF61"/>
                </a:solidFill>
                <a:latin typeface="+mj-lt"/>
                <a:ea typeface="+mj-ea"/>
                <a:cs typeface="+mj-cs"/>
              </a:defRPr>
            </a:lvl1pPr>
          </a:lstStyle>
          <a:p>
            <a:r>
              <a:rPr lang="en-US"/>
              <a:t>Click to add title</a:t>
            </a:r>
          </a:p>
        </p:txBody>
      </p:sp>
    </p:spTree>
    <p:extLst>
      <p:ext uri="{BB962C8B-B14F-4D97-AF65-F5344CB8AC3E}">
        <p14:creationId xmlns:p14="http://schemas.microsoft.com/office/powerpoint/2010/main" val="416725773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1A0193-B448-45BD-8D83-10692B54E8C6}"/>
              </a:ext>
            </a:extLst>
          </p:cNvPr>
          <p:cNvGraphicFramePr>
            <a:graphicFrameLocks noChangeAspect="1"/>
          </p:cNvGraphicFramePr>
          <p:nvPr userDrawn="1">
            <p:custDataLst>
              <p:tags r:id="rId2"/>
            </p:custDataLst>
            <p:extLst>
              <p:ext uri="{D42A27DB-BD31-4B8C-83A1-F6EECF244321}">
                <p14:modId xmlns:p14="http://schemas.microsoft.com/office/powerpoint/2010/main" val="38222987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6017" name="Diapositive think-cell" r:id="rId4" imgW="286" imgH="286" progId="TCLayout.ActiveDocument.1">
                  <p:embed/>
                </p:oleObj>
              </mc:Choice>
              <mc:Fallback>
                <p:oleObj name="Diapositive think-cell" r:id="rId4" imgW="286" imgH="286" progId="TCLayout.ActiveDocument.1">
                  <p:embed/>
                  <p:pic>
                    <p:nvPicPr>
                      <p:cNvPr id="4" name="Object 3" hidden="1">
                        <a:extLst>
                          <a:ext uri="{FF2B5EF4-FFF2-40B4-BE49-F238E27FC236}">
                            <a16:creationId xmlns:a16="http://schemas.microsoft.com/office/drawing/2014/main" id="{D61A0193-B448-45BD-8D83-10692B54E8C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Freeform 14">
            <a:extLst>
              <a:ext uri="{FF2B5EF4-FFF2-40B4-BE49-F238E27FC236}">
                <a16:creationId xmlns:a16="http://schemas.microsoft.com/office/drawing/2014/main" id="{25510967-361D-4165-AF82-24EED5DEAA4A}"/>
              </a:ext>
            </a:extLst>
          </p:cNvPr>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EDEDED"/>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6E6F73"/>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lnSpc>
                <a:spcPct val="90000"/>
              </a:lnSpc>
              <a:spcAft>
                <a:spcPts val="1000"/>
              </a:spcAft>
            </a:pPr>
            <a:endParaRPr lang="en-US" sz="1200">
              <a:solidFill>
                <a:srgbClr val="FFFFFF"/>
              </a:solidFill>
              <a:latin typeface="+mn-lt"/>
              <a:ea typeface="+mn-ea"/>
              <a:cs typeface="+mn-cs"/>
              <a:sym typeface="Trebuchet MS" panose="020B0603020202020204" pitchFamily="34" charset="0"/>
            </a:endParaRPr>
          </a:p>
        </p:txBody>
      </p:sp>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extLst>
            <a:ext uri="{91240B29-F687-4F45-9708-019B960494DF}">
              <a14:hiddenLine xmlns:a14="http://schemas.microsoft.com/office/drawing/2010/main" w="9525" cap="rnd" cmpd="sng" algn="ctr">
                <a:solidFill>
                  <a:srgbClr val="6E6F73"/>
                </a:solidFill>
                <a:prstDash val="solid"/>
                <a:round/>
                <a:headEnd type="none" w="med" len="med"/>
                <a:tailEnd type="none" w="med" len="med"/>
              </a14:hiddenLine>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lnSpc>
                <a:spcPct val="90000"/>
              </a:lnSpc>
              <a:spcAft>
                <a:spcPts val="1000"/>
              </a:spcAft>
            </a:pPr>
            <a:endParaRPr lang="en-US" sz="1200">
              <a:solidFill>
                <a:srgbClr val="FFFFFF"/>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vert="horz" anchor="ctr" anchorCtr="0">
            <a:noAutofit/>
          </a:bodyPr>
          <a:lstStyle>
            <a:lvl1pPr>
              <a:defRPr sz="3200" baseline="0">
                <a:solidFill>
                  <a:srgbClr val="21BF61"/>
                </a:solidFill>
                <a:latin typeface="+mj-lt"/>
                <a:ea typeface="+mj-ea"/>
                <a:cs typeface="+mj-cs"/>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14" name="TextBox 13"/>
          <p:cNvSpPr txBox="1"/>
          <p:nvPr userDrawn="1"/>
        </p:nvSpPr>
        <p:spPr>
          <a:xfrm>
            <a:off x="11167872" y="6405037"/>
            <a:ext cx="381000" cy="153888"/>
          </a:xfrm>
          <a:prstGeom prst="rect">
            <a:avLst/>
          </a:prstGeom>
          <a:noFill/>
        </p:spPr>
        <p:txBody>
          <a:bodyPr vert="horz" wrap="square" lIns="0" tIns="0" rIns="0" bIns="0" rtlCol="0" anchor="b" anchorCtr="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0" smtClean="0">
                <a:solidFill>
                  <a:srgbClr val="7F7F7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0">
              <a:solidFill>
                <a:srgbClr val="7F7F7F"/>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solidFill>
          <a:srgbClr val="EDEDED"/>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33101466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041" name="Diapositive think-cell" r:id="rId5" imgW="324" imgH="324" progId="TCLayout.ActiveDocument.1">
                  <p:embed/>
                </p:oleObj>
              </mc:Choice>
              <mc:Fallback>
                <p:oleObj name="Diapositive think-cell" r:id="rId5" imgW="324" imgH="32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7"/>
            <a:ext cx="381000" cy="153888"/>
          </a:xfrm>
          <a:prstGeom prst="rect">
            <a:avLst/>
          </a:prstGeom>
          <a:noFill/>
        </p:spPr>
        <p:txBody>
          <a:bodyPr vert="horz" wrap="square" lIns="0" tIns="0" rIns="0" bIns="0" rtlCol="0" anchor="b" anchorCtr="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0" smtClean="0">
                <a:solidFill>
                  <a:srgbClr val="7F7F7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0">
              <a:solidFill>
                <a:srgbClr val="7F7F7F"/>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21BF61"/>
                </a:solidFill>
                <a:latin typeface="+mj-lt"/>
                <a:ea typeface="+mj-ea"/>
                <a:cs typeface="+mj-cs"/>
                <a:sym typeface="Trebuchet MS" panose="020B0603020202020204" pitchFamily="34" charset="0"/>
              </a:defRPr>
            </a:lvl1pPr>
          </a:lstStyle>
          <a:p>
            <a:r>
              <a:rPr lang="en-US"/>
              <a:t>Click to add title</a:t>
            </a: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E4B8A33-4EC4-4C1E-A687-1142DC6E539C}"/>
              </a:ext>
            </a:extLst>
          </p:cNvPr>
          <p:cNvGraphicFramePr>
            <a:graphicFrameLocks noChangeAspect="1"/>
          </p:cNvGraphicFramePr>
          <p:nvPr userDrawn="1">
            <p:custDataLst>
              <p:tags r:id="rId2"/>
            </p:custDataLst>
            <p:extLst>
              <p:ext uri="{D42A27DB-BD31-4B8C-83A1-F6EECF244321}">
                <p14:modId xmlns:p14="http://schemas.microsoft.com/office/powerpoint/2010/main" val="32342163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065" name="Diapositive think-cell" r:id="rId4" imgW="286" imgH="286" progId="TCLayout.ActiveDocument.1">
                  <p:embed/>
                </p:oleObj>
              </mc:Choice>
              <mc:Fallback>
                <p:oleObj name="Diapositive think-cell" r:id="rId4" imgW="286" imgH="286" progId="TCLayout.ActiveDocument.1">
                  <p:embed/>
                  <p:pic>
                    <p:nvPicPr>
                      <p:cNvPr id="3" name="Object 2" hidden="1">
                        <a:extLst>
                          <a:ext uri="{FF2B5EF4-FFF2-40B4-BE49-F238E27FC236}">
                            <a16:creationId xmlns:a16="http://schemas.microsoft.com/office/drawing/2014/main" id="{6E4B8A33-4EC4-4C1E-A687-1142DC6E539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solidFill>
            <a:srgbClr val="EDEDED"/>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6E6F73"/>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lnSpc>
                <a:spcPct val="90000"/>
              </a:lnSpc>
              <a:spcAft>
                <a:spcPts val="1000"/>
              </a:spcAft>
            </a:pPr>
            <a:endParaRPr lang="en-US" sz="1200">
              <a:solidFill>
                <a:srgbClr val="FFFFFF"/>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21BF61"/>
                </a:solidFill>
                <a:latin typeface="+mj-lt"/>
                <a:ea typeface="+mj-ea"/>
                <a:cs typeface="+mj-cs"/>
                <a:sym typeface="Trebuchet MS" panose="020B0603020202020204" pitchFamily="34" charset="0"/>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16" name="TextBox 15"/>
          <p:cNvSpPr txBox="1"/>
          <p:nvPr userDrawn="1"/>
        </p:nvSpPr>
        <p:spPr>
          <a:xfrm>
            <a:off x="11167872" y="6405037"/>
            <a:ext cx="381000" cy="153888"/>
          </a:xfrm>
          <a:prstGeom prst="rect">
            <a:avLst/>
          </a:prstGeom>
          <a:noFill/>
        </p:spPr>
        <p:txBody>
          <a:bodyPr vert="horz" wrap="square" lIns="0" tIns="0" rIns="0" bIns="0" rtlCol="0" anchor="b" anchorCtr="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0" smtClean="0">
                <a:solidFill>
                  <a:srgbClr val="7F7F7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0">
              <a:solidFill>
                <a:srgbClr val="7F7F7F"/>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solidFill>
          <a:srgbClr val="EDEDED"/>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70F52D-56AA-429C-B3A4-A8B407B0EC87}"/>
              </a:ext>
            </a:extLst>
          </p:cNvPr>
          <p:cNvGraphicFramePr>
            <a:graphicFrameLocks noChangeAspect="1"/>
          </p:cNvGraphicFramePr>
          <p:nvPr userDrawn="1">
            <p:custDataLst>
              <p:tags r:id="rId3"/>
            </p:custDataLst>
            <p:extLst>
              <p:ext uri="{D42A27DB-BD31-4B8C-83A1-F6EECF244321}">
                <p14:modId xmlns:p14="http://schemas.microsoft.com/office/powerpoint/2010/main" val="37591809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089" name="Diapositive think-cell" r:id="rId5" imgW="286" imgH="286" progId="TCLayout.ActiveDocument.1">
                  <p:embed/>
                </p:oleObj>
              </mc:Choice>
              <mc:Fallback>
                <p:oleObj name="Diapositive think-cell" r:id="rId5" imgW="286" imgH="286" progId="TCLayout.ActiveDocument.1">
                  <p:embed/>
                  <p:pic>
                    <p:nvPicPr>
                      <p:cNvPr id="3" name="Object 2" hidden="1">
                        <a:extLst>
                          <a:ext uri="{FF2B5EF4-FFF2-40B4-BE49-F238E27FC236}">
                            <a16:creationId xmlns:a16="http://schemas.microsoft.com/office/drawing/2014/main" id="{6D70F52D-56AA-429C-B3A4-A8B407B0EC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5" name="TextBox 14"/>
          <p:cNvSpPr txBox="1"/>
          <p:nvPr userDrawn="1"/>
        </p:nvSpPr>
        <p:spPr>
          <a:xfrm>
            <a:off x="11167872" y="6405037"/>
            <a:ext cx="381000" cy="153888"/>
          </a:xfrm>
          <a:prstGeom prst="rect">
            <a:avLst/>
          </a:prstGeom>
          <a:noFill/>
        </p:spPr>
        <p:txBody>
          <a:bodyPr vert="horz" wrap="square" lIns="0" tIns="0" rIns="0" bIns="0" rtlCol="0" anchor="b" anchorCtr="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0" smtClean="0">
                <a:solidFill>
                  <a:srgbClr val="7F7F7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0">
              <a:solidFill>
                <a:srgbClr val="7F7F7F"/>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b" anchorCtr="0">
            <a:noAutofit/>
          </a:bodyPr>
          <a:lstStyle>
            <a:lvl1pPr marL="0" indent="0" algn="l">
              <a:lnSpc>
                <a:spcPct val="93000"/>
              </a:lnSpc>
              <a:spcBef>
                <a:spcPct val="0"/>
              </a:spcBef>
              <a:spcAft>
                <a:spcPts val="0"/>
              </a:spcAft>
              <a:defRPr sz="3200" b="0" i="0" u="none" kern="0" spc="0">
                <a:solidFill>
                  <a:srgbClr val="21BF61"/>
                </a:solidFill>
                <a:latin typeface="+mj-lt"/>
                <a:ea typeface="+mj-ea"/>
                <a:cs typeface="+mj-cs"/>
                <a:sym typeface="Trebuchet MS" panose="020B0603020202020204" pitchFamily="34" charset="0"/>
              </a:defRPr>
            </a:lvl1pPr>
          </a:lstStyle>
          <a:p>
            <a:pPr lvl="0"/>
            <a:r>
              <a:rPr lang="en-US"/>
              <a:t>Click to add title</a:t>
            </a: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E71EC37-5C52-4548-AE62-E8F8BAFEBFC7}"/>
              </a:ext>
            </a:extLst>
          </p:cNvPr>
          <p:cNvGraphicFramePr>
            <a:graphicFrameLocks noChangeAspect="1"/>
          </p:cNvGraphicFramePr>
          <p:nvPr userDrawn="1">
            <p:custDataLst>
              <p:tags r:id="rId2"/>
            </p:custDataLst>
            <p:extLst>
              <p:ext uri="{D42A27DB-BD31-4B8C-83A1-F6EECF244321}">
                <p14:modId xmlns:p14="http://schemas.microsoft.com/office/powerpoint/2010/main" val="41160303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113" name="Diapositive think-cell" r:id="rId4" imgW="286" imgH="286" progId="TCLayout.ActiveDocument.1">
                  <p:embed/>
                </p:oleObj>
              </mc:Choice>
              <mc:Fallback>
                <p:oleObj name="Diapositive think-cell" r:id="rId4" imgW="286" imgH="286" progId="TCLayout.ActiveDocument.1">
                  <p:embed/>
                  <p:pic>
                    <p:nvPicPr>
                      <p:cNvPr id="3" name="Object 2" hidden="1">
                        <a:extLst>
                          <a:ext uri="{FF2B5EF4-FFF2-40B4-BE49-F238E27FC236}">
                            <a16:creationId xmlns:a16="http://schemas.microsoft.com/office/drawing/2014/main" id="{4E71EC37-5C52-4548-AE62-E8F8BAFEBF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solidFill>
            <a:srgbClr val="EDEDED"/>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6E6F73"/>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lnSpc>
                <a:spcPct val="90000"/>
              </a:lnSpc>
              <a:spcAft>
                <a:spcPts val="1000"/>
              </a:spcAft>
            </a:pPr>
            <a:endParaRPr lang="en-US" sz="1200">
              <a:solidFill>
                <a:srgbClr val="FFFFFF"/>
              </a:solidFill>
              <a:latin typeface="+mn-lt"/>
              <a:ea typeface="+mn-ea"/>
              <a:cs typeface="+mn-cs"/>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b" anchorCtr="0">
            <a:noAutofit/>
          </a:bodyPr>
          <a:lstStyle>
            <a:lvl1pPr marL="0" indent="0" algn="l">
              <a:lnSpc>
                <a:spcPct val="93000"/>
              </a:lnSpc>
              <a:spcBef>
                <a:spcPct val="0"/>
              </a:spcBef>
              <a:spcAft>
                <a:spcPts val="0"/>
              </a:spcAft>
              <a:defRPr sz="3200" b="0" i="0" u="none" kern="0" spc="0">
                <a:solidFill>
                  <a:srgbClr val="21BF61"/>
                </a:solidFill>
                <a:latin typeface="+mj-lt"/>
                <a:ea typeface="+mj-ea"/>
                <a:cs typeface="+mj-cs"/>
                <a:sym typeface="Trebuchet MS" panose="020B0603020202020204" pitchFamily="34" charset="0"/>
              </a:defRPr>
            </a:lvl1pPr>
          </a:lstStyle>
          <a:p>
            <a:pPr lvl="0"/>
            <a:r>
              <a:rPr lang="en-US"/>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13" name="TextBox 12"/>
          <p:cNvSpPr txBox="1"/>
          <p:nvPr userDrawn="1"/>
        </p:nvSpPr>
        <p:spPr>
          <a:xfrm>
            <a:off x="11167872" y="6405037"/>
            <a:ext cx="381000" cy="153888"/>
          </a:xfrm>
          <a:prstGeom prst="rect">
            <a:avLst/>
          </a:prstGeom>
          <a:noFill/>
        </p:spPr>
        <p:txBody>
          <a:bodyPr vert="horz" wrap="square" lIns="0" tIns="0" rIns="0" bIns="0" rtlCol="0" anchor="b" anchorCtr="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0" smtClean="0">
                <a:solidFill>
                  <a:srgbClr val="7F7F7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0">
              <a:solidFill>
                <a:srgbClr val="7F7F7F"/>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solidFill>
          <a:srgbClr val="EDEDED"/>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1A98426-7553-4BC6-B68B-8D83D6BBF267}"/>
              </a:ext>
            </a:extLst>
          </p:cNvPr>
          <p:cNvGraphicFramePr>
            <a:graphicFrameLocks noChangeAspect="1"/>
          </p:cNvGraphicFramePr>
          <p:nvPr userDrawn="1">
            <p:custDataLst>
              <p:tags r:id="rId3"/>
            </p:custDataLst>
            <p:extLst>
              <p:ext uri="{D42A27DB-BD31-4B8C-83A1-F6EECF244321}">
                <p14:modId xmlns:p14="http://schemas.microsoft.com/office/powerpoint/2010/main" val="40384087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37" name="Diapositive think-cell" r:id="rId5" imgW="286" imgH="286" progId="TCLayout.ActiveDocument.1">
                  <p:embed/>
                </p:oleObj>
              </mc:Choice>
              <mc:Fallback>
                <p:oleObj name="Diapositive think-cell" r:id="rId5" imgW="286" imgH="286" progId="TCLayout.ActiveDocument.1">
                  <p:embed/>
                  <p:pic>
                    <p:nvPicPr>
                      <p:cNvPr id="3" name="Object 2" hidden="1">
                        <a:extLst>
                          <a:ext uri="{FF2B5EF4-FFF2-40B4-BE49-F238E27FC236}">
                            <a16:creationId xmlns:a16="http://schemas.microsoft.com/office/drawing/2014/main" id="{C1A98426-7553-4BC6-B68B-8D83D6BBF26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5" name="TextBox 14"/>
          <p:cNvSpPr txBox="1"/>
          <p:nvPr userDrawn="1"/>
        </p:nvSpPr>
        <p:spPr>
          <a:xfrm>
            <a:off x="11167872" y="6405037"/>
            <a:ext cx="381000" cy="153888"/>
          </a:xfrm>
          <a:prstGeom prst="rect">
            <a:avLst/>
          </a:prstGeom>
          <a:noFill/>
        </p:spPr>
        <p:txBody>
          <a:bodyPr vert="horz" wrap="square" lIns="0" tIns="0" rIns="0" bIns="0" rtlCol="0" anchor="b" anchorCtr="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0" smtClean="0">
                <a:solidFill>
                  <a:srgbClr val="7F7F7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0">
              <a:solidFill>
                <a:srgbClr val="7F7F7F"/>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b" anchorCtr="0">
            <a:noAutofit/>
          </a:bodyPr>
          <a:lstStyle>
            <a:lvl1pPr marL="0" indent="0" algn="l">
              <a:lnSpc>
                <a:spcPct val="93000"/>
              </a:lnSpc>
              <a:spcBef>
                <a:spcPct val="0"/>
              </a:spcBef>
              <a:spcAft>
                <a:spcPts val="0"/>
              </a:spcAft>
              <a:defRPr sz="3200" b="0" i="0" u="none" kern="0" spc="0">
                <a:solidFill>
                  <a:srgbClr val="21BF61"/>
                </a:solidFill>
                <a:latin typeface="+mj-lt"/>
                <a:ea typeface="+mj-ea"/>
                <a:cs typeface="+mj-cs"/>
                <a:sym typeface="Trebuchet MS" panose="020B0603020202020204" pitchFamily="34" charset="0"/>
              </a:defRPr>
            </a:lvl1pPr>
          </a:lstStyle>
          <a:p>
            <a:pPr lvl="0"/>
            <a:r>
              <a:rPr lang="en-US"/>
              <a:t>Click to add title</a:t>
            </a:r>
          </a:p>
        </p:txBody>
      </p:sp>
      <p:pic>
        <p:nvPicPr>
          <p:cNvPr id="16" name="Picture 15"/>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EA95708-76A1-4ABF-80BD-33B85E386BE4}"/>
              </a:ext>
            </a:extLst>
          </p:cNvPr>
          <p:cNvGraphicFramePr>
            <a:graphicFrameLocks noChangeAspect="1"/>
          </p:cNvGraphicFramePr>
          <p:nvPr userDrawn="1">
            <p:custDataLst>
              <p:tags r:id="rId2"/>
            </p:custDataLst>
            <p:extLst>
              <p:ext uri="{D42A27DB-BD31-4B8C-83A1-F6EECF244321}">
                <p14:modId xmlns:p14="http://schemas.microsoft.com/office/powerpoint/2010/main" val="18972364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61" name="Diapositive think-cell" r:id="rId4" imgW="286" imgH="286" progId="TCLayout.ActiveDocument.1">
                  <p:embed/>
                </p:oleObj>
              </mc:Choice>
              <mc:Fallback>
                <p:oleObj name="Diapositive think-cell" r:id="rId4" imgW="286" imgH="286" progId="TCLayout.ActiveDocument.1">
                  <p:embed/>
                  <p:pic>
                    <p:nvPicPr>
                      <p:cNvPr id="3" name="Object 2" hidden="1">
                        <a:extLst>
                          <a:ext uri="{FF2B5EF4-FFF2-40B4-BE49-F238E27FC236}">
                            <a16:creationId xmlns:a16="http://schemas.microsoft.com/office/drawing/2014/main" id="{4EA95708-76A1-4ABF-80BD-33B85E386BE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EDEDED"/>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6E6F73"/>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lnSpc>
                <a:spcPct val="90000"/>
              </a:lnSpc>
              <a:spcAft>
                <a:spcPts val="1000"/>
              </a:spcAft>
            </a:pPr>
            <a:endParaRPr lang="en-US" sz="1200">
              <a:solidFill>
                <a:srgbClr val="FFFFFF"/>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b" anchorCtr="0">
            <a:noAutofit/>
          </a:bodyPr>
          <a:lstStyle>
            <a:lvl1pPr marL="0" indent="0" algn="l">
              <a:lnSpc>
                <a:spcPct val="93000"/>
              </a:lnSpc>
              <a:spcBef>
                <a:spcPct val="0"/>
              </a:spcBef>
              <a:spcAft>
                <a:spcPts val="0"/>
              </a:spcAft>
              <a:defRPr sz="3200" b="0" i="0" u="none" kern="0" spc="0">
                <a:solidFill>
                  <a:srgbClr val="21BF61"/>
                </a:solidFill>
                <a:latin typeface="+mj-lt"/>
                <a:ea typeface="+mj-ea"/>
                <a:cs typeface="+mj-cs"/>
                <a:sym typeface="Trebuchet MS" panose="020B0603020202020204" pitchFamily="34" charset="0"/>
              </a:defRPr>
            </a:lvl1pPr>
          </a:lstStyle>
          <a:p>
            <a:pPr lvl="0"/>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eyond layout 8">
    <p:bg>
      <p:bgPr>
        <a:solidFill>
          <a:srgbClr val="EDEDED"/>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39B814D-48A3-4A12-94C5-3B232E118125}"/>
              </a:ext>
            </a:extLst>
          </p:cNvPr>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1" name="Diapositive think-cell" r:id="rId5" imgW="286" imgH="286" progId="TCLayout.ActiveDocument.1">
                  <p:embed/>
                </p:oleObj>
              </mc:Choice>
              <mc:Fallback>
                <p:oleObj name="Diapositive think-cell" r:id="rId5" imgW="286" imgH="286" progId="TCLayout.ActiveDocument.1">
                  <p:embed/>
                  <p:pic>
                    <p:nvPicPr>
                      <p:cNvPr id="4" name="Object 3" hidden="1">
                        <a:extLst>
                          <a:ext uri="{FF2B5EF4-FFF2-40B4-BE49-F238E27FC236}">
                            <a16:creationId xmlns:a16="http://schemas.microsoft.com/office/drawing/2014/main" id="{E39B814D-48A3-4A12-94C5-3B232E11812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p>
        </p:txBody>
      </p:sp>
      <p:pic>
        <p:nvPicPr>
          <p:cNvPr id="7" name="Picture 6">
            <a:extLst>
              <a:ext uri="{FF2B5EF4-FFF2-40B4-BE49-F238E27FC236}">
                <a16:creationId xmlns:a16="http://schemas.microsoft.com/office/drawing/2014/main" id="{8C697F3D-14C2-4710-93EA-8EDEA9EFAF5E}"/>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rot="5400000">
            <a:off x="-381342" y="381342"/>
            <a:ext cx="6858001" cy="6095321"/>
          </a:xfrm>
          <a:prstGeom prst="rect">
            <a:avLst/>
          </a:prstGeom>
        </p:spPr>
      </p:pic>
      <p:sp>
        <p:nvSpPr>
          <p:cNvPr id="10" name="Rectangle 9">
            <a:extLst>
              <a:ext uri="{FF2B5EF4-FFF2-40B4-BE49-F238E27FC236}">
                <a16:creationId xmlns:a16="http://schemas.microsoft.com/office/drawing/2014/main" id="{AF15AA57-619A-42C3-B2E1-CFB77BFE9DFF}"/>
              </a:ext>
            </a:extLst>
          </p:cNvPr>
          <p:cNvSpPr/>
          <p:nvPr userDrawn="1"/>
        </p:nvSpPr>
        <p:spPr>
          <a:xfrm>
            <a:off x="-2" y="-1"/>
            <a:ext cx="6095321" cy="6857999"/>
          </a:xfrm>
          <a:prstGeom prst="rect">
            <a:avLst/>
          </a:prstGeom>
          <a:gradFill flip="none" rotWithShape="1">
            <a:gsLst>
              <a:gs pos="100000">
                <a:schemeClr val="accent1"/>
              </a:gs>
              <a:gs pos="0">
                <a:schemeClr val="accent1">
                  <a:alpha val="0"/>
                </a:schemeClr>
              </a:gs>
            </a:gsLst>
            <a:lin ang="13500000" scaled="1"/>
            <a:tileRect/>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pic>
        <p:nvPicPr>
          <p:cNvPr id="12" name="Picture 11">
            <a:extLst>
              <a:ext uri="{FF2B5EF4-FFF2-40B4-BE49-F238E27FC236}">
                <a16:creationId xmlns:a16="http://schemas.microsoft.com/office/drawing/2014/main" id="{BB824637-9BFD-4EE2-A8F6-E53E5EC8BB62}"/>
              </a:ext>
            </a:extLst>
          </p:cNvPr>
          <p:cNvPicPr>
            <a:picLocks noChangeAspect="1"/>
          </p:cNvPicPr>
          <p:nvPr userDrawn="1"/>
        </p:nvPicPr>
        <p:blipFill rotWithShape="1">
          <a:blip r:embed="rId8" cstate="screen">
            <a:extLst>
              <a:ext uri="{28A0092B-C50C-407E-A947-70E740481C1C}">
                <a14:useLocalDpi xmlns:a14="http://schemas.microsoft.com/office/drawing/2010/main"/>
              </a:ext>
            </a:extLst>
          </a:blip>
          <a:srcRect/>
          <a:stretch/>
        </p:blipFill>
        <p:spPr bwMode="ltGray">
          <a:xfrm flipV="1">
            <a:off x="6095323" y="0"/>
            <a:ext cx="416951" cy="6858000"/>
          </a:xfrm>
          <a:prstGeom prst="rect">
            <a:avLst/>
          </a:prstGeom>
        </p:spPr>
      </p:pic>
      <p:sp>
        <p:nvSpPr>
          <p:cNvPr id="9" name="Title 1"/>
          <p:cNvSpPr>
            <a:spLocks noGrp="1"/>
          </p:cNvSpPr>
          <p:nvPr>
            <p:ph type="title" hasCustomPrompt="1"/>
          </p:nvPr>
        </p:nvSpPr>
        <p:spPr bwMode="ltGray">
          <a:xfrm>
            <a:off x="630000" y="591774"/>
            <a:ext cx="3452400" cy="1495795"/>
          </a:xfrm>
          <a:prstGeom prst="rect">
            <a:avLst/>
          </a:prstGeom>
          <a:noFill/>
        </p:spPr>
        <p:txBody>
          <a:bodyPr vert="horz" wrap="square" lIns="0" tIns="0" rIns="320040" bIns="0" anchor="b">
            <a:noAutofit/>
          </a:bodyPr>
          <a:lstStyle>
            <a:lvl1pPr>
              <a:defRPr sz="3200">
                <a:solidFill>
                  <a:srgbClr val="FFFFFF"/>
                </a:solidFill>
                <a:latin typeface="+mj-lt"/>
              </a:defRPr>
            </a:lvl1pPr>
          </a:lstStyle>
          <a:p>
            <a:r>
              <a:rPr lang="en-US"/>
              <a:t>Click to add title</a:t>
            </a:r>
          </a:p>
        </p:txBody>
      </p:sp>
    </p:spTree>
    <p:extLst>
      <p:ext uri="{BB962C8B-B14F-4D97-AF65-F5344CB8AC3E}">
        <p14:creationId xmlns:p14="http://schemas.microsoft.com/office/powerpoint/2010/main" val="14364327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solidFill>
          <a:srgbClr val="EDEDED"/>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7BBF838-DDC3-4C1D-93C0-AB21BC5A600B}"/>
              </a:ext>
            </a:extLst>
          </p:cNvPr>
          <p:cNvGraphicFramePr>
            <a:graphicFrameLocks noChangeAspect="1"/>
          </p:cNvGraphicFramePr>
          <p:nvPr userDrawn="1">
            <p:custDataLst>
              <p:tags r:id="rId3"/>
            </p:custDataLst>
            <p:extLst>
              <p:ext uri="{D42A27DB-BD31-4B8C-83A1-F6EECF244321}">
                <p14:modId xmlns:p14="http://schemas.microsoft.com/office/powerpoint/2010/main" val="17391046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185" name="Diapositive think-cell" r:id="rId5" imgW="286" imgH="286" progId="TCLayout.ActiveDocument.1">
                  <p:embed/>
                </p:oleObj>
              </mc:Choice>
              <mc:Fallback>
                <p:oleObj name="Diapositive think-cell" r:id="rId5" imgW="286" imgH="286" progId="TCLayout.ActiveDocument.1">
                  <p:embed/>
                  <p:pic>
                    <p:nvPicPr>
                      <p:cNvPr id="5" name="Object 4" hidden="1">
                        <a:extLst>
                          <a:ext uri="{FF2B5EF4-FFF2-40B4-BE49-F238E27FC236}">
                            <a16:creationId xmlns:a16="http://schemas.microsoft.com/office/drawing/2014/main" id="{D7BBF838-DDC3-4C1D-93C0-AB21BC5A600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extBox 2"/>
          <p:cNvSpPr txBox="1"/>
          <p:nvPr/>
        </p:nvSpPr>
        <p:spPr>
          <a:xfrm>
            <a:off x="11167872" y="6405037"/>
            <a:ext cx="381000" cy="153888"/>
          </a:xfrm>
          <a:prstGeom prst="rect">
            <a:avLst/>
          </a:prstGeom>
          <a:noFill/>
        </p:spPr>
        <p:txBody>
          <a:bodyPr vert="horz" wrap="square" lIns="0" tIns="0" rIns="0" bIns="0" rtlCol="0" anchor="b" anchorCtr="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0" smtClean="0">
                <a:solidFill>
                  <a:srgbClr val="7F7F7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0">
              <a:solidFill>
                <a:srgbClr val="7F7F7F"/>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8"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21BF61"/>
                </a:solidFill>
                <a:latin typeface="+mj-lt"/>
                <a:ea typeface="+mj-ea"/>
                <a:cs typeface="+mj-cs"/>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2705580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7ACED4D-6EF6-4977-A3D9-DE68040E2537}"/>
              </a:ext>
            </a:extLst>
          </p:cNvPr>
          <p:cNvGraphicFramePr>
            <a:graphicFrameLocks noChangeAspect="1"/>
          </p:cNvGraphicFramePr>
          <p:nvPr userDrawn="1">
            <p:custDataLst>
              <p:tags r:id="rId2"/>
            </p:custDataLst>
            <p:extLst>
              <p:ext uri="{D42A27DB-BD31-4B8C-83A1-F6EECF244321}">
                <p14:modId xmlns:p14="http://schemas.microsoft.com/office/powerpoint/2010/main" val="1980609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09" name="Diapositive think-cell" r:id="rId4" imgW="286" imgH="286" progId="TCLayout.ActiveDocument.1">
                  <p:embed/>
                </p:oleObj>
              </mc:Choice>
              <mc:Fallback>
                <p:oleObj name="Diapositive think-cell" r:id="rId4" imgW="286" imgH="286" progId="TCLayout.ActiveDocument.1">
                  <p:embed/>
                  <p:pic>
                    <p:nvPicPr>
                      <p:cNvPr id="4" name="Object 3" hidden="1">
                        <a:extLst>
                          <a:ext uri="{FF2B5EF4-FFF2-40B4-BE49-F238E27FC236}">
                            <a16:creationId xmlns:a16="http://schemas.microsoft.com/office/drawing/2014/main" id="{07ACED4D-6EF6-4977-A3D9-DE68040E253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6" name="Rectangle 5"/>
          <p:cNvSpPr/>
          <p:nvPr userDrawn="1"/>
        </p:nvSpPr>
        <p:spPr bwMode="white">
          <a:xfrm>
            <a:off x="630000" y="625475"/>
            <a:ext cx="932688" cy="932688"/>
          </a:xfrm>
          <a:prstGeom prst="rect">
            <a:avLst/>
          </a:prstGeom>
          <a:noFill/>
          <a:ln>
            <a:solidFill>
              <a:srgbClr val="21BF6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21BF61"/>
                </a:solidFill>
                <a:latin typeface="+mj-lt"/>
                <a:ea typeface="+mj-ea"/>
                <a:cs typeface="+mj-cs"/>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rgbClr val="EDEDED"/>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944459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5233" name="Diapositive think-cell" r:id="rId4" imgW="324" imgH="324" progId="TCLayout.ActiveDocument.1">
                  <p:embed/>
                </p:oleObj>
              </mc:Choice>
              <mc:Fallback>
                <p:oleObj name="Diapositive think-cell" r:id="rId4" imgW="324" imgH="32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F8F8F8"/>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Trebuchet MS" panose="020B0603020202020204" pitchFamily="34" charset="0"/>
            </a:endParaRPr>
          </a:p>
        </p:txBody>
      </p:sp>
      <p:sp>
        <p:nvSpPr>
          <p:cNvPr id="10" name="TextBox 9">
            <a:extLst>
              <a:ext uri="{FF2B5EF4-FFF2-40B4-BE49-F238E27FC236}">
                <a16:creationId xmlns:a16="http://schemas.microsoft.com/office/drawing/2014/main" id="{2E29B6EC-AE4A-4771-B039-3685DE664F4B}"/>
              </a:ext>
            </a:extLst>
          </p:cNvPr>
          <p:cNvSpPr txBox="1"/>
          <p:nvPr userDrawn="1"/>
        </p:nvSpPr>
        <p:spPr bwMode="white">
          <a:xfrm>
            <a:off x="11167872" y="6405037"/>
            <a:ext cx="381000" cy="153888"/>
          </a:xfrm>
          <a:prstGeom prst="rect">
            <a:avLst/>
          </a:prstGeom>
          <a:noFill/>
        </p:spPr>
        <p:txBody>
          <a:bodyPr vert="horz" wrap="square" lIns="0" tIns="0" rIns="0" bIns="0" rtlCol="0" anchor="b" anchorCtr="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0" smtClean="0">
                <a:solidFill>
                  <a:srgbClr val="7F7F7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0">
              <a:solidFill>
                <a:srgbClr val="7F7F7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CBB02ED-30FF-4234-8DEC-CE832C1833CE}"/>
              </a:ext>
            </a:extLst>
          </p:cNvPr>
          <p:cNvGraphicFramePr>
            <a:graphicFrameLocks noChangeAspect="1"/>
          </p:cNvGraphicFramePr>
          <p:nvPr userDrawn="1">
            <p:custDataLst>
              <p:tags r:id="rId2"/>
            </p:custDataLst>
            <p:extLst>
              <p:ext uri="{D42A27DB-BD31-4B8C-83A1-F6EECF244321}">
                <p14:modId xmlns:p14="http://schemas.microsoft.com/office/powerpoint/2010/main" val="32146807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57" name="Diapositive think-cell" r:id="rId4" imgW="286" imgH="286" progId="TCLayout.ActiveDocument.1">
                  <p:embed/>
                </p:oleObj>
              </mc:Choice>
              <mc:Fallback>
                <p:oleObj name="Diapositive think-cell" r:id="rId4" imgW="286" imgH="286" progId="TCLayout.ActiveDocument.1">
                  <p:embed/>
                  <p:pic>
                    <p:nvPicPr>
                      <p:cNvPr id="6" name="Object 5" hidden="1">
                        <a:extLst>
                          <a:ext uri="{FF2B5EF4-FFF2-40B4-BE49-F238E27FC236}">
                            <a16:creationId xmlns:a16="http://schemas.microsoft.com/office/drawing/2014/main" id="{5CBB02ED-30FF-4234-8DEC-CE832C1833C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4" name="Title 3"/>
          <p:cNvSpPr>
            <a:spLocks noGrp="1"/>
          </p:cNvSpPr>
          <p:nvPr>
            <p:ph type="title" hasCustomPrompt="1"/>
          </p:nvPr>
        </p:nvSpPr>
        <p:spPr>
          <a:xfrm>
            <a:off x="630000" y="622800"/>
            <a:ext cx="10933200" cy="470898"/>
          </a:xfrm>
          <a:prstGeom prst="rect">
            <a:avLst/>
          </a:prstGeom>
        </p:spPr>
        <p:txBody>
          <a:bodyPr vert="horz" wrap="square" lIns="0" tIns="0" rIns="0" bIns="0" anchor="b" anchorCtr="0">
            <a:noAutofit/>
          </a:bodyPr>
          <a:lstStyle>
            <a:lvl1pPr>
              <a:defRPr sz="3200">
                <a:solidFill>
                  <a:srgbClr val="FFFFFF"/>
                </a:solidFill>
                <a:latin typeface="+mj-lt"/>
                <a:ea typeface="+mj-ea"/>
                <a:cs typeface="+mj-cs"/>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654C9A3-B1F6-46C8-88E1-95FF336BB274}"/>
              </a:ext>
            </a:extLst>
          </p:cNvPr>
          <p:cNvGraphicFramePr>
            <a:graphicFrameLocks noChangeAspect="1"/>
          </p:cNvGraphicFramePr>
          <p:nvPr userDrawn="1">
            <p:custDataLst>
              <p:tags r:id="rId2"/>
            </p:custDataLst>
            <p:extLst>
              <p:ext uri="{D42A27DB-BD31-4B8C-83A1-F6EECF244321}">
                <p14:modId xmlns:p14="http://schemas.microsoft.com/office/powerpoint/2010/main" val="9922597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281" name="Diapositive think-cell" r:id="rId4" imgW="286" imgH="286" progId="TCLayout.ActiveDocument.1">
                  <p:embed/>
                </p:oleObj>
              </mc:Choice>
              <mc:Fallback>
                <p:oleObj name="Diapositive think-cell" r:id="rId4" imgW="286" imgH="286" progId="TCLayout.ActiveDocument.1">
                  <p:embed/>
                  <p:pic>
                    <p:nvPicPr>
                      <p:cNvPr id="2" name="Object 1" hidden="1">
                        <a:extLst>
                          <a:ext uri="{FF2B5EF4-FFF2-40B4-BE49-F238E27FC236}">
                            <a16:creationId xmlns:a16="http://schemas.microsoft.com/office/drawing/2014/main" id="{5654C9A3-B1F6-46C8-88E1-95FF336BB27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solidFill>
          <a:srgbClr val="EDEDED"/>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9224ABF-4748-4980-B7E2-0B087EE6F710}"/>
              </a:ext>
            </a:extLst>
          </p:cNvPr>
          <p:cNvGraphicFramePr>
            <a:graphicFrameLocks noChangeAspect="1"/>
          </p:cNvGraphicFramePr>
          <p:nvPr userDrawn="1">
            <p:custDataLst>
              <p:tags r:id="rId3"/>
            </p:custDataLst>
            <p:extLst>
              <p:ext uri="{D42A27DB-BD31-4B8C-83A1-F6EECF244321}">
                <p14:modId xmlns:p14="http://schemas.microsoft.com/office/powerpoint/2010/main" val="373312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305" name="Diapositive think-cell" r:id="rId5" imgW="286" imgH="286" progId="TCLayout.ActiveDocument.1">
                  <p:embed/>
                </p:oleObj>
              </mc:Choice>
              <mc:Fallback>
                <p:oleObj name="Diapositive think-cell" r:id="rId5" imgW="286" imgH="286" progId="TCLayout.ActiveDocument.1">
                  <p:embed/>
                  <p:pic>
                    <p:nvPicPr>
                      <p:cNvPr id="3" name="Object 2" hidden="1">
                        <a:extLst>
                          <a:ext uri="{FF2B5EF4-FFF2-40B4-BE49-F238E27FC236}">
                            <a16:creationId xmlns:a16="http://schemas.microsoft.com/office/drawing/2014/main" id="{B9224ABF-4748-4980-B7E2-0B087EE6F7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extBox 6"/>
          <p:cNvSpPr txBox="1"/>
          <p:nvPr userDrawn="1"/>
        </p:nvSpPr>
        <p:spPr bwMode="white">
          <a:xfrm>
            <a:off x="11167872" y="6405037"/>
            <a:ext cx="381000" cy="153888"/>
          </a:xfrm>
          <a:prstGeom prst="rect">
            <a:avLst/>
          </a:prstGeom>
          <a:noFill/>
        </p:spPr>
        <p:txBody>
          <a:bodyPr vert="horz" wrap="square" lIns="0" tIns="0" rIns="0" bIns="0" rtlCol="0" anchor="b" anchorCtr="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0" smtClean="0">
                <a:solidFill>
                  <a:srgbClr val="7F7F7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0">
              <a:solidFill>
                <a:srgbClr val="7F7F7F"/>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29023109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Disclaimer">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1F9E230-8198-4882-B586-954A535DA6BA}"/>
              </a:ext>
            </a:extLst>
          </p:cNvPr>
          <p:cNvGraphicFramePr>
            <a:graphicFrameLocks noChangeAspect="1"/>
          </p:cNvGraphicFramePr>
          <p:nvPr userDrawn="1">
            <p:custDataLst>
              <p:tags r:id="rId2"/>
            </p:custDataLst>
            <p:extLst>
              <p:ext uri="{D42A27DB-BD31-4B8C-83A1-F6EECF244321}">
                <p14:modId xmlns:p14="http://schemas.microsoft.com/office/powerpoint/2010/main" val="5331692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329" name="Diapositive think-cell" r:id="rId4" imgW="286" imgH="286" progId="TCLayout.ActiveDocument.1">
                  <p:embed/>
                </p:oleObj>
              </mc:Choice>
              <mc:Fallback>
                <p:oleObj name="Diapositive think-cell" r:id="rId4" imgW="286" imgH="286" progId="TCLayout.ActiveDocument.1">
                  <p:embed/>
                  <p:pic>
                    <p:nvPicPr>
                      <p:cNvPr id="3" name="Object 2" hidden="1">
                        <a:extLst>
                          <a:ext uri="{FF2B5EF4-FFF2-40B4-BE49-F238E27FC236}">
                            <a16:creationId xmlns:a16="http://schemas.microsoft.com/office/drawing/2014/main" id="{F1F9E230-8198-4882-B586-954A535DA6B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5270A884-D1C9-4250-A7A1-B56BDEF292EA}"/>
              </a:ext>
            </a:extLst>
          </p:cNvPr>
          <p:cNvSpPr>
            <a:spLocks noGrp="1"/>
          </p:cNvSpPr>
          <p:nvPr>
            <p:ph type="body" sz="quarter" idx="11"/>
          </p:nvPr>
        </p:nvSpPr>
        <p:spPr>
          <a:xfrm>
            <a:off x="5021826" y="1664256"/>
            <a:ext cx="6209072" cy="3323987"/>
          </a:xfrm>
        </p:spPr>
        <p:txBody>
          <a:bodyPr wrap="square" lIns="0" tIns="0" rIns="0" bIns="0" anchor="t">
            <a:noAutofit/>
          </a:bodyPr>
          <a:lstStyle>
            <a:lvl1pPr>
              <a:defRPr lang="en-US" sz="900" b="0" dirty="0">
                <a:solidFill>
                  <a:schemeClr val="tx1"/>
                </a:solidFill>
                <a:latin typeface="+mn-lt"/>
                <a:ea typeface="+mn-ea"/>
                <a:cs typeface="+mn-cs"/>
              </a:defRPr>
            </a:lvl1pPr>
          </a:lstStyle>
          <a:p>
            <a:pPr lvl="0">
              <a:lnSpc>
                <a:spcPct val="100000"/>
              </a:lnSpc>
            </a:pPr>
            <a:endParaRPr lang="en-US"/>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a:solidFill>
                  <a:srgbClr val="21BF61"/>
                </a:solidFill>
                <a:latin typeface="+mn-lt"/>
                <a:ea typeface="+mn-ea"/>
                <a:cs typeface="+mn-cs"/>
                <a:sym typeface="Trebuchet MS" panose="020B0603020202020204" pitchFamily="34" charset="0"/>
              </a:rPr>
              <a:t>Disclaimer</a:t>
            </a:r>
          </a:p>
        </p:txBody>
      </p:sp>
      <p:cxnSp>
        <p:nvCxnSpPr>
          <p:cNvPr id="9" name="Straight Connector 8"/>
          <p:cNvCxnSpPr/>
          <p:nvPr/>
        </p:nvCxnSpPr>
        <p:spPr>
          <a:xfrm>
            <a:off x="4418698" y="1664256"/>
            <a:ext cx="0" cy="3392129"/>
          </a:xfrm>
          <a:prstGeom prst="line">
            <a:avLst/>
          </a:prstGeom>
          <a:ln w="9525">
            <a:solidFill>
              <a:srgbClr val="21BF61"/>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668261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0353" name="Diapositive think-cell" r:id="rId4" imgW="384" imgH="384" progId="TCLayout.ActiveDocument.1">
                  <p:embed/>
                </p:oleObj>
              </mc:Choice>
              <mc:Fallback>
                <p:oleObj name="Diapositive think-cell"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0" name="Picture 19">
            <a:extLst>
              <a:ext uri="{FF2B5EF4-FFF2-40B4-BE49-F238E27FC236}">
                <a16:creationId xmlns:a16="http://schemas.microsoft.com/office/drawing/2014/main" id="{81FABF6C-EC9B-432D-AC6E-66A1C30E2BFE}"/>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1" name="Rectangle 20">
            <a:extLst>
              <a:ext uri="{FF2B5EF4-FFF2-40B4-BE49-F238E27FC236}">
                <a16:creationId xmlns:a16="http://schemas.microsoft.com/office/drawing/2014/main" id="{446A376F-BC85-419B-804F-7802813A83C3}"/>
              </a:ext>
            </a:extLst>
          </p:cNvPr>
          <p:cNvSpPr/>
          <p:nvPr userDrawn="1"/>
        </p:nvSpPr>
        <p:spPr>
          <a:xfrm rot="10800000">
            <a:off x="-1" y="0"/>
            <a:ext cx="12192000" cy="6858000"/>
          </a:xfrm>
          <a:prstGeom prst="rect">
            <a:avLst/>
          </a:prstGeom>
          <a:gradFill flip="none" rotWithShape="1">
            <a:gsLst>
              <a:gs pos="100000">
                <a:srgbClr val="222222">
                  <a:alpha val="69000"/>
                </a:srgbClr>
              </a:gs>
              <a:gs pos="0">
                <a:srgbClr val="222222">
                  <a:alpha val="0"/>
                </a:srgbClr>
              </a:gs>
            </a:gsLst>
            <a:lin ang="0" scaled="1"/>
            <a:tileRect/>
          </a:gra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n-lt"/>
              <a:ea typeface="+mn-ea"/>
              <a:cs typeface="+mn-cs"/>
            </a:endParaRPr>
          </a:p>
        </p:txBody>
      </p:sp>
      <p:grpSp>
        <p:nvGrpSpPr>
          <p:cNvPr id="22" name="Group 21">
            <a:extLst>
              <a:ext uri="{FF2B5EF4-FFF2-40B4-BE49-F238E27FC236}">
                <a16:creationId xmlns:a16="http://schemas.microsoft.com/office/drawing/2014/main" id="{EB8612DD-A5F5-4A38-9DE0-3ADA9DEAD314}"/>
              </a:ext>
            </a:extLst>
          </p:cNvPr>
          <p:cNvGrpSpPr/>
          <p:nvPr userDrawn="1"/>
        </p:nvGrpSpPr>
        <p:grpSpPr>
          <a:xfrm>
            <a:off x="4242626" y="1458410"/>
            <a:ext cx="3708097" cy="3772029"/>
            <a:chOff x="1803027" y="0"/>
            <a:chExt cx="4712589" cy="4793839"/>
          </a:xfrm>
        </p:grpSpPr>
        <p:sp>
          <p:nvSpPr>
            <p:cNvPr id="23" name="Rectangle 22">
              <a:extLst>
                <a:ext uri="{FF2B5EF4-FFF2-40B4-BE49-F238E27FC236}">
                  <a16:creationId xmlns:a16="http://schemas.microsoft.com/office/drawing/2014/main" id="{7BD2B94F-94EA-4EAB-AE64-FBCA41886B9B}"/>
                </a:ext>
              </a:extLst>
            </p:cNvPr>
            <p:cNvSpPr/>
            <p:nvPr/>
          </p:nvSpPr>
          <p:spPr>
            <a:xfrm>
              <a:off x="1803027" y="0"/>
              <a:ext cx="4712589" cy="4793839"/>
            </a:xfrm>
            <a:prstGeom prst="rect">
              <a:avLst/>
            </a:prstGeom>
            <a:solidFill>
              <a:sysClr val="window" lastClr="FFFFFF"/>
            </a:soli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n-lt"/>
                <a:ea typeface="+mn-ea"/>
                <a:cs typeface="+mn-cs"/>
              </a:endParaRPr>
            </a:p>
          </p:txBody>
        </p:sp>
        <p:sp>
          <p:nvSpPr>
            <p:cNvPr id="24" name="Rectangle 23">
              <a:extLst>
                <a:ext uri="{FF2B5EF4-FFF2-40B4-BE49-F238E27FC236}">
                  <a16:creationId xmlns:a16="http://schemas.microsoft.com/office/drawing/2014/main" id="{9F9D4F53-DC24-4C70-8ED2-485A0C8C833C}"/>
                </a:ext>
              </a:extLst>
            </p:cNvPr>
            <p:cNvSpPr/>
            <p:nvPr/>
          </p:nvSpPr>
          <p:spPr>
            <a:xfrm>
              <a:off x="2222643" y="426851"/>
              <a:ext cx="3873357" cy="3940138"/>
            </a:xfrm>
            <a:prstGeom prst="rect">
              <a:avLst/>
            </a:prstGeom>
            <a:solidFill>
              <a:srgbClr val="EDEDED"/>
            </a:soli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n-lt"/>
                <a:ea typeface="+mn-ea"/>
                <a:cs typeface="+mn-cs"/>
              </a:endParaRPr>
            </a:p>
          </p:txBody>
        </p:sp>
      </p:grpSp>
      <p:sp>
        <p:nvSpPr>
          <p:cNvPr id="25" name="Title 2">
            <a:extLst>
              <a:ext uri="{FF2B5EF4-FFF2-40B4-BE49-F238E27FC236}">
                <a16:creationId xmlns:a16="http://schemas.microsoft.com/office/drawing/2014/main" id="{8CF63F5B-0B8E-40A5-83E6-B5BF43694349}"/>
              </a:ext>
            </a:extLst>
          </p:cNvPr>
          <p:cNvSpPr txBox="1">
            <a:spLocks/>
          </p:cNvSpPr>
          <p:nvPr userDrawn="1"/>
        </p:nvSpPr>
        <p:spPr>
          <a:xfrm>
            <a:off x="4572800" y="2031697"/>
            <a:ext cx="3047749" cy="1678995"/>
          </a:xfrm>
          <a:prstGeom prst="rect">
            <a:avLst/>
          </a:prstGeom>
        </p:spPr>
        <p:txBody>
          <a:bodyPr vert="horz" wrap="square" lIns="0" tIns="0" rIns="0" bIns="0" rtlCol="0" anchor="b">
            <a:noAutofit/>
          </a:bodyPr>
          <a:lstStyle>
            <a:lvl1pPr algn="l" defTabSz="914400" rtl="0" eaLnBrk="1" latinLnBrk="0" hangingPunct="1">
              <a:lnSpc>
                <a:spcPct val="93000"/>
              </a:lnSpc>
              <a:spcBef>
                <a:spcPct val="0"/>
              </a:spcBef>
              <a:buNone/>
              <a:defRPr sz="4000" b="0" kern="0">
                <a:solidFill>
                  <a:srgbClr val="575757"/>
                </a:solidFill>
                <a:latin typeface="+mj-lt"/>
                <a:ea typeface="+mj-ea"/>
                <a:cs typeface="+mj-cs"/>
                <a:sym typeface="+mj-lt"/>
              </a:defRPr>
            </a:lvl1pPr>
          </a:lstStyle>
          <a:p>
            <a:pPr algn="ctr"/>
            <a:r>
              <a:rPr lang="en-US">
                <a:solidFill>
                  <a:srgbClr val="21BF61"/>
                </a:solidFill>
                <a:latin typeface="+mn-lt"/>
                <a:ea typeface="+mn-ea"/>
                <a:cs typeface="+mn-cs"/>
              </a:rPr>
              <a:t>Thank you</a:t>
            </a:r>
          </a:p>
        </p:txBody>
      </p:sp>
      <p:pic>
        <p:nvPicPr>
          <p:cNvPr id="26" name="Picture 25">
            <a:extLst>
              <a:ext uri="{FF2B5EF4-FFF2-40B4-BE49-F238E27FC236}">
                <a16:creationId xmlns:a16="http://schemas.microsoft.com/office/drawing/2014/main" id="{F8431688-E44F-4CDA-93BE-307709938522}"/>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t="-2"/>
          <a:stretch/>
        </p:blipFill>
        <p:spPr>
          <a:xfrm>
            <a:off x="27558" y="1526299"/>
            <a:ext cx="12164441" cy="5331701"/>
          </a:xfrm>
          <a:prstGeom prst="rect">
            <a:avLst/>
          </a:prstGeom>
        </p:spPr>
      </p:pic>
      <p:pic>
        <p:nvPicPr>
          <p:cNvPr id="27" name="Picture 26">
            <a:extLst>
              <a:ext uri="{FF2B5EF4-FFF2-40B4-BE49-F238E27FC236}">
                <a16:creationId xmlns:a16="http://schemas.microsoft.com/office/drawing/2014/main" id="{2447A2DB-9E7C-4343-83D3-9A410DB53497}"/>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974921" y="5570166"/>
            <a:ext cx="2772891" cy="970512"/>
          </a:xfrm>
          <a:prstGeom prst="rect">
            <a:avLst/>
          </a:prstGeom>
        </p:spPr>
      </p:pic>
    </p:spTree>
    <p:extLst>
      <p:ext uri="{BB962C8B-B14F-4D97-AF65-F5344CB8AC3E}">
        <p14:creationId xmlns:p14="http://schemas.microsoft.com/office/powerpoint/2010/main" val="366124750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044EBF1-ABC8-4960-9D21-6F36E99A8050}"/>
              </a:ext>
            </a:extLst>
          </p:cNvPr>
          <p:cNvGraphicFramePr>
            <a:graphicFrameLocks noChangeAspect="1"/>
          </p:cNvGraphicFramePr>
          <p:nvPr userDrawn="1">
            <p:custDataLst>
              <p:tags r:id="rId2"/>
            </p:custDataLst>
            <p:extLst>
              <p:ext uri="{D42A27DB-BD31-4B8C-83A1-F6EECF244321}">
                <p14:modId xmlns:p14="http://schemas.microsoft.com/office/powerpoint/2010/main" val="23752864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1377" name="Diapositive think-cell" r:id="rId4" imgW="286" imgH="286" progId="TCLayout.ActiveDocument.1">
                  <p:embed/>
                </p:oleObj>
              </mc:Choice>
              <mc:Fallback>
                <p:oleObj name="Diapositive think-cell" r:id="rId4" imgW="286" imgH="286" progId="TCLayout.ActiveDocument.1">
                  <p:embed/>
                  <p:pic>
                    <p:nvPicPr>
                      <p:cNvPr id="3" name="Object 2" hidden="1">
                        <a:extLst>
                          <a:ext uri="{FF2B5EF4-FFF2-40B4-BE49-F238E27FC236}">
                            <a16:creationId xmlns:a16="http://schemas.microsoft.com/office/drawing/2014/main" id="{7044EBF1-ABC8-4960-9D21-6F36E99A80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endParaRPr>
            </a:p>
          </p:txBody>
        </p:sp>
        <p:sp>
          <p:nvSpPr>
            <p:cNvPr id="60" name="Footnote example"/>
            <p:cNvSpPr txBox="1"/>
            <p:nvPr/>
          </p:nvSpPr>
          <p:spPr>
            <a:xfrm>
              <a:off x="630000" y="6185991"/>
              <a:ext cx="9953693" cy="373949"/>
            </a:xfrm>
            <a:prstGeom prst="rect">
              <a:avLst/>
            </a:prstGeom>
            <a:noFill/>
          </p:spPr>
          <p:txBody>
            <a:bodyPr vert="horz" wrap="square" lIns="0" tIns="0" rIns="0" bIns="0" rtlCol="0" anchor="b" anchorCtr="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9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16825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01" name="Diapositive think-cell" r:id="rId5" imgW="384" imgH="384" progId="TCLayout.ActiveDocument.1">
                  <p:embed/>
                </p:oleObj>
              </mc:Choice>
              <mc:Fallback>
                <p:oleObj name="Diapositive think-cell" r:id="rId5" imgW="384"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pic>
        <p:nvPicPr>
          <p:cNvPr id="16" name="Picture 15">
            <a:extLst>
              <a:ext uri="{FF2B5EF4-FFF2-40B4-BE49-F238E27FC236}">
                <a16:creationId xmlns:a16="http://schemas.microsoft.com/office/drawing/2014/main" id="{91D6334D-B2C9-4E5C-ABAC-EDE37B36838D}"/>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7" name="Rectangle 16">
            <a:extLst>
              <a:ext uri="{FF2B5EF4-FFF2-40B4-BE49-F238E27FC236}">
                <a16:creationId xmlns:a16="http://schemas.microsoft.com/office/drawing/2014/main" id="{C6B5EF18-F752-4C48-976F-031DBA479D7D}"/>
              </a:ext>
            </a:extLst>
          </p:cNvPr>
          <p:cNvSpPr/>
          <p:nvPr userDrawn="1"/>
        </p:nvSpPr>
        <p:spPr>
          <a:xfrm rot="10800000">
            <a:off x="-1" y="0"/>
            <a:ext cx="12192000" cy="6858000"/>
          </a:xfrm>
          <a:prstGeom prst="rect">
            <a:avLst/>
          </a:prstGeom>
          <a:gradFill flip="none" rotWithShape="1">
            <a:gsLst>
              <a:gs pos="100000">
                <a:srgbClr val="222222">
                  <a:alpha val="69000"/>
                </a:srgbClr>
              </a:gs>
              <a:gs pos="0">
                <a:srgbClr val="222222">
                  <a:alpha val="0"/>
                </a:srgbClr>
              </a:gs>
            </a:gsLst>
            <a:lin ang="0" scaled="1"/>
            <a:tileRect/>
          </a:gra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n-lt"/>
              <a:ea typeface="+mn-ea"/>
              <a:cs typeface="+mn-cs"/>
            </a:endParaRPr>
          </a:p>
        </p:txBody>
      </p:sp>
      <p:sp>
        <p:nvSpPr>
          <p:cNvPr id="33" name="Title 1">
            <a:extLst>
              <a:ext uri="{FF2B5EF4-FFF2-40B4-BE49-F238E27FC236}">
                <a16:creationId xmlns:a16="http://schemas.microsoft.com/office/drawing/2014/main" id="{D0713A87-D8E5-477A-84E1-37CD06C362D0}"/>
              </a:ext>
            </a:extLst>
          </p:cNvPr>
          <p:cNvSpPr>
            <a:spLocks noGrp="1"/>
          </p:cNvSpPr>
          <p:nvPr>
            <p:ph type="ctrTitle"/>
          </p:nvPr>
        </p:nvSpPr>
        <p:spPr bwMode="ltGray">
          <a:xfrm>
            <a:off x="1117416" y="2283945"/>
            <a:ext cx="5528014" cy="1678995"/>
          </a:xfrm>
          <a:prstGeom prst="rect">
            <a:avLst/>
          </a:prstGeom>
        </p:spPr>
        <p:txBody>
          <a:bodyPr vert="horz" anchor="b">
            <a:normAutofit/>
          </a:bodyPr>
          <a:lstStyle>
            <a:lvl1pPr algn="l">
              <a:lnSpc>
                <a:spcPct val="93000"/>
              </a:lnSpc>
              <a:defRPr sz="5400" baseline="0">
                <a:solidFill>
                  <a:schemeClr val="bg1"/>
                </a:solidFill>
                <a:latin typeface="+mj-lt"/>
                <a:ea typeface="+mj-ea"/>
                <a:cs typeface="+mj-cs"/>
                <a:sym typeface="Trebuchet MS" panose="020B0603020202020204" pitchFamily="34" charset="0"/>
              </a:defRPr>
            </a:lvl1pPr>
          </a:lstStyle>
          <a:p>
            <a:r>
              <a:rPr lang="en-US"/>
              <a:t>Click to edit Master title style</a:t>
            </a:r>
          </a:p>
        </p:txBody>
      </p:sp>
      <p:sp>
        <p:nvSpPr>
          <p:cNvPr id="34" name="Text Placeholder 8">
            <a:extLst>
              <a:ext uri="{FF2B5EF4-FFF2-40B4-BE49-F238E27FC236}">
                <a16:creationId xmlns:a16="http://schemas.microsoft.com/office/drawing/2014/main" id="{44E95725-A47E-4399-90C6-E226F9730BFE}"/>
              </a:ext>
            </a:extLst>
          </p:cNvPr>
          <p:cNvSpPr>
            <a:spLocks noGrp="1"/>
          </p:cNvSpPr>
          <p:nvPr>
            <p:ph type="body" sz="quarter" idx="15" hasCustomPrompt="1"/>
          </p:nvPr>
        </p:nvSpPr>
        <p:spPr>
          <a:xfrm>
            <a:off x="1117416" y="5715105"/>
            <a:ext cx="5528014" cy="327149"/>
          </a:xfrm>
          <a:prstGeom prst="rect">
            <a:avLst/>
          </a:prstGeom>
        </p:spPr>
        <p:txBody>
          <a:bodyPr vert="horz" wrap="square" lIns="0" tIns="0" rIns="0" bIns="0" anchor="ctr" anchorCtr="0">
            <a:normAutofit/>
          </a:bodyPr>
          <a:lstStyle>
            <a:lvl1pPr>
              <a:buNone/>
              <a:defRPr sz="1200" b="1" kern="0" cap="all" baseline="0">
                <a:solidFill>
                  <a:schemeClr val="bg1"/>
                </a:solidFill>
                <a:latin typeface="+mn-lt"/>
                <a:ea typeface="+mn-ea"/>
                <a:cs typeface="+mn-cs"/>
              </a:defRPr>
            </a:lvl1pPr>
          </a:lstStyle>
          <a:p>
            <a:pPr lvl="0"/>
            <a:r>
              <a:rPr lang="en-US"/>
              <a:t>Click to edit date/place</a:t>
            </a:r>
          </a:p>
        </p:txBody>
      </p:sp>
      <p:sp>
        <p:nvSpPr>
          <p:cNvPr id="35" name="Text Placeholder 8">
            <a:extLst>
              <a:ext uri="{FF2B5EF4-FFF2-40B4-BE49-F238E27FC236}">
                <a16:creationId xmlns:a16="http://schemas.microsoft.com/office/drawing/2014/main" id="{68B9AB80-5F67-4E99-B002-B165D2140630}"/>
              </a:ext>
            </a:extLst>
          </p:cNvPr>
          <p:cNvSpPr>
            <a:spLocks noGrp="1"/>
          </p:cNvSpPr>
          <p:nvPr>
            <p:ph type="body" sz="quarter" idx="14" hasCustomPrompt="1"/>
          </p:nvPr>
        </p:nvSpPr>
        <p:spPr>
          <a:xfrm>
            <a:off x="1117414" y="4184612"/>
            <a:ext cx="5528015" cy="436195"/>
          </a:xfrm>
          <a:prstGeom prst="rect">
            <a:avLst/>
          </a:prstGeom>
        </p:spPr>
        <p:txBody>
          <a:bodyPr vert="horz" wrap="square" lIns="0" tIns="0" rIns="0" bIns="0" anchor="t" anchorCtr="0">
            <a:noAutofit/>
          </a:bodyPr>
          <a:lstStyle>
            <a:lvl1pPr>
              <a:buNone/>
              <a:defRPr sz="2000">
                <a:solidFill>
                  <a:schemeClr val="bg1"/>
                </a:solidFill>
                <a:latin typeface="+mn-lt"/>
                <a:ea typeface="+mn-ea"/>
                <a:cs typeface="+mn-cs"/>
              </a:defRPr>
            </a:lvl1pPr>
          </a:lstStyle>
          <a:p>
            <a:pPr lvl="0"/>
            <a:r>
              <a:rPr lang="en-US"/>
              <a:t>Subtitle in sentence case</a:t>
            </a:r>
          </a:p>
        </p:txBody>
      </p:sp>
      <p:cxnSp>
        <p:nvCxnSpPr>
          <p:cNvPr id="36" name="Straight Connector 35">
            <a:extLst>
              <a:ext uri="{FF2B5EF4-FFF2-40B4-BE49-F238E27FC236}">
                <a16:creationId xmlns:a16="http://schemas.microsoft.com/office/drawing/2014/main" id="{19D9EFAC-01FA-49FF-8971-74F52CB9D825}"/>
              </a:ext>
            </a:extLst>
          </p:cNvPr>
          <p:cNvCxnSpPr>
            <a:cxnSpLocks/>
          </p:cNvCxnSpPr>
          <p:nvPr userDrawn="1"/>
        </p:nvCxnSpPr>
        <p:spPr>
          <a:xfrm>
            <a:off x="1117414" y="5226508"/>
            <a:ext cx="5164116" cy="0"/>
          </a:xfrm>
          <a:prstGeom prst="line">
            <a:avLst/>
          </a:prstGeom>
          <a:ln w="9525" cap="rnd">
            <a:solidFill>
              <a:schemeClr val="bg1"/>
            </a:solidFill>
            <a:prstDash val="solid"/>
            <a:round/>
          </a:ln>
        </p:spPr>
        <p:style>
          <a:lnRef idx="1">
            <a:schemeClr val="accent1"/>
          </a:lnRef>
          <a:fillRef idx="0">
            <a:schemeClr val="accent1"/>
          </a:fillRef>
          <a:effectRef idx="0">
            <a:schemeClr val="accent1"/>
          </a:effectRef>
          <a:fontRef idx="minor">
            <a:schemeClr val="tx1"/>
          </a:fontRef>
        </p:style>
      </p:cxnSp>
      <p:grpSp>
        <p:nvGrpSpPr>
          <p:cNvPr id="18" name="Group 17">
            <a:extLst>
              <a:ext uri="{FF2B5EF4-FFF2-40B4-BE49-F238E27FC236}">
                <a16:creationId xmlns:a16="http://schemas.microsoft.com/office/drawing/2014/main" id="{DDED80F7-F8C4-440D-AFDA-0FD6C5628CDB}"/>
              </a:ext>
            </a:extLst>
          </p:cNvPr>
          <p:cNvGrpSpPr/>
          <p:nvPr userDrawn="1"/>
        </p:nvGrpSpPr>
        <p:grpSpPr>
          <a:xfrm>
            <a:off x="6975603" y="1458410"/>
            <a:ext cx="3708097" cy="3772029"/>
            <a:chOff x="1803027" y="0"/>
            <a:chExt cx="4712589" cy="4793839"/>
          </a:xfrm>
        </p:grpSpPr>
        <p:sp>
          <p:nvSpPr>
            <p:cNvPr id="20" name="Rectangle 19">
              <a:extLst>
                <a:ext uri="{FF2B5EF4-FFF2-40B4-BE49-F238E27FC236}">
                  <a16:creationId xmlns:a16="http://schemas.microsoft.com/office/drawing/2014/main" id="{F979B0B4-AC6A-46B5-901B-48F55FDA5EF4}"/>
                </a:ext>
              </a:extLst>
            </p:cNvPr>
            <p:cNvSpPr/>
            <p:nvPr/>
          </p:nvSpPr>
          <p:spPr>
            <a:xfrm>
              <a:off x="1803027" y="0"/>
              <a:ext cx="4712589" cy="4793839"/>
            </a:xfrm>
            <a:prstGeom prst="rect">
              <a:avLst/>
            </a:prstGeom>
            <a:solidFill>
              <a:sysClr val="window" lastClr="FFFFFF"/>
            </a:soli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n-lt"/>
                <a:ea typeface="+mn-ea"/>
                <a:cs typeface="+mn-cs"/>
              </a:endParaRPr>
            </a:p>
          </p:txBody>
        </p:sp>
        <p:sp>
          <p:nvSpPr>
            <p:cNvPr id="21" name="Rectangle 20">
              <a:extLst>
                <a:ext uri="{FF2B5EF4-FFF2-40B4-BE49-F238E27FC236}">
                  <a16:creationId xmlns:a16="http://schemas.microsoft.com/office/drawing/2014/main" id="{09AF1BCE-1DD1-49CD-AB12-8CB3FE97630D}"/>
                </a:ext>
              </a:extLst>
            </p:cNvPr>
            <p:cNvSpPr/>
            <p:nvPr/>
          </p:nvSpPr>
          <p:spPr>
            <a:xfrm>
              <a:off x="2222643" y="426851"/>
              <a:ext cx="3873357" cy="3940138"/>
            </a:xfrm>
            <a:prstGeom prst="rect">
              <a:avLst/>
            </a:prstGeom>
            <a:solidFill>
              <a:srgbClr val="EDEDED"/>
            </a:soli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n-lt"/>
                <a:ea typeface="+mn-ea"/>
                <a:cs typeface="+mn-cs"/>
              </a:endParaRPr>
            </a:p>
          </p:txBody>
        </p:sp>
      </p:grpSp>
      <p:pic>
        <p:nvPicPr>
          <p:cNvPr id="22" name="Picture 21">
            <a:extLst>
              <a:ext uri="{FF2B5EF4-FFF2-40B4-BE49-F238E27FC236}">
                <a16:creationId xmlns:a16="http://schemas.microsoft.com/office/drawing/2014/main" id="{846CD259-F961-402F-B6E4-69FF8ACE207A}"/>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6673359" y="5432713"/>
            <a:ext cx="2772891" cy="970512"/>
          </a:xfrm>
          <a:prstGeom prst="rect">
            <a:avLst/>
          </a:prstGeom>
        </p:spPr>
      </p:pic>
      <p:pic>
        <p:nvPicPr>
          <p:cNvPr id="26" name="Picture 25">
            <a:extLst>
              <a:ext uri="{FF2B5EF4-FFF2-40B4-BE49-F238E27FC236}">
                <a16:creationId xmlns:a16="http://schemas.microsoft.com/office/drawing/2014/main" id="{55BC8F22-D2A7-41FE-8709-82B7C2445308}"/>
              </a:ext>
            </a:extLst>
          </p:cNvPr>
          <p:cNvPicPr>
            <a:picLocks noChangeAspect="1"/>
          </p:cNvPicPr>
          <p:nvPr userDrawn="1"/>
        </p:nvPicPr>
        <p:blipFill rotWithShape="1">
          <a:blip r:embed="rId9" cstate="screen">
            <a:extLst>
              <a:ext uri="{28A0092B-C50C-407E-A947-70E740481C1C}">
                <a14:useLocalDpi xmlns:a14="http://schemas.microsoft.com/office/drawing/2010/main"/>
              </a:ext>
            </a:extLst>
          </a:blip>
          <a:srcRect t="2371" r="4155" b="9442"/>
          <a:stretch/>
        </p:blipFill>
        <p:spPr>
          <a:xfrm flipH="1">
            <a:off x="7305777" y="1794277"/>
            <a:ext cx="3047747" cy="3100296"/>
          </a:xfrm>
          <a:prstGeom prst="rect">
            <a:avLst/>
          </a:prstGeom>
        </p:spPr>
      </p:pic>
      <p:pic>
        <p:nvPicPr>
          <p:cNvPr id="27" name="Picture 26">
            <a:extLst>
              <a:ext uri="{FF2B5EF4-FFF2-40B4-BE49-F238E27FC236}">
                <a16:creationId xmlns:a16="http://schemas.microsoft.com/office/drawing/2014/main" id="{551C10F6-C3DC-4562-845F-1077C4A191BA}"/>
              </a:ext>
            </a:extLst>
          </p:cNvPr>
          <p:cNvPicPr>
            <a:picLocks noChangeAspect="1"/>
          </p:cNvPicPr>
          <p:nvPr userDrawn="1"/>
        </p:nvPicPr>
        <p:blipFill rotWithShape="1">
          <a:blip r:embed="rId10"/>
          <a:srcRect l="40171" r="383"/>
          <a:stretch/>
        </p:blipFill>
        <p:spPr>
          <a:xfrm>
            <a:off x="9035383" y="1466825"/>
            <a:ext cx="3156618" cy="5391176"/>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117" Type="http://schemas.openxmlformats.org/officeDocument/2006/relationships/slideLayout" Target="../slideLayouts/slideLayout117.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63" Type="http://schemas.openxmlformats.org/officeDocument/2006/relationships/slideLayout" Target="../slideLayouts/slideLayout63.xml"/><Relationship Id="rId84" Type="http://schemas.openxmlformats.org/officeDocument/2006/relationships/slideLayout" Target="../slideLayouts/slideLayout84.xml"/><Relationship Id="rId138" Type="http://schemas.openxmlformats.org/officeDocument/2006/relationships/slideLayout" Target="../slideLayouts/slideLayout138.xml"/><Relationship Id="rId107" Type="http://schemas.openxmlformats.org/officeDocument/2006/relationships/slideLayout" Target="../slideLayouts/slideLayout107.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102" Type="http://schemas.openxmlformats.org/officeDocument/2006/relationships/slideLayout" Target="../slideLayouts/slideLayout102.xml"/><Relationship Id="rId123" Type="http://schemas.openxmlformats.org/officeDocument/2006/relationships/slideLayout" Target="../slideLayouts/slideLayout123.xml"/><Relationship Id="rId128" Type="http://schemas.openxmlformats.org/officeDocument/2006/relationships/slideLayout" Target="../slideLayouts/slideLayout128.xml"/><Relationship Id="rId144" Type="http://schemas.openxmlformats.org/officeDocument/2006/relationships/image" Target="../media/image1.emf"/><Relationship Id="rId5" Type="http://schemas.openxmlformats.org/officeDocument/2006/relationships/slideLayout" Target="../slideLayouts/slideLayout5.xml"/><Relationship Id="rId90" Type="http://schemas.openxmlformats.org/officeDocument/2006/relationships/slideLayout" Target="../slideLayouts/slideLayout90.xml"/><Relationship Id="rId95" Type="http://schemas.openxmlformats.org/officeDocument/2006/relationships/slideLayout" Target="../slideLayouts/slideLayout95.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113" Type="http://schemas.openxmlformats.org/officeDocument/2006/relationships/slideLayout" Target="../slideLayouts/slideLayout113.xml"/><Relationship Id="rId118" Type="http://schemas.openxmlformats.org/officeDocument/2006/relationships/slideLayout" Target="../slideLayouts/slideLayout118.xml"/><Relationship Id="rId134" Type="http://schemas.openxmlformats.org/officeDocument/2006/relationships/slideLayout" Target="../slideLayouts/slideLayout134.xml"/><Relationship Id="rId139" Type="http://schemas.openxmlformats.org/officeDocument/2006/relationships/slideLayout" Target="../slideLayouts/slideLayout139.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59" Type="http://schemas.openxmlformats.org/officeDocument/2006/relationships/slideLayout" Target="../slideLayouts/slideLayout59.xml"/><Relationship Id="rId103" Type="http://schemas.openxmlformats.org/officeDocument/2006/relationships/slideLayout" Target="../slideLayouts/slideLayout103.xml"/><Relationship Id="rId108" Type="http://schemas.openxmlformats.org/officeDocument/2006/relationships/slideLayout" Target="../slideLayouts/slideLayout108.xml"/><Relationship Id="rId124" Type="http://schemas.openxmlformats.org/officeDocument/2006/relationships/slideLayout" Target="../slideLayouts/slideLayout124.xml"/><Relationship Id="rId129" Type="http://schemas.openxmlformats.org/officeDocument/2006/relationships/slideLayout" Target="../slideLayouts/slideLayout129.xml"/><Relationship Id="rId54" Type="http://schemas.openxmlformats.org/officeDocument/2006/relationships/slideLayout" Target="../slideLayouts/slideLayout54.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91" Type="http://schemas.openxmlformats.org/officeDocument/2006/relationships/slideLayout" Target="../slideLayouts/slideLayout91.xml"/><Relationship Id="rId96" Type="http://schemas.openxmlformats.org/officeDocument/2006/relationships/slideLayout" Target="../slideLayouts/slideLayout96.xml"/><Relationship Id="rId14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49" Type="http://schemas.openxmlformats.org/officeDocument/2006/relationships/slideLayout" Target="../slideLayouts/slideLayout49.xml"/><Relationship Id="rId114" Type="http://schemas.openxmlformats.org/officeDocument/2006/relationships/slideLayout" Target="../slideLayouts/slideLayout114.xml"/><Relationship Id="rId119" Type="http://schemas.openxmlformats.org/officeDocument/2006/relationships/slideLayout" Target="../slideLayouts/slideLayout119.xml"/><Relationship Id="rId44" Type="http://schemas.openxmlformats.org/officeDocument/2006/relationships/slideLayout" Target="../slideLayouts/slideLayout44.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130" Type="http://schemas.openxmlformats.org/officeDocument/2006/relationships/slideLayout" Target="../slideLayouts/slideLayout130.xml"/><Relationship Id="rId135" Type="http://schemas.openxmlformats.org/officeDocument/2006/relationships/slideLayout" Target="../slideLayouts/slideLayout135.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109" Type="http://schemas.openxmlformats.org/officeDocument/2006/relationships/slideLayout" Target="../slideLayouts/slideLayout10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97" Type="http://schemas.openxmlformats.org/officeDocument/2006/relationships/slideLayout" Target="../slideLayouts/slideLayout97.xml"/><Relationship Id="rId104" Type="http://schemas.openxmlformats.org/officeDocument/2006/relationships/slideLayout" Target="../slideLayouts/slideLayout104.xml"/><Relationship Id="rId120" Type="http://schemas.openxmlformats.org/officeDocument/2006/relationships/slideLayout" Target="../slideLayouts/slideLayout120.xml"/><Relationship Id="rId125" Type="http://schemas.openxmlformats.org/officeDocument/2006/relationships/slideLayout" Target="../slideLayouts/slideLayout125.xml"/><Relationship Id="rId141" Type="http://schemas.openxmlformats.org/officeDocument/2006/relationships/vmlDrawing" Target="../drawings/vmlDrawing1.v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110" Type="http://schemas.openxmlformats.org/officeDocument/2006/relationships/slideLayout" Target="../slideLayouts/slideLayout110.xml"/><Relationship Id="rId115" Type="http://schemas.openxmlformats.org/officeDocument/2006/relationships/slideLayout" Target="../slideLayouts/slideLayout115.xml"/><Relationship Id="rId131" Type="http://schemas.openxmlformats.org/officeDocument/2006/relationships/slideLayout" Target="../slideLayouts/slideLayout131.xml"/><Relationship Id="rId136" Type="http://schemas.openxmlformats.org/officeDocument/2006/relationships/slideLayout" Target="../slideLayouts/slideLayout136.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 Id="rId100" Type="http://schemas.openxmlformats.org/officeDocument/2006/relationships/slideLayout" Target="../slideLayouts/slideLayout100.xml"/><Relationship Id="rId105" Type="http://schemas.openxmlformats.org/officeDocument/2006/relationships/slideLayout" Target="../slideLayouts/slideLayout105.xml"/><Relationship Id="rId126" Type="http://schemas.openxmlformats.org/officeDocument/2006/relationships/slideLayout" Target="../slideLayouts/slideLayout126.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93" Type="http://schemas.openxmlformats.org/officeDocument/2006/relationships/slideLayout" Target="../slideLayouts/slideLayout93.xml"/><Relationship Id="rId98" Type="http://schemas.openxmlformats.org/officeDocument/2006/relationships/slideLayout" Target="../slideLayouts/slideLayout98.xml"/><Relationship Id="rId121" Type="http://schemas.openxmlformats.org/officeDocument/2006/relationships/slideLayout" Target="../slideLayouts/slideLayout121.xml"/><Relationship Id="rId142" Type="http://schemas.openxmlformats.org/officeDocument/2006/relationships/tags" Target="../tags/tag2.xml"/><Relationship Id="rId3" Type="http://schemas.openxmlformats.org/officeDocument/2006/relationships/slideLayout" Target="../slideLayouts/slideLayout3.xml"/><Relationship Id="rId25" Type="http://schemas.openxmlformats.org/officeDocument/2006/relationships/slideLayout" Target="../slideLayouts/slideLayout25.xml"/><Relationship Id="rId46" Type="http://schemas.openxmlformats.org/officeDocument/2006/relationships/slideLayout" Target="../slideLayouts/slideLayout46.xml"/><Relationship Id="rId67" Type="http://schemas.openxmlformats.org/officeDocument/2006/relationships/slideLayout" Target="../slideLayouts/slideLayout67.xml"/><Relationship Id="rId116" Type="http://schemas.openxmlformats.org/officeDocument/2006/relationships/slideLayout" Target="../slideLayouts/slideLayout116.xml"/><Relationship Id="rId137" Type="http://schemas.openxmlformats.org/officeDocument/2006/relationships/slideLayout" Target="../slideLayouts/slideLayout13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62" Type="http://schemas.openxmlformats.org/officeDocument/2006/relationships/slideLayout" Target="../slideLayouts/slideLayout62.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111" Type="http://schemas.openxmlformats.org/officeDocument/2006/relationships/slideLayout" Target="../slideLayouts/slideLayout111.xml"/><Relationship Id="rId132" Type="http://schemas.openxmlformats.org/officeDocument/2006/relationships/slideLayout" Target="../slideLayouts/slideLayout132.xml"/><Relationship Id="rId15" Type="http://schemas.openxmlformats.org/officeDocument/2006/relationships/slideLayout" Target="../slideLayouts/slideLayout15.xml"/><Relationship Id="rId36" Type="http://schemas.openxmlformats.org/officeDocument/2006/relationships/slideLayout" Target="../slideLayouts/slideLayout36.xml"/><Relationship Id="rId57" Type="http://schemas.openxmlformats.org/officeDocument/2006/relationships/slideLayout" Target="../slideLayouts/slideLayout57.xml"/><Relationship Id="rId106" Type="http://schemas.openxmlformats.org/officeDocument/2006/relationships/slideLayout" Target="../slideLayouts/slideLayout106.xml"/><Relationship Id="rId127" Type="http://schemas.openxmlformats.org/officeDocument/2006/relationships/slideLayout" Target="../slideLayouts/slideLayout12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52" Type="http://schemas.openxmlformats.org/officeDocument/2006/relationships/slideLayout" Target="../slideLayouts/slideLayout52.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94" Type="http://schemas.openxmlformats.org/officeDocument/2006/relationships/slideLayout" Target="../slideLayouts/slideLayout94.xml"/><Relationship Id="rId99" Type="http://schemas.openxmlformats.org/officeDocument/2006/relationships/slideLayout" Target="../slideLayouts/slideLayout99.xml"/><Relationship Id="rId101" Type="http://schemas.openxmlformats.org/officeDocument/2006/relationships/slideLayout" Target="../slideLayouts/slideLayout101.xml"/><Relationship Id="rId122" Type="http://schemas.openxmlformats.org/officeDocument/2006/relationships/slideLayout" Target="../slideLayouts/slideLayout122.xml"/><Relationship Id="rId143"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26" Type="http://schemas.openxmlformats.org/officeDocument/2006/relationships/slideLayout" Target="../slideLayouts/slideLayout26.xml"/><Relationship Id="rId47" Type="http://schemas.openxmlformats.org/officeDocument/2006/relationships/slideLayout" Target="../slideLayouts/slideLayout47.xml"/><Relationship Id="rId68" Type="http://schemas.openxmlformats.org/officeDocument/2006/relationships/slideLayout" Target="../slideLayouts/slideLayout68.xml"/><Relationship Id="rId89" Type="http://schemas.openxmlformats.org/officeDocument/2006/relationships/slideLayout" Target="../slideLayouts/slideLayout89.xml"/><Relationship Id="rId112" Type="http://schemas.openxmlformats.org/officeDocument/2006/relationships/slideLayout" Target="../slideLayouts/slideLayout112.xml"/><Relationship Id="rId133" Type="http://schemas.openxmlformats.org/officeDocument/2006/relationships/slideLayout" Target="../slideLayouts/slideLayout133.xml"/><Relationship Id="rId16" Type="http://schemas.openxmlformats.org/officeDocument/2006/relationships/slideLayout" Target="../slideLayouts/slideLayout1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42"/>
            </p:custDataLst>
            <p:extLst>
              <p:ext uri="{D42A27DB-BD31-4B8C-83A1-F6EECF244321}">
                <p14:modId xmlns:p14="http://schemas.microsoft.com/office/powerpoint/2010/main" val="20803743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5" name="Diapositive think-cell" r:id="rId143" imgW="270" imgH="270" progId="TCLayout.ActiveDocument.1">
                  <p:embed/>
                </p:oleObj>
              </mc:Choice>
              <mc:Fallback>
                <p:oleObj name="Diapositive think-cell" r:id="rId143" imgW="270" imgH="270" progId="TCLayout.ActiveDocument.1">
                  <p:embed/>
                  <p:pic>
                    <p:nvPicPr>
                      <p:cNvPr id="2" name="Object 1" hidden="1"/>
                      <p:cNvPicPr/>
                      <p:nvPr/>
                    </p:nvPicPr>
                    <p:blipFill>
                      <a:blip r:embed="rId144"/>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9" name="Title Placeholder 1"/>
          <p:cNvSpPr>
            <a:spLocks noGrp="1"/>
          </p:cNvSpPr>
          <p:nvPr>
            <p:ph type="title"/>
          </p:nvPr>
        </p:nvSpPr>
        <p:spPr>
          <a:xfrm>
            <a:off x="630000" y="622800"/>
            <a:ext cx="10933350" cy="400751"/>
          </a:xfrm>
          <a:prstGeom prst="rect">
            <a:avLst/>
          </a:prstGeom>
        </p:spPr>
        <p:txBody>
          <a:bodyPr vert="horz" wrap="square" lIns="0" tIns="0" rIns="0" bIns="0" rtlCol="0" anchor="b" anchorCtr="0">
            <a:noAutofit/>
          </a:bodyPr>
          <a:lstStyle/>
          <a:p>
            <a:r>
              <a:rPr lang="en-US"/>
              <a:t>Click to add title</a:t>
            </a:r>
          </a:p>
        </p:txBody>
      </p:sp>
      <p:sp>
        <p:nvSpPr>
          <p:cNvPr id="4" name="Text Placeholder 3"/>
          <p:cNvSpPr>
            <a:spLocks noGrp="1"/>
          </p:cNvSpPr>
          <p:nvPr>
            <p:ph type="body" idx="1"/>
          </p:nvPr>
        </p:nvSpPr>
        <p:spPr>
          <a:xfrm>
            <a:off x="630000" y="2110878"/>
            <a:ext cx="10933350" cy="4075113"/>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
        <p:nvSpPr>
          <p:cNvPr id="12" name="TextBox 11"/>
          <p:cNvSpPr txBox="1"/>
          <p:nvPr userDrawn="1"/>
        </p:nvSpPr>
        <p:spPr>
          <a:xfrm>
            <a:off x="11167872" y="6405037"/>
            <a:ext cx="381000" cy="153888"/>
          </a:xfrm>
          <a:prstGeom prst="rect">
            <a:avLst/>
          </a:prstGeom>
          <a:noFill/>
        </p:spPr>
        <p:txBody>
          <a:bodyPr vert="horz" wrap="square" lIns="0" tIns="0" rIns="0" bIns="0" rtlCol="0" anchor="b" anchorCtr="0">
            <a:spAutoFit/>
          </a:bodyPr>
          <a:lstStyle>
            <a:defPPr>
              <a:defRPr lang="en-US"/>
            </a:defPPr>
            <a:lvl1pPr algn="r">
              <a:defRPr sz="1000" kern="0">
                <a:solidFill>
                  <a:prstClr val="white">
                    <a:lumMod val="50000"/>
                  </a:prstClr>
                </a:solidFill>
                <a:latin typeface="Henderson BCG Sans Light"/>
              </a:defRPr>
            </a:lvl1pPr>
          </a:lstStyle>
          <a:p>
            <a:pPr lvl="0"/>
            <a:fld id="{DFCF27A5-1A5B-48D3-A060-2758FFBB1ADD}" type="slidenum">
              <a:rPr lang="en-US" smtClean="0">
                <a:latin typeface="+mn-lt"/>
                <a:ea typeface="+mn-ea"/>
                <a:cs typeface="+mn-cs"/>
                <a:sym typeface="Trebuchet MS" panose="020B0603020202020204" pitchFamily="34" charset="0"/>
              </a:rPr>
              <a:pPr lvl="0"/>
              <a:t>‹#›</a:t>
            </a:fld>
            <a:endParaRPr lang="en-US">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185" r:id="rId2"/>
    <p:sldLayoutId id="2147485186" r:id="rId3"/>
    <p:sldLayoutId id="2147485187" r:id="rId4"/>
    <p:sldLayoutId id="2147485188" r:id="rId5"/>
    <p:sldLayoutId id="2147485189" r:id="rId6"/>
    <p:sldLayoutId id="2147485190" r:id="rId7"/>
    <p:sldLayoutId id="2147485191" r:id="rId8"/>
    <p:sldLayoutId id="2147485192" r:id="rId9"/>
    <p:sldLayoutId id="2147485193" r:id="rId10"/>
    <p:sldLayoutId id="2147485194" r:id="rId11"/>
    <p:sldLayoutId id="2147485195" r:id="rId12"/>
    <p:sldLayoutId id="2147485196" r:id="rId13"/>
    <p:sldLayoutId id="2147485197" r:id="rId14"/>
    <p:sldLayoutId id="2147485198" r:id="rId15"/>
    <p:sldLayoutId id="2147485199" r:id="rId16"/>
    <p:sldLayoutId id="2147485200" r:id="rId17"/>
    <p:sldLayoutId id="2147485201" r:id="rId18"/>
    <p:sldLayoutId id="2147485202" r:id="rId19"/>
    <p:sldLayoutId id="2147485203" r:id="rId20"/>
    <p:sldLayoutId id="2147485204" r:id="rId21"/>
    <p:sldLayoutId id="2147485205" r:id="rId22"/>
    <p:sldLayoutId id="2147485206" r:id="rId23"/>
    <p:sldLayoutId id="2147485207" r:id="rId24"/>
    <p:sldLayoutId id="2147485208" r:id="rId25"/>
    <p:sldLayoutId id="2147485209" r:id="rId26"/>
    <p:sldLayoutId id="2147485210" r:id="rId27"/>
    <p:sldLayoutId id="2147485211" r:id="rId28"/>
    <p:sldLayoutId id="2147485212" r:id="rId29"/>
    <p:sldLayoutId id="2147485213" r:id="rId30"/>
    <p:sldLayoutId id="2147485214" r:id="rId31"/>
    <p:sldLayoutId id="2147485247" r:id="rId32"/>
    <p:sldLayoutId id="2147485248" r:id="rId33"/>
    <p:sldLayoutId id="2147485249" r:id="rId34"/>
    <p:sldLayoutId id="2147485250" r:id="rId35"/>
    <p:sldLayoutId id="2147485251" r:id="rId36"/>
    <p:sldLayoutId id="2147485252" r:id="rId37"/>
    <p:sldLayoutId id="2147485253" r:id="rId38"/>
    <p:sldLayoutId id="2147485254" r:id="rId39"/>
    <p:sldLayoutId id="2147485215" r:id="rId40"/>
    <p:sldLayoutId id="2147485216" r:id="rId41"/>
    <p:sldLayoutId id="2147485217" r:id="rId42"/>
    <p:sldLayoutId id="2147485218" r:id="rId43"/>
    <p:sldLayoutId id="2147485219" r:id="rId44"/>
    <p:sldLayoutId id="2147485220" r:id="rId45"/>
    <p:sldLayoutId id="2147485221" r:id="rId46"/>
    <p:sldLayoutId id="2147485222" r:id="rId47"/>
    <p:sldLayoutId id="2147485223" r:id="rId48"/>
    <p:sldLayoutId id="2147485224" r:id="rId49"/>
    <p:sldLayoutId id="2147485225" r:id="rId50"/>
    <p:sldLayoutId id="2147485226" r:id="rId51"/>
    <p:sldLayoutId id="2147485227" r:id="rId52"/>
    <p:sldLayoutId id="2147485228" r:id="rId53"/>
    <p:sldLayoutId id="2147485229" r:id="rId54"/>
    <p:sldLayoutId id="2147485230" r:id="rId55"/>
    <p:sldLayoutId id="2147485231" r:id="rId56"/>
    <p:sldLayoutId id="2147485232" r:id="rId57"/>
    <p:sldLayoutId id="2147485233" r:id="rId58"/>
    <p:sldLayoutId id="2147485234" r:id="rId59"/>
    <p:sldLayoutId id="2147485235" r:id="rId60"/>
    <p:sldLayoutId id="2147485236" r:id="rId61"/>
    <p:sldLayoutId id="2147485237" r:id="rId62"/>
    <p:sldLayoutId id="2147485238" r:id="rId63"/>
    <p:sldLayoutId id="2147485239" r:id="rId64"/>
    <p:sldLayoutId id="2147485240" r:id="rId65"/>
    <p:sldLayoutId id="2147485241" r:id="rId66"/>
    <p:sldLayoutId id="2147485242" r:id="rId67"/>
    <p:sldLayoutId id="2147485243" r:id="rId68"/>
    <p:sldLayoutId id="2147485244" r:id="rId69"/>
    <p:sldLayoutId id="2147485245" r:id="rId70"/>
    <p:sldLayoutId id="2147485246" r:id="rId71"/>
    <p:sldLayoutId id="2147485086" r:id="rId72"/>
    <p:sldLayoutId id="2147485183" r:id="rId73"/>
    <p:sldLayoutId id="2147485158" r:id="rId74"/>
    <p:sldLayoutId id="2147485113" r:id="rId75"/>
    <p:sldLayoutId id="2147485114" r:id="rId76"/>
    <p:sldLayoutId id="2147485154" r:id="rId77"/>
    <p:sldLayoutId id="2147485162" r:id="rId78"/>
    <p:sldLayoutId id="2147485149" r:id="rId79"/>
    <p:sldLayoutId id="2147485087" r:id="rId80"/>
    <p:sldLayoutId id="2147485112" r:id="rId81"/>
    <p:sldLayoutId id="2147485155" r:id="rId82"/>
    <p:sldLayoutId id="2147485164" r:id="rId83"/>
    <p:sldLayoutId id="2147485109" r:id="rId84"/>
    <p:sldLayoutId id="2147485165" r:id="rId85"/>
    <p:sldLayoutId id="2147485110" r:id="rId86"/>
    <p:sldLayoutId id="2147485166" r:id="rId87"/>
    <p:sldLayoutId id="2147485156" r:id="rId88"/>
    <p:sldLayoutId id="2147485167" r:id="rId89"/>
    <p:sldLayoutId id="2147485108" r:id="rId90"/>
    <p:sldLayoutId id="2147485107" r:id="rId91"/>
    <p:sldLayoutId id="2147485106" r:id="rId92"/>
    <p:sldLayoutId id="2147485090" r:id="rId93"/>
    <p:sldLayoutId id="2147485091" r:id="rId94"/>
    <p:sldLayoutId id="2147485092" r:id="rId95"/>
    <p:sldLayoutId id="2147485093" r:id="rId96"/>
    <p:sldLayoutId id="2147485116" r:id="rId97"/>
    <p:sldLayoutId id="2147485161" r:id="rId98"/>
    <p:sldLayoutId id="2147485159" r:id="rId99"/>
    <p:sldLayoutId id="2147485119" r:id="rId100"/>
    <p:sldLayoutId id="2147485184" r:id="rId101"/>
    <p:sldLayoutId id="2147485137" r:id="rId102"/>
    <p:sldLayoutId id="2147485120" r:id="rId103"/>
    <p:sldLayoutId id="2147485121" r:id="rId104"/>
    <p:sldLayoutId id="2147485141" r:id="rId105"/>
    <p:sldLayoutId id="2147485163" r:id="rId106"/>
    <p:sldLayoutId id="2147485139" r:id="rId107"/>
    <p:sldLayoutId id="2147485140" r:id="rId108"/>
    <p:sldLayoutId id="2147485122" r:id="rId109"/>
    <p:sldLayoutId id="2147485123" r:id="rId110"/>
    <p:sldLayoutId id="2147485151" r:id="rId111"/>
    <p:sldLayoutId id="2147485168" r:id="rId112"/>
    <p:sldLayoutId id="2147485127" r:id="rId113"/>
    <p:sldLayoutId id="2147485169" r:id="rId114"/>
    <p:sldLayoutId id="2147485126" r:id="rId115"/>
    <p:sldLayoutId id="2147485170" r:id="rId116"/>
    <p:sldLayoutId id="2147485153" r:id="rId117"/>
    <p:sldLayoutId id="2147485171" r:id="rId118"/>
    <p:sldLayoutId id="2147485128" r:id="rId119"/>
    <p:sldLayoutId id="2147485129" r:id="rId120"/>
    <p:sldLayoutId id="2147485130" r:id="rId121"/>
    <p:sldLayoutId id="2147485131" r:id="rId122"/>
    <p:sldLayoutId id="2147485145" r:id="rId123"/>
    <p:sldLayoutId id="2147485133" r:id="rId124"/>
    <p:sldLayoutId id="2147485144" r:id="rId125"/>
    <p:sldLayoutId id="2147485134" r:id="rId126"/>
    <p:sldLayoutId id="2147485146" r:id="rId127"/>
    <p:sldLayoutId id="2147485160" r:id="rId128"/>
    <p:sldLayoutId id="2147485172" r:id="rId129"/>
    <p:sldLayoutId id="2147485173" r:id="rId130"/>
    <p:sldLayoutId id="2147485174" r:id="rId131"/>
    <p:sldLayoutId id="2147485175" r:id="rId132"/>
    <p:sldLayoutId id="2147485176" r:id="rId133"/>
    <p:sldLayoutId id="2147485177" r:id="rId134"/>
    <p:sldLayoutId id="2147485178" r:id="rId135"/>
    <p:sldLayoutId id="2147485179" r:id="rId136"/>
    <p:sldLayoutId id="2147485180" r:id="rId137"/>
    <p:sldLayoutId id="2147485255" r:id="rId138"/>
    <p:sldLayoutId id="2147485257" r:id="rId139"/>
  </p:sldLayoutIdLst>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ftr="0" dt="0"/>
  <p:txStyles>
    <p:titleStyle>
      <a:lvl1pPr algn="l" defTabSz="914400" rtl="0" eaLnBrk="1" latinLnBrk="0" hangingPunct="1">
        <a:lnSpc>
          <a:spcPct val="93000"/>
        </a:lnSpc>
        <a:spcBef>
          <a:spcPct val="0"/>
        </a:spcBef>
        <a:buNone/>
        <a:defRPr sz="2800" kern="0">
          <a:solidFill>
            <a:srgbClr val="21BF61"/>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Clr>
          <a:srgbClr val="21BF61"/>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0000"/>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0000"/>
        </a:buClr>
        <a:buFont typeface="Trebuchet MS" panose="020B0603020202020204" pitchFamily="34" charset="0"/>
        <a:buChar char="–"/>
        <a:defRPr lang="en-US" sz="1200" kern="1200">
          <a:solidFill>
            <a:srgbClr val="000000"/>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21BF61"/>
        </a:buClr>
        <a:buFont typeface="Arial" panose="020B0604020202020204" pitchFamily="34" charset="0"/>
        <a:buChar char="​"/>
        <a:defRPr lang="en-US" sz="1600" b="0" kern="1200">
          <a:solidFill>
            <a:srgbClr val="000000"/>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21BF61"/>
        </a:buClr>
        <a:buFont typeface="Arial" panose="020B0604020202020204" pitchFamily="34" charset="0"/>
        <a:buChar char="​"/>
        <a:defRPr lang="en-US" sz="1600" b="1" kern="1200" smtClean="0">
          <a:solidFill>
            <a:srgbClr val="000000"/>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0000"/>
        </a:buClr>
        <a:buFont typeface="Arial" panose="020B0604020202020204" pitchFamily="34" charset="0"/>
        <a:buChar char="•"/>
        <a:defRPr lang="en-US" sz="1600" kern="1200" smtClean="0">
          <a:solidFill>
            <a:srgbClr val="000000"/>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21BF61"/>
        </a:buClr>
        <a:buFont typeface="Arial" panose="020B0604020202020204" pitchFamily="34" charset="0"/>
        <a:buChar char="​"/>
        <a:defRPr lang="en-US" sz="4400" kern="1200" baseline="0" smtClean="0">
          <a:solidFill>
            <a:srgbClr val="000000"/>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21BF61"/>
        </a:buClr>
        <a:buFont typeface="Arial" panose="020B0604020202020204" pitchFamily="34" charset="0"/>
        <a:buChar char="​"/>
        <a:defRPr lang="en-US" sz="5400" b="0" kern="1200" baseline="0" smtClean="0">
          <a:solidFill>
            <a:srgbClr val="000000"/>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21BF61"/>
        </a:buClr>
        <a:buFont typeface="Arial" panose="020B0604020202020204" pitchFamily="34" charset="0"/>
        <a:buChar char="​"/>
        <a:defRPr lang="en-US" sz="2400" b="0" kern="1200" baseline="0" dirty="0">
          <a:solidFill>
            <a:srgbClr val="000000"/>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8"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66.jpeg"/><Relationship Id="rId3" Type="http://schemas.openxmlformats.org/officeDocument/2006/relationships/slideLayout" Target="../slideLayouts/slideLayout138.xml"/><Relationship Id="rId7" Type="http://schemas.openxmlformats.org/officeDocument/2006/relationships/image" Target="../media/image65.png"/><Relationship Id="rId2" Type="http://schemas.openxmlformats.org/officeDocument/2006/relationships/tags" Target="../tags/tag183.xml"/><Relationship Id="rId1" Type="http://schemas.openxmlformats.org/officeDocument/2006/relationships/vmlDrawing" Target="../drawings/vmlDrawing140.vml"/><Relationship Id="rId6" Type="http://schemas.openxmlformats.org/officeDocument/2006/relationships/image" Target="../media/image7.emf"/><Relationship Id="rId5" Type="http://schemas.openxmlformats.org/officeDocument/2006/relationships/oleObject" Target="../embeddings/oleObject140.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97.xml"/><Relationship Id="rId2" Type="http://schemas.openxmlformats.org/officeDocument/2006/relationships/tags" Target="../tags/tag217.xml"/><Relationship Id="rId1" Type="http://schemas.openxmlformats.org/officeDocument/2006/relationships/vmlDrawing" Target="../drawings/vmlDrawing148.vml"/><Relationship Id="rId5" Type="http://schemas.openxmlformats.org/officeDocument/2006/relationships/image" Target="../media/image85.emf"/><Relationship Id="rId4" Type="http://schemas.openxmlformats.org/officeDocument/2006/relationships/oleObject" Target="../embeddings/oleObject148.bin"/></Relationships>
</file>

<file path=ppt/slides/_rels/slide11.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png"/><Relationship Id="rId1" Type="http://schemas.openxmlformats.org/officeDocument/2006/relationships/slideLayout" Target="../slideLayouts/slideLayout139.xml"/><Relationship Id="rId4" Type="http://schemas.openxmlformats.org/officeDocument/2006/relationships/image" Target="../media/image69.png"/></Relationships>
</file>

<file path=ppt/slides/_rels/slide12.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7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3.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png"/><Relationship Id="rId1" Type="http://schemas.openxmlformats.org/officeDocument/2006/relationships/slideLayout" Target="../slideLayouts/slideLayout72.xml"/><Relationship Id="rId4" Type="http://schemas.openxmlformats.org/officeDocument/2006/relationships/image" Target="../media/image88.png"/></Relationships>
</file>

<file path=ppt/slides/_rels/slide14.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9.png"/><Relationship Id="rId1" Type="http://schemas.openxmlformats.org/officeDocument/2006/relationships/slideLayout" Target="../slideLayouts/slideLayout72.xml"/><Relationship Id="rId4" Type="http://schemas.openxmlformats.org/officeDocument/2006/relationships/image" Target="../media/image91.png"/></Relationships>
</file>

<file path=ppt/slides/_rels/slide15.xml.rels><?xml version="1.0" encoding="UTF-8" standalone="yes"?>
<Relationships xmlns="http://schemas.openxmlformats.org/package/2006/relationships"><Relationship Id="rId8" Type="http://schemas.openxmlformats.org/officeDocument/2006/relationships/image" Target="../media/image92.png"/><Relationship Id="rId13" Type="http://schemas.microsoft.com/office/2007/relationships/hdphoto" Target="../media/hdphoto5.wdp"/><Relationship Id="rId3" Type="http://schemas.openxmlformats.org/officeDocument/2006/relationships/tags" Target="../tags/tag219.xml"/><Relationship Id="rId7" Type="http://schemas.openxmlformats.org/officeDocument/2006/relationships/image" Target="../media/image70.emf"/><Relationship Id="rId12" Type="http://schemas.openxmlformats.org/officeDocument/2006/relationships/image" Target="../media/image94.png"/><Relationship Id="rId2" Type="http://schemas.openxmlformats.org/officeDocument/2006/relationships/tags" Target="../tags/tag218.xml"/><Relationship Id="rId1" Type="http://schemas.openxmlformats.org/officeDocument/2006/relationships/vmlDrawing" Target="../drawings/vmlDrawing149.vml"/><Relationship Id="rId6" Type="http://schemas.openxmlformats.org/officeDocument/2006/relationships/oleObject" Target="../embeddings/oleObject149.bin"/><Relationship Id="rId11" Type="http://schemas.microsoft.com/office/2007/relationships/hdphoto" Target="../media/hdphoto4.wdp"/><Relationship Id="rId5" Type="http://schemas.openxmlformats.org/officeDocument/2006/relationships/notesSlide" Target="../notesSlides/notesSlide9.xml"/><Relationship Id="rId15" Type="http://schemas.microsoft.com/office/2007/relationships/hdphoto" Target="../media/hdphoto6.wdp"/><Relationship Id="rId10" Type="http://schemas.openxmlformats.org/officeDocument/2006/relationships/image" Target="../media/image93.png"/><Relationship Id="rId4" Type="http://schemas.openxmlformats.org/officeDocument/2006/relationships/slideLayout" Target="../slideLayouts/slideLayout101.xml"/><Relationship Id="rId9" Type="http://schemas.microsoft.com/office/2007/relationships/hdphoto" Target="../media/hdphoto3.wdp"/><Relationship Id="rId14" Type="http://schemas.openxmlformats.org/officeDocument/2006/relationships/image" Target="../media/image95.png"/></Relationships>
</file>

<file path=ppt/slides/_rels/slide16.xml.rels><?xml version="1.0" encoding="UTF-8" standalone="yes"?>
<Relationships xmlns="http://schemas.openxmlformats.org/package/2006/relationships"><Relationship Id="rId8" Type="http://schemas.microsoft.com/office/2007/relationships/hdphoto" Target="../media/hdphoto7.wdp"/><Relationship Id="rId3" Type="http://schemas.openxmlformats.org/officeDocument/2006/relationships/diagramLayout" Target="../diagrams/layout3.xml"/><Relationship Id="rId7" Type="http://schemas.openxmlformats.org/officeDocument/2006/relationships/image" Target="../media/image96.png"/><Relationship Id="rId2" Type="http://schemas.openxmlformats.org/officeDocument/2006/relationships/diagramData" Target="../diagrams/data3.xml"/><Relationship Id="rId1" Type="http://schemas.openxmlformats.org/officeDocument/2006/relationships/slideLayout" Target="../slideLayouts/slideLayout139.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7.xml.rels><?xml version="1.0" encoding="UTF-8" standalone="yes"?>
<Relationships xmlns="http://schemas.openxmlformats.org/package/2006/relationships"><Relationship Id="rId3" Type="http://schemas.openxmlformats.org/officeDocument/2006/relationships/hyperlink" Target="https://www.mckinsey.com/capabilities/growth-marketing-and-sales/solutions/periscope/solutions/b2b-pricing-solutions/b2b-price-optimization" TargetMode="External"/><Relationship Id="rId2" Type="http://schemas.openxmlformats.org/officeDocument/2006/relationships/hyperlink" Target="https://www.bcg.com/capabilities/operations/digital-supply-chain" TargetMode="External"/><Relationship Id="rId1" Type="http://schemas.openxmlformats.org/officeDocument/2006/relationships/slideLayout" Target="../slideLayouts/slideLayout139.xml"/><Relationship Id="rId4" Type="http://schemas.openxmlformats.org/officeDocument/2006/relationships/hyperlink" Target="https://www.bcg.com/publications/2019/capturing-offline-impact-online-marketing-b2b" TargetMode="External"/></Relationships>
</file>

<file path=ppt/slides/_rels/slide18.xml.rels><?xml version="1.0" encoding="UTF-8" standalone="yes"?>
<Relationships xmlns="http://schemas.openxmlformats.org/package/2006/relationships"><Relationship Id="rId8" Type="http://schemas.openxmlformats.org/officeDocument/2006/relationships/image" Target="../media/image94.png"/><Relationship Id="rId13" Type="http://schemas.openxmlformats.org/officeDocument/2006/relationships/image" Target="../media/image100.svg"/><Relationship Id="rId18" Type="http://schemas.microsoft.com/office/2007/relationships/diagramDrawing" Target="../diagrams/drawing4.xml"/><Relationship Id="rId3" Type="http://schemas.openxmlformats.org/officeDocument/2006/relationships/tags" Target="../tags/tag221.xml"/><Relationship Id="rId7" Type="http://schemas.openxmlformats.org/officeDocument/2006/relationships/image" Target="../media/image70.emf"/><Relationship Id="rId12" Type="http://schemas.openxmlformats.org/officeDocument/2006/relationships/image" Target="../media/image99.png"/><Relationship Id="rId17" Type="http://schemas.openxmlformats.org/officeDocument/2006/relationships/diagramColors" Target="../diagrams/colors4.xml"/><Relationship Id="rId2" Type="http://schemas.openxmlformats.org/officeDocument/2006/relationships/tags" Target="../tags/tag220.xml"/><Relationship Id="rId16" Type="http://schemas.openxmlformats.org/officeDocument/2006/relationships/diagramQuickStyle" Target="../diagrams/quickStyle4.xml"/><Relationship Id="rId1" Type="http://schemas.openxmlformats.org/officeDocument/2006/relationships/vmlDrawing" Target="../drawings/vmlDrawing150.vml"/><Relationship Id="rId6" Type="http://schemas.openxmlformats.org/officeDocument/2006/relationships/oleObject" Target="../embeddings/oleObject150.bin"/><Relationship Id="rId11" Type="http://schemas.openxmlformats.org/officeDocument/2006/relationships/image" Target="../media/image98.svg"/><Relationship Id="rId5" Type="http://schemas.openxmlformats.org/officeDocument/2006/relationships/notesSlide" Target="../notesSlides/notesSlide10.xml"/><Relationship Id="rId15" Type="http://schemas.openxmlformats.org/officeDocument/2006/relationships/diagramLayout" Target="../diagrams/layout4.xml"/><Relationship Id="rId10" Type="http://schemas.openxmlformats.org/officeDocument/2006/relationships/image" Target="../media/image97.png"/><Relationship Id="rId4" Type="http://schemas.openxmlformats.org/officeDocument/2006/relationships/slideLayout" Target="../slideLayouts/slideLayout101.xml"/><Relationship Id="rId9" Type="http://schemas.microsoft.com/office/2007/relationships/hdphoto" Target="../media/hdphoto5.wdp"/><Relationship Id="rId14" Type="http://schemas.openxmlformats.org/officeDocument/2006/relationships/diagramData" Target="../diagrams/data4.xml"/></Relationships>
</file>

<file path=ppt/slides/_rels/slide19.xml.rels><?xml version="1.0" encoding="UTF-8" standalone="yes"?>
<Relationships xmlns="http://schemas.openxmlformats.org/package/2006/relationships"><Relationship Id="rId8" Type="http://schemas.openxmlformats.org/officeDocument/2006/relationships/diagramData" Target="../diagrams/data5.xml"/><Relationship Id="rId13" Type="http://schemas.openxmlformats.org/officeDocument/2006/relationships/image" Target="../media/image94.png"/><Relationship Id="rId18" Type="http://schemas.openxmlformats.org/officeDocument/2006/relationships/image" Target="../media/image100.svg"/><Relationship Id="rId3" Type="http://schemas.openxmlformats.org/officeDocument/2006/relationships/tags" Target="../tags/tag223.xml"/><Relationship Id="rId7" Type="http://schemas.openxmlformats.org/officeDocument/2006/relationships/image" Target="../media/image70.emf"/><Relationship Id="rId12" Type="http://schemas.microsoft.com/office/2007/relationships/diagramDrawing" Target="../diagrams/drawing5.xml"/><Relationship Id="rId17" Type="http://schemas.openxmlformats.org/officeDocument/2006/relationships/image" Target="../media/image99.png"/><Relationship Id="rId2" Type="http://schemas.openxmlformats.org/officeDocument/2006/relationships/tags" Target="../tags/tag222.xml"/><Relationship Id="rId16" Type="http://schemas.openxmlformats.org/officeDocument/2006/relationships/image" Target="../media/image98.svg"/><Relationship Id="rId1" Type="http://schemas.openxmlformats.org/officeDocument/2006/relationships/vmlDrawing" Target="../drawings/vmlDrawing151.vml"/><Relationship Id="rId6" Type="http://schemas.openxmlformats.org/officeDocument/2006/relationships/oleObject" Target="../embeddings/oleObject151.bin"/><Relationship Id="rId11" Type="http://schemas.openxmlformats.org/officeDocument/2006/relationships/diagramColors" Target="../diagrams/colors5.xml"/><Relationship Id="rId5" Type="http://schemas.openxmlformats.org/officeDocument/2006/relationships/notesSlide" Target="../notesSlides/notesSlide11.xml"/><Relationship Id="rId15" Type="http://schemas.openxmlformats.org/officeDocument/2006/relationships/image" Target="../media/image97.png"/><Relationship Id="rId10" Type="http://schemas.openxmlformats.org/officeDocument/2006/relationships/diagramQuickStyle" Target="../diagrams/quickStyle5.xml"/><Relationship Id="rId4" Type="http://schemas.openxmlformats.org/officeDocument/2006/relationships/slideLayout" Target="../slideLayouts/slideLayout101.xml"/><Relationship Id="rId9" Type="http://schemas.openxmlformats.org/officeDocument/2006/relationships/diagramLayout" Target="../diagrams/layout5.xml"/><Relationship Id="rId14" Type="http://schemas.microsoft.com/office/2007/relationships/hdphoto" Target="../media/hdphoto5.wdp"/></Relationships>
</file>

<file path=ppt/slides/_rels/slide2.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png"/><Relationship Id="rId1" Type="http://schemas.openxmlformats.org/officeDocument/2006/relationships/slideLayout" Target="../slideLayouts/slideLayout139.xml"/><Relationship Id="rId4" Type="http://schemas.openxmlformats.org/officeDocument/2006/relationships/image" Target="../media/image69.png"/></Relationships>
</file>

<file path=ppt/slides/_rels/slide20.xml.rels><?xml version="1.0" encoding="UTF-8" standalone="yes"?>
<Relationships xmlns="http://schemas.openxmlformats.org/package/2006/relationships"><Relationship Id="rId8" Type="http://schemas.openxmlformats.org/officeDocument/2006/relationships/diagramData" Target="../diagrams/data6.xml"/><Relationship Id="rId13" Type="http://schemas.openxmlformats.org/officeDocument/2006/relationships/image" Target="../media/image94.png"/><Relationship Id="rId18" Type="http://schemas.openxmlformats.org/officeDocument/2006/relationships/image" Target="../media/image100.svg"/><Relationship Id="rId3" Type="http://schemas.openxmlformats.org/officeDocument/2006/relationships/tags" Target="../tags/tag225.xml"/><Relationship Id="rId7" Type="http://schemas.openxmlformats.org/officeDocument/2006/relationships/image" Target="../media/image70.emf"/><Relationship Id="rId12" Type="http://schemas.microsoft.com/office/2007/relationships/diagramDrawing" Target="../diagrams/drawing6.xml"/><Relationship Id="rId17" Type="http://schemas.openxmlformats.org/officeDocument/2006/relationships/image" Target="../media/image99.png"/><Relationship Id="rId2" Type="http://schemas.openxmlformats.org/officeDocument/2006/relationships/tags" Target="../tags/tag224.xml"/><Relationship Id="rId16" Type="http://schemas.openxmlformats.org/officeDocument/2006/relationships/image" Target="../media/image98.svg"/><Relationship Id="rId1" Type="http://schemas.openxmlformats.org/officeDocument/2006/relationships/vmlDrawing" Target="../drawings/vmlDrawing152.vml"/><Relationship Id="rId6" Type="http://schemas.openxmlformats.org/officeDocument/2006/relationships/oleObject" Target="../embeddings/oleObject152.bin"/><Relationship Id="rId11" Type="http://schemas.openxmlformats.org/officeDocument/2006/relationships/diagramColors" Target="../diagrams/colors6.xml"/><Relationship Id="rId5" Type="http://schemas.openxmlformats.org/officeDocument/2006/relationships/notesSlide" Target="../notesSlides/notesSlide12.xml"/><Relationship Id="rId15" Type="http://schemas.openxmlformats.org/officeDocument/2006/relationships/image" Target="../media/image97.png"/><Relationship Id="rId10" Type="http://schemas.openxmlformats.org/officeDocument/2006/relationships/diagramQuickStyle" Target="../diagrams/quickStyle6.xml"/><Relationship Id="rId4" Type="http://schemas.openxmlformats.org/officeDocument/2006/relationships/slideLayout" Target="../slideLayouts/slideLayout101.xml"/><Relationship Id="rId9" Type="http://schemas.openxmlformats.org/officeDocument/2006/relationships/diagramLayout" Target="../diagrams/layout6.xml"/><Relationship Id="rId14" Type="http://schemas.microsoft.com/office/2007/relationships/hdphoto" Target="../media/hdphoto5.wdp"/></Relationships>
</file>

<file path=ppt/slides/_rels/slide21.xml.rels><?xml version="1.0" encoding="UTF-8" standalone="yes"?>
<Relationships xmlns="http://schemas.openxmlformats.org/package/2006/relationships"><Relationship Id="rId13" Type="http://schemas.openxmlformats.org/officeDocument/2006/relationships/tags" Target="../tags/tag237.xml"/><Relationship Id="rId18" Type="http://schemas.openxmlformats.org/officeDocument/2006/relationships/tags" Target="../tags/tag242.xml"/><Relationship Id="rId26" Type="http://schemas.openxmlformats.org/officeDocument/2006/relationships/notesSlide" Target="../notesSlides/notesSlide13.xml"/><Relationship Id="rId3" Type="http://schemas.openxmlformats.org/officeDocument/2006/relationships/tags" Target="../tags/tag227.xml"/><Relationship Id="rId21" Type="http://schemas.openxmlformats.org/officeDocument/2006/relationships/tags" Target="../tags/tag245.xml"/><Relationship Id="rId7" Type="http://schemas.openxmlformats.org/officeDocument/2006/relationships/tags" Target="../tags/tag231.xml"/><Relationship Id="rId12" Type="http://schemas.openxmlformats.org/officeDocument/2006/relationships/tags" Target="../tags/tag236.xml"/><Relationship Id="rId17" Type="http://schemas.openxmlformats.org/officeDocument/2006/relationships/tags" Target="../tags/tag241.xml"/><Relationship Id="rId25" Type="http://schemas.openxmlformats.org/officeDocument/2006/relationships/slideLayout" Target="../slideLayouts/slideLayout101.xml"/><Relationship Id="rId33" Type="http://schemas.microsoft.com/office/2007/relationships/diagramDrawing" Target="../diagrams/drawing7.xml"/><Relationship Id="rId2" Type="http://schemas.openxmlformats.org/officeDocument/2006/relationships/tags" Target="../tags/tag226.xml"/><Relationship Id="rId16" Type="http://schemas.openxmlformats.org/officeDocument/2006/relationships/tags" Target="../tags/tag240.xml"/><Relationship Id="rId20" Type="http://schemas.openxmlformats.org/officeDocument/2006/relationships/tags" Target="../tags/tag244.xml"/><Relationship Id="rId29" Type="http://schemas.openxmlformats.org/officeDocument/2006/relationships/diagramData" Target="../diagrams/data7.xml"/><Relationship Id="rId1" Type="http://schemas.openxmlformats.org/officeDocument/2006/relationships/vmlDrawing" Target="../drawings/vmlDrawing153.vml"/><Relationship Id="rId6" Type="http://schemas.openxmlformats.org/officeDocument/2006/relationships/tags" Target="../tags/tag230.xml"/><Relationship Id="rId11" Type="http://schemas.openxmlformats.org/officeDocument/2006/relationships/tags" Target="../tags/tag235.xml"/><Relationship Id="rId24" Type="http://schemas.openxmlformats.org/officeDocument/2006/relationships/tags" Target="../tags/tag248.xml"/><Relationship Id="rId32" Type="http://schemas.openxmlformats.org/officeDocument/2006/relationships/diagramColors" Target="../diagrams/colors7.xml"/><Relationship Id="rId5" Type="http://schemas.openxmlformats.org/officeDocument/2006/relationships/tags" Target="../tags/tag229.xml"/><Relationship Id="rId15" Type="http://schemas.openxmlformats.org/officeDocument/2006/relationships/tags" Target="../tags/tag239.xml"/><Relationship Id="rId23" Type="http://schemas.openxmlformats.org/officeDocument/2006/relationships/tags" Target="../tags/tag247.xml"/><Relationship Id="rId28" Type="http://schemas.openxmlformats.org/officeDocument/2006/relationships/image" Target="../media/image70.emf"/><Relationship Id="rId10" Type="http://schemas.openxmlformats.org/officeDocument/2006/relationships/tags" Target="../tags/tag234.xml"/><Relationship Id="rId19" Type="http://schemas.openxmlformats.org/officeDocument/2006/relationships/tags" Target="../tags/tag243.xml"/><Relationship Id="rId31" Type="http://schemas.openxmlformats.org/officeDocument/2006/relationships/diagramQuickStyle" Target="../diagrams/quickStyle7.xml"/><Relationship Id="rId4" Type="http://schemas.openxmlformats.org/officeDocument/2006/relationships/tags" Target="../tags/tag228.xml"/><Relationship Id="rId9" Type="http://schemas.openxmlformats.org/officeDocument/2006/relationships/tags" Target="../tags/tag233.xml"/><Relationship Id="rId14" Type="http://schemas.openxmlformats.org/officeDocument/2006/relationships/tags" Target="../tags/tag238.xml"/><Relationship Id="rId22" Type="http://schemas.openxmlformats.org/officeDocument/2006/relationships/tags" Target="../tags/tag246.xml"/><Relationship Id="rId27" Type="http://schemas.openxmlformats.org/officeDocument/2006/relationships/oleObject" Target="../embeddings/oleObject153.bin"/><Relationship Id="rId30" Type="http://schemas.openxmlformats.org/officeDocument/2006/relationships/diagramLayout" Target="../diagrams/layout7.xml"/><Relationship Id="rId8" Type="http://schemas.openxmlformats.org/officeDocument/2006/relationships/tags" Target="../tags/tag232.xml"/></Relationships>
</file>

<file path=ppt/slides/_rels/slide22.xml.rels><?xml version="1.0" encoding="UTF-8" standalone="yes"?>
<Relationships xmlns="http://schemas.openxmlformats.org/package/2006/relationships"><Relationship Id="rId3" Type="http://schemas.openxmlformats.org/officeDocument/2006/relationships/tags" Target="../tags/tag250.xml"/><Relationship Id="rId2" Type="http://schemas.openxmlformats.org/officeDocument/2006/relationships/tags" Target="../tags/tag249.xml"/><Relationship Id="rId1" Type="http://schemas.openxmlformats.org/officeDocument/2006/relationships/vmlDrawing" Target="../drawings/vmlDrawing154.vml"/><Relationship Id="rId6" Type="http://schemas.openxmlformats.org/officeDocument/2006/relationships/image" Target="../media/image101.emf"/><Relationship Id="rId5" Type="http://schemas.openxmlformats.org/officeDocument/2006/relationships/oleObject" Target="../embeddings/oleObject154.bin"/><Relationship Id="rId4" Type="http://schemas.openxmlformats.org/officeDocument/2006/relationships/slideLayout" Target="../slideLayouts/slideLayout7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0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25.xml"/></Relationships>
</file>

<file path=ppt/slides/_rels/slide25.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image" Target="../media/image102.png"/><Relationship Id="rId1" Type="http://schemas.openxmlformats.org/officeDocument/2006/relationships/slideLayout" Target="../slideLayouts/slideLayout124.xml"/><Relationship Id="rId4" Type="http://schemas.openxmlformats.org/officeDocument/2006/relationships/image" Target="../media/image104.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24.xml"/></Relationships>
</file>

<file path=ppt/slides/_rels/slide27.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124.xml"/></Relationships>
</file>

<file path=ppt/slides/_rels/slide3.xml.rels><?xml version="1.0" encoding="UTF-8" standalone="yes"?>
<Relationships xmlns="http://schemas.openxmlformats.org/package/2006/relationships"><Relationship Id="rId8" Type="http://schemas.openxmlformats.org/officeDocument/2006/relationships/diagramData" Target="../diagrams/data1.xml"/><Relationship Id="rId3" Type="http://schemas.openxmlformats.org/officeDocument/2006/relationships/tags" Target="../tags/tag185.xml"/><Relationship Id="rId7" Type="http://schemas.openxmlformats.org/officeDocument/2006/relationships/image" Target="../media/image70.emf"/><Relationship Id="rId12" Type="http://schemas.microsoft.com/office/2007/relationships/diagramDrawing" Target="../diagrams/drawing1.xml"/><Relationship Id="rId2" Type="http://schemas.openxmlformats.org/officeDocument/2006/relationships/tags" Target="../tags/tag184.xml"/><Relationship Id="rId1" Type="http://schemas.openxmlformats.org/officeDocument/2006/relationships/vmlDrawing" Target="../drawings/vmlDrawing141.vml"/><Relationship Id="rId6" Type="http://schemas.openxmlformats.org/officeDocument/2006/relationships/oleObject" Target="../embeddings/oleObject141.bin"/><Relationship Id="rId11" Type="http://schemas.openxmlformats.org/officeDocument/2006/relationships/diagramColors" Target="../diagrams/colors1.xml"/><Relationship Id="rId5" Type="http://schemas.openxmlformats.org/officeDocument/2006/relationships/notesSlide" Target="../notesSlides/notesSlide2.xml"/><Relationship Id="rId10" Type="http://schemas.openxmlformats.org/officeDocument/2006/relationships/diagramQuickStyle" Target="../diagrams/quickStyle1.xml"/><Relationship Id="rId4" Type="http://schemas.openxmlformats.org/officeDocument/2006/relationships/slideLayout" Target="../slideLayouts/slideLayout101.xml"/><Relationship Id="rId9" Type="http://schemas.openxmlformats.org/officeDocument/2006/relationships/diagramLayout" Target="../diagrams/layout1.xml"/></Relationships>
</file>

<file path=ppt/slides/_rels/slide4.xml.rels><?xml version="1.0" encoding="UTF-8" standalone="yes"?>
<Relationships xmlns="http://schemas.openxmlformats.org/package/2006/relationships"><Relationship Id="rId3" Type="http://schemas.openxmlformats.org/officeDocument/2006/relationships/tags" Target="../tags/tag187.xml"/><Relationship Id="rId7" Type="http://schemas.openxmlformats.org/officeDocument/2006/relationships/image" Target="../media/image70.emf"/><Relationship Id="rId2" Type="http://schemas.openxmlformats.org/officeDocument/2006/relationships/tags" Target="../tags/tag186.xml"/><Relationship Id="rId1" Type="http://schemas.openxmlformats.org/officeDocument/2006/relationships/vmlDrawing" Target="../drawings/vmlDrawing142.vml"/><Relationship Id="rId6" Type="http://schemas.openxmlformats.org/officeDocument/2006/relationships/oleObject" Target="../embeddings/oleObject142.bin"/><Relationship Id="rId5" Type="http://schemas.openxmlformats.org/officeDocument/2006/relationships/notesSlide" Target="../notesSlides/notesSlide3.xml"/><Relationship Id="rId4" Type="http://schemas.openxmlformats.org/officeDocument/2006/relationships/slideLayout" Target="../slideLayouts/slideLayout101.xml"/></Relationships>
</file>

<file path=ppt/slides/_rels/slide5.xml.rels><?xml version="1.0" encoding="UTF-8" standalone="yes"?>
<Relationships xmlns="http://schemas.openxmlformats.org/package/2006/relationships"><Relationship Id="rId8" Type="http://schemas.openxmlformats.org/officeDocument/2006/relationships/image" Target="../media/image70.emf"/><Relationship Id="rId3" Type="http://schemas.openxmlformats.org/officeDocument/2006/relationships/tags" Target="../tags/tag189.xml"/><Relationship Id="rId7" Type="http://schemas.openxmlformats.org/officeDocument/2006/relationships/oleObject" Target="../embeddings/oleObject143.bin"/><Relationship Id="rId2" Type="http://schemas.openxmlformats.org/officeDocument/2006/relationships/tags" Target="../tags/tag188.xml"/><Relationship Id="rId1" Type="http://schemas.openxmlformats.org/officeDocument/2006/relationships/vmlDrawing" Target="../drawings/vmlDrawing143.vml"/><Relationship Id="rId6" Type="http://schemas.openxmlformats.org/officeDocument/2006/relationships/chart" Target="../charts/chart1.xml"/><Relationship Id="rId5" Type="http://schemas.openxmlformats.org/officeDocument/2006/relationships/notesSlide" Target="../notesSlides/notesSlide4.xml"/><Relationship Id="rId4" Type="http://schemas.openxmlformats.org/officeDocument/2006/relationships/slideLayout" Target="../slideLayouts/slideLayout101.xml"/></Relationships>
</file>

<file path=ppt/slides/_rels/slide6.xml.rels><?xml version="1.0" encoding="UTF-8" standalone="yes"?>
<Relationships xmlns="http://schemas.openxmlformats.org/package/2006/relationships"><Relationship Id="rId8" Type="http://schemas.openxmlformats.org/officeDocument/2006/relationships/image" Target="../media/image71.png"/><Relationship Id="rId3" Type="http://schemas.openxmlformats.org/officeDocument/2006/relationships/tags" Target="../tags/tag191.xml"/><Relationship Id="rId7" Type="http://schemas.openxmlformats.org/officeDocument/2006/relationships/image" Target="../media/image70.emf"/><Relationship Id="rId2" Type="http://schemas.openxmlformats.org/officeDocument/2006/relationships/tags" Target="../tags/tag190.xml"/><Relationship Id="rId1" Type="http://schemas.openxmlformats.org/officeDocument/2006/relationships/vmlDrawing" Target="../drawings/vmlDrawing144.vml"/><Relationship Id="rId6" Type="http://schemas.openxmlformats.org/officeDocument/2006/relationships/oleObject" Target="../embeddings/oleObject144.bin"/><Relationship Id="rId11" Type="http://schemas.microsoft.com/office/2007/relationships/hdphoto" Target="../media/hdphoto2.wdp"/><Relationship Id="rId5" Type="http://schemas.openxmlformats.org/officeDocument/2006/relationships/notesSlide" Target="../notesSlides/notesSlide5.xml"/><Relationship Id="rId10" Type="http://schemas.openxmlformats.org/officeDocument/2006/relationships/image" Target="../media/image72.png"/><Relationship Id="rId4" Type="http://schemas.openxmlformats.org/officeDocument/2006/relationships/slideLayout" Target="../slideLayouts/slideLayout101.xml"/><Relationship Id="rId9" Type="http://schemas.microsoft.com/office/2007/relationships/hdphoto" Target="../media/hdphoto1.wdp"/></Relationships>
</file>

<file path=ppt/slides/_rels/slide7.xml.rels><?xml version="1.0" encoding="UTF-8" standalone="yes"?>
<Relationships xmlns="http://schemas.openxmlformats.org/package/2006/relationships"><Relationship Id="rId8" Type="http://schemas.openxmlformats.org/officeDocument/2006/relationships/tags" Target="../tags/tag198.xml"/><Relationship Id="rId13" Type="http://schemas.openxmlformats.org/officeDocument/2006/relationships/tags" Target="../tags/tag203.xml"/><Relationship Id="rId18" Type="http://schemas.openxmlformats.org/officeDocument/2006/relationships/tags" Target="../tags/tag208.xml"/><Relationship Id="rId26" Type="http://schemas.openxmlformats.org/officeDocument/2006/relationships/image" Target="../media/image70.emf"/><Relationship Id="rId3" Type="http://schemas.openxmlformats.org/officeDocument/2006/relationships/tags" Target="../tags/tag193.xml"/><Relationship Id="rId21" Type="http://schemas.openxmlformats.org/officeDocument/2006/relationships/tags" Target="../tags/tag211.xml"/><Relationship Id="rId7" Type="http://schemas.openxmlformats.org/officeDocument/2006/relationships/tags" Target="../tags/tag197.xml"/><Relationship Id="rId12" Type="http://schemas.openxmlformats.org/officeDocument/2006/relationships/tags" Target="../tags/tag202.xml"/><Relationship Id="rId17" Type="http://schemas.openxmlformats.org/officeDocument/2006/relationships/tags" Target="../tags/tag207.xml"/><Relationship Id="rId25" Type="http://schemas.openxmlformats.org/officeDocument/2006/relationships/oleObject" Target="../embeddings/oleObject145.bin"/><Relationship Id="rId2" Type="http://schemas.openxmlformats.org/officeDocument/2006/relationships/tags" Target="../tags/tag192.xml"/><Relationship Id="rId16" Type="http://schemas.openxmlformats.org/officeDocument/2006/relationships/tags" Target="../tags/tag206.xml"/><Relationship Id="rId20" Type="http://schemas.openxmlformats.org/officeDocument/2006/relationships/tags" Target="../tags/tag210.xml"/><Relationship Id="rId1" Type="http://schemas.openxmlformats.org/officeDocument/2006/relationships/vmlDrawing" Target="../drawings/vmlDrawing145.vml"/><Relationship Id="rId6" Type="http://schemas.openxmlformats.org/officeDocument/2006/relationships/tags" Target="../tags/tag196.xml"/><Relationship Id="rId11" Type="http://schemas.openxmlformats.org/officeDocument/2006/relationships/tags" Target="../tags/tag201.xml"/><Relationship Id="rId24" Type="http://schemas.openxmlformats.org/officeDocument/2006/relationships/notesSlide" Target="../notesSlides/notesSlide6.xml"/><Relationship Id="rId5" Type="http://schemas.openxmlformats.org/officeDocument/2006/relationships/tags" Target="../tags/tag195.xml"/><Relationship Id="rId15" Type="http://schemas.openxmlformats.org/officeDocument/2006/relationships/tags" Target="../tags/tag205.xml"/><Relationship Id="rId23" Type="http://schemas.openxmlformats.org/officeDocument/2006/relationships/slideLayout" Target="../slideLayouts/slideLayout101.xml"/><Relationship Id="rId10" Type="http://schemas.openxmlformats.org/officeDocument/2006/relationships/tags" Target="../tags/tag200.xml"/><Relationship Id="rId19" Type="http://schemas.openxmlformats.org/officeDocument/2006/relationships/tags" Target="../tags/tag209.xml"/><Relationship Id="rId4" Type="http://schemas.openxmlformats.org/officeDocument/2006/relationships/tags" Target="../tags/tag194.xml"/><Relationship Id="rId9" Type="http://schemas.openxmlformats.org/officeDocument/2006/relationships/tags" Target="../tags/tag199.xml"/><Relationship Id="rId14" Type="http://schemas.openxmlformats.org/officeDocument/2006/relationships/tags" Target="../tags/tag204.xml"/><Relationship Id="rId22" Type="http://schemas.openxmlformats.org/officeDocument/2006/relationships/tags" Target="../tags/tag212.xml"/></Relationships>
</file>

<file path=ppt/slides/_rels/slide8.xml.rels><?xml version="1.0" encoding="UTF-8" standalone="yes"?>
<Relationships xmlns="http://schemas.openxmlformats.org/package/2006/relationships"><Relationship Id="rId8" Type="http://schemas.openxmlformats.org/officeDocument/2006/relationships/image" Target="../media/image73.png"/><Relationship Id="rId13" Type="http://schemas.openxmlformats.org/officeDocument/2006/relationships/image" Target="../media/image78.svg"/><Relationship Id="rId3" Type="http://schemas.openxmlformats.org/officeDocument/2006/relationships/tags" Target="../tags/tag214.xml"/><Relationship Id="rId7" Type="http://schemas.openxmlformats.org/officeDocument/2006/relationships/image" Target="../media/image70.emf"/><Relationship Id="rId12" Type="http://schemas.openxmlformats.org/officeDocument/2006/relationships/image" Target="../media/image77.png"/><Relationship Id="rId2" Type="http://schemas.openxmlformats.org/officeDocument/2006/relationships/tags" Target="../tags/tag213.xml"/><Relationship Id="rId1" Type="http://schemas.openxmlformats.org/officeDocument/2006/relationships/vmlDrawing" Target="../drawings/vmlDrawing146.vml"/><Relationship Id="rId6" Type="http://schemas.openxmlformats.org/officeDocument/2006/relationships/oleObject" Target="../embeddings/oleObject146.bin"/><Relationship Id="rId11" Type="http://schemas.openxmlformats.org/officeDocument/2006/relationships/image" Target="../media/image76.svg"/><Relationship Id="rId5" Type="http://schemas.openxmlformats.org/officeDocument/2006/relationships/notesSlide" Target="../notesSlides/notesSlide7.xml"/><Relationship Id="rId15" Type="http://schemas.openxmlformats.org/officeDocument/2006/relationships/image" Target="../media/image80.svg"/><Relationship Id="rId10" Type="http://schemas.openxmlformats.org/officeDocument/2006/relationships/image" Target="../media/image75.png"/><Relationship Id="rId4" Type="http://schemas.openxmlformats.org/officeDocument/2006/relationships/slideLayout" Target="../slideLayouts/slideLayout101.xml"/><Relationship Id="rId9" Type="http://schemas.openxmlformats.org/officeDocument/2006/relationships/image" Target="../media/image74.svg"/><Relationship Id="rId14" Type="http://schemas.openxmlformats.org/officeDocument/2006/relationships/image" Target="../media/image79.png"/></Relationships>
</file>

<file path=ppt/slides/_rels/slide9.xml.rels><?xml version="1.0" encoding="UTF-8" standalone="yes"?>
<Relationships xmlns="http://schemas.openxmlformats.org/package/2006/relationships"><Relationship Id="rId8" Type="http://schemas.openxmlformats.org/officeDocument/2006/relationships/image" Target="../media/image81.png"/><Relationship Id="rId3" Type="http://schemas.openxmlformats.org/officeDocument/2006/relationships/tags" Target="../tags/tag216.xml"/><Relationship Id="rId7" Type="http://schemas.openxmlformats.org/officeDocument/2006/relationships/image" Target="../media/image70.emf"/><Relationship Id="rId2" Type="http://schemas.openxmlformats.org/officeDocument/2006/relationships/tags" Target="../tags/tag215.xml"/><Relationship Id="rId1" Type="http://schemas.openxmlformats.org/officeDocument/2006/relationships/vmlDrawing" Target="../drawings/vmlDrawing147.vml"/><Relationship Id="rId6" Type="http://schemas.openxmlformats.org/officeDocument/2006/relationships/oleObject" Target="../embeddings/oleObject147.bin"/><Relationship Id="rId11" Type="http://schemas.openxmlformats.org/officeDocument/2006/relationships/image" Target="../media/image84.svg"/><Relationship Id="rId5" Type="http://schemas.openxmlformats.org/officeDocument/2006/relationships/notesSlide" Target="../notesSlides/notesSlide8.xml"/><Relationship Id="rId10" Type="http://schemas.openxmlformats.org/officeDocument/2006/relationships/image" Target="../media/image83.png"/><Relationship Id="rId4" Type="http://schemas.openxmlformats.org/officeDocument/2006/relationships/slideLayout" Target="../slideLayouts/slideLayout101.xml"/><Relationship Id="rId9" Type="http://schemas.openxmlformats.org/officeDocument/2006/relationships/image" Target="../media/image82.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498AA5B-5610-4344-8381-FEE9DF825566}"/>
              </a:ext>
            </a:extLst>
          </p:cNvPr>
          <p:cNvGraphicFramePr>
            <a:graphicFrameLocks noChangeAspect="1"/>
          </p:cNvGraphicFramePr>
          <p:nvPr>
            <p:custDataLst>
              <p:tags r:id="rId2"/>
            </p:custDataLst>
            <p:extLst>
              <p:ext uri="{D42A27DB-BD31-4B8C-83A1-F6EECF244321}">
                <p14:modId xmlns:p14="http://schemas.microsoft.com/office/powerpoint/2010/main" val="41024218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6433" name="Diapositive think-cell" r:id="rId5" imgW="286" imgH="286" progId="TCLayout.ActiveDocument.1">
                  <p:embed/>
                </p:oleObj>
              </mc:Choice>
              <mc:Fallback>
                <p:oleObj name="Diapositive think-cell" r:id="rId5" imgW="286" imgH="286" progId="TCLayout.ActiveDocument.1">
                  <p:embed/>
                  <p:pic>
                    <p:nvPicPr>
                      <p:cNvPr id="7" name="Object 6" hidden="1">
                        <a:extLst>
                          <a:ext uri="{FF2B5EF4-FFF2-40B4-BE49-F238E27FC236}">
                            <a16:creationId xmlns:a16="http://schemas.microsoft.com/office/drawing/2014/main" id="{8498AA5B-5610-4344-8381-FEE9DF82556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Text Placeholder 7">
            <a:extLst>
              <a:ext uri="{FF2B5EF4-FFF2-40B4-BE49-F238E27FC236}">
                <a16:creationId xmlns:a16="http://schemas.microsoft.com/office/drawing/2014/main" id="{6A693475-C2D2-42B2-8B58-4963316E4D17}"/>
              </a:ext>
            </a:extLst>
          </p:cNvPr>
          <p:cNvSpPr>
            <a:spLocks noGrp="1"/>
          </p:cNvSpPr>
          <p:nvPr>
            <p:ph type="body" sz="quarter" idx="15"/>
          </p:nvPr>
        </p:nvSpPr>
        <p:spPr/>
        <p:txBody>
          <a:bodyPr>
            <a:noAutofit/>
          </a:bodyPr>
          <a:lstStyle/>
          <a:p>
            <a:pPr>
              <a:spcBef>
                <a:spcPts val="0"/>
              </a:spcBef>
              <a:spcAft>
                <a:spcPts val="0"/>
              </a:spcAft>
            </a:pPr>
            <a:r>
              <a:rPr lang="en-US"/>
              <a:t>21</a:t>
            </a:r>
            <a:r>
              <a:rPr lang="en-US" baseline="30000"/>
              <a:t>st</a:t>
            </a:r>
            <a:r>
              <a:rPr lang="en-US"/>
              <a:t> NOVEMBER 2022 – </a:t>
            </a:r>
          </a:p>
          <a:p>
            <a:pPr>
              <a:spcBef>
                <a:spcPts val="0"/>
              </a:spcBef>
              <a:spcAft>
                <a:spcPts val="0"/>
              </a:spcAft>
            </a:pPr>
            <a:r>
              <a:rPr lang="en-US"/>
              <a:t>2</a:t>
            </a:r>
            <a:r>
              <a:rPr lang="en-US" baseline="30000"/>
              <a:t>nd</a:t>
            </a:r>
            <a:r>
              <a:rPr lang="en-US"/>
              <a:t>  </a:t>
            </a:r>
            <a:r>
              <a:rPr lang="en-US" err="1"/>
              <a:t>DECEMBer</a:t>
            </a:r>
            <a:r>
              <a:rPr lang="en-US"/>
              <a:t> 2022</a:t>
            </a:r>
          </a:p>
        </p:txBody>
      </p:sp>
      <p:sp>
        <p:nvSpPr>
          <p:cNvPr id="6" name="Text Placeholder 5">
            <a:extLst>
              <a:ext uri="{FF2B5EF4-FFF2-40B4-BE49-F238E27FC236}">
                <a16:creationId xmlns:a16="http://schemas.microsoft.com/office/drawing/2014/main" id="{E7725446-9991-4623-8401-5C388C488235}"/>
              </a:ext>
            </a:extLst>
          </p:cNvPr>
          <p:cNvSpPr>
            <a:spLocks noGrp="1"/>
          </p:cNvSpPr>
          <p:nvPr>
            <p:ph type="body" sz="quarter" idx="14"/>
          </p:nvPr>
        </p:nvSpPr>
        <p:spPr>
          <a:xfrm>
            <a:off x="1117415" y="4402827"/>
            <a:ext cx="5528015" cy="436195"/>
          </a:xfrm>
        </p:spPr>
        <p:txBody>
          <a:bodyPr/>
          <a:lstStyle/>
          <a:p>
            <a:pPr>
              <a:spcBef>
                <a:spcPts val="0"/>
              </a:spcBef>
            </a:pPr>
            <a:r>
              <a:rPr lang="en-US" err="1"/>
              <a:t>CentraleSupélec</a:t>
            </a:r>
            <a:endParaRPr lang="en-US"/>
          </a:p>
          <a:p>
            <a:pPr>
              <a:spcBef>
                <a:spcPts val="0"/>
              </a:spcBef>
            </a:pPr>
            <a:r>
              <a:rPr lang="en-US"/>
              <a:t>Groupe 7</a:t>
            </a:r>
          </a:p>
        </p:txBody>
      </p:sp>
      <p:sp>
        <p:nvSpPr>
          <p:cNvPr id="5" name="Title 4">
            <a:extLst>
              <a:ext uri="{FF2B5EF4-FFF2-40B4-BE49-F238E27FC236}">
                <a16:creationId xmlns:a16="http://schemas.microsoft.com/office/drawing/2014/main" id="{9EBC0C74-7BB0-4F19-917C-3BE237D82935}"/>
              </a:ext>
            </a:extLst>
          </p:cNvPr>
          <p:cNvSpPr>
            <a:spLocks noGrp="1"/>
          </p:cNvSpPr>
          <p:nvPr>
            <p:ph type="ctrTitle"/>
          </p:nvPr>
        </p:nvSpPr>
        <p:spPr/>
        <p:txBody>
          <a:bodyPr vert="horz">
            <a:noAutofit/>
          </a:bodyPr>
          <a:lstStyle/>
          <a:p>
            <a:r>
              <a:rPr lang="en-US" sz="4400" u="sng"/>
              <a:t>BCG Study case : </a:t>
            </a:r>
            <a:r>
              <a:rPr lang="en-US" sz="4400" err="1"/>
              <a:t>ClientCo</a:t>
            </a:r>
            <a:r>
              <a:rPr lang="en-US" sz="4400"/>
              <a:t> digital strategy</a:t>
            </a:r>
          </a:p>
        </p:txBody>
      </p:sp>
      <p:pic>
        <p:nvPicPr>
          <p:cNvPr id="11" name="Picture 20" descr="Logo&#10;&#10;Description automatically generated">
            <a:extLst>
              <a:ext uri="{FF2B5EF4-FFF2-40B4-BE49-F238E27FC236}">
                <a16:creationId xmlns:a16="http://schemas.microsoft.com/office/drawing/2014/main" id="{A3C178E6-C50A-4AD1-B397-CC5F3DEF50F3}"/>
              </a:ext>
            </a:extLst>
          </p:cNvPr>
          <p:cNvPicPr>
            <a:picLocks noChangeAspect="1"/>
          </p:cNvPicPr>
          <p:nvPr/>
        </p:nvPicPr>
        <p:blipFill>
          <a:blip r:embed="rId7"/>
          <a:stretch>
            <a:fillRect/>
          </a:stretch>
        </p:blipFill>
        <p:spPr>
          <a:xfrm>
            <a:off x="8098004" y="5619870"/>
            <a:ext cx="1985516" cy="64883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3" name="Picture 2" descr="https://tse4.mm.bing.net/th?id=OIP.SjmPS7idE9CIP75Bxn2hrAHaDz&amp;pid=Api">
            <a:extLst>
              <a:ext uri="{FF2B5EF4-FFF2-40B4-BE49-F238E27FC236}">
                <a16:creationId xmlns:a16="http://schemas.microsoft.com/office/drawing/2014/main" id="{61EE92AA-E63E-4783-8D3B-4D6AF4672BD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117415" y="262895"/>
            <a:ext cx="1702047" cy="8725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778206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41" name="Diapositive think-cell" r:id="rId4" imgW="286" imgH="286" progId="TCLayout.ActiveDocument.1">
                  <p:embed/>
                </p:oleObj>
              </mc:Choice>
              <mc:Fallback>
                <p:oleObj name="Diapositive think-cell"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59343304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object 2"/>
          <p:cNvGrpSpPr/>
          <p:nvPr/>
        </p:nvGrpSpPr>
        <p:grpSpPr>
          <a:xfrm>
            <a:off x="0" y="0"/>
            <a:ext cx="4321810" cy="6858000"/>
            <a:chOff x="0" y="0"/>
            <a:chExt cx="4321810" cy="6858000"/>
          </a:xfrm>
        </p:grpSpPr>
        <p:pic>
          <p:nvPicPr>
            <p:cNvPr id="3" name="object 3"/>
            <p:cNvPicPr/>
            <p:nvPr/>
          </p:nvPicPr>
          <p:blipFill>
            <a:blip r:embed="rId2" cstate="print"/>
            <a:stretch>
              <a:fillRect/>
            </a:stretch>
          </p:blipFill>
          <p:spPr>
            <a:xfrm>
              <a:off x="4064000" y="0"/>
              <a:ext cx="257287" cy="6857999"/>
            </a:xfrm>
            <a:prstGeom prst="rect">
              <a:avLst/>
            </a:prstGeom>
          </p:spPr>
        </p:pic>
        <p:pic>
          <p:nvPicPr>
            <p:cNvPr id="4" name="object 4"/>
            <p:cNvPicPr/>
            <p:nvPr/>
          </p:nvPicPr>
          <p:blipFill>
            <a:blip r:embed="rId3" cstate="print"/>
            <a:stretch>
              <a:fillRect/>
            </a:stretch>
          </p:blipFill>
          <p:spPr>
            <a:xfrm>
              <a:off x="0" y="0"/>
              <a:ext cx="4084320" cy="6858000"/>
            </a:xfrm>
            <a:prstGeom prst="rect">
              <a:avLst/>
            </a:prstGeom>
          </p:spPr>
        </p:pic>
      </p:grpSp>
      <p:sp>
        <p:nvSpPr>
          <p:cNvPr id="5" name="object 5"/>
          <p:cNvSpPr txBox="1"/>
          <p:nvPr/>
        </p:nvSpPr>
        <p:spPr>
          <a:xfrm>
            <a:off x="611962" y="3147184"/>
            <a:ext cx="2840077" cy="505908"/>
          </a:xfrm>
          <a:prstGeom prst="rect">
            <a:avLst/>
          </a:prstGeom>
        </p:spPr>
        <p:txBody>
          <a:bodyPr vert="horz" wrap="square" lIns="0" tIns="13335" rIns="0" bIns="0" rtlCol="0">
            <a:spAutoFit/>
          </a:bodyPr>
          <a:lstStyle/>
          <a:p>
            <a:pPr marL="12700">
              <a:lnSpc>
                <a:spcPct val="100000"/>
              </a:lnSpc>
              <a:spcBef>
                <a:spcPts val="105"/>
              </a:spcBef>
            </a:pPr>
            <a:r>
              <a:rPr lang="fr-FR" sz="3200" spc="-215">
                <a:solidFill>
                  <a:srgbClr val="FFFFFF"/>
                </a:solidFill>
                <a:latin typeface="Microsoft Sans Serif"/>
                <a:cs typeface="Microsoft Sans Serif"/>
              </a:rPr>
              <a:t>Annex</a:t>
            </a:r>
            <a:endParaRPr sz="3200">
              <a:latin typeface="Microsoft Sans Serif"/>
              <a:cs typeface="Microsoft Sans Serif"/>
            </a:endParaRPr>
          </a:p>
        </p:txBody>
      </p:sp>
      <p:sp>
        <p:nvSpPr>
          <p:cNvPr id="6" name="object 6"/>
          <p:cNvSpPr txBox="1">
            <a:spLocks noGrp="1"/>
          </p:cNvSpPr>
          <p:nvPr>
            <p:ph type="title"/>
          </p:nvPr>
        </p:nvSpPr>
        <p:spPr>
          <a:xfrm>
            <a:off x="5693821" y="1262847"/>
            <a:ext cx="5750560" cy="3891450"/>
          </a:xfrm>
          <a:prstGeom prst="rect">
            <a:avLst/>
          </a:prstGeom>
        </p:spPr>
        <p:txBody>
          <a:bodyPr vert="horz" wrap="square" lIns="0" tIns="13335" rIns="0" bIns="0" rtlCol="0">
            <a:spAutoFit/>
          </a:bodyPr>
          <a:lstStyle/>
          <a:p>
            <a:pPr marL="180000">
              <a:lnSpc>
                <a:spcPct val="100000"/>
              </a:lnSpc>
              <a:spcBef>
                <a:spcPts val="105"/>
              </a:spcBef>
            </a:pPr>
            <a:r>
              <a:rPr lang="en-GB" spc="-15" err="1">
                <a:solidFill>
                  <a:srgbClr val="212121"/>
                </a:solidFill>
              </a:rPr>
              <a:t>ClientCo</a:t>
            </a:r>
            <a:r>
              <a:rPr lang="en-GB" spc="-15">
                <a:solidFill>
                  <a:srgbClr val="212121"/>
                </a:solidFill>
              </a:rPr>
              <a:t> organizational chart</a:t>
            </a:r>
            <a:br>
              <a:rPr lang="en-GB" spc="-15">
                <a:solidFill>
                  <a:srgbClr val="212121"/>
                </a:solidFill>
              </a:rPr>
            </a:br>
            <a:r>
              <a:rPr lang="en-GB" spc="-15" err="1">
                <a:solidFill>
                  <a:srgbClr val="212121"/>
                </a:solidFill>
              </a:rPr>
              <a:t>Usecases</a:t>
            </a:r>
            <a:r>
              <a:rPr lang="en-GB" spc="-15">
                <a:solidFill>
                  <a:srgbClr val="212121"/>
                </a:solidFill>
              </a:rPr>
              <a:t> list</a:t>
            </a:r>
            <a:br>
              <a:rPr lang="en-GB" spc="-15">
                <a:solidFill>
                  <a:srgbClr val="212121"/>
                </a:solidFill>
              </a:rPr>
            </a:br>
            <a:r>
              <a:rPr lang="en-GB" spc="-15" err="1">
                <a:solidFill>
                  <a:srgbClr val="212121"/>
                </a:solidFill>
              </a:rPr>
              <a:t>Priorisation</a:t>
            </a:r>
            <a:r>
              <a:rPr lang="en-GB" spc="-15">
                <a:solidFill>
                  <a:srgbClr val="212121"/>
                </a:solidFill>
              </a:rPr>
              <a:t> calculation for </a:t>
            </a:r>
            <a:r>
              <a:rPr lang="en-GB" spc="-15" err="1">
                <a:solidFill>
                  <a:srgbClr val="212121"/>
                </a:solidFill>
              </a:rPr>
              <a:t>usecases</a:t>
            </a:r>
            <a:br>
              <a:rPr lang="en-GB" spc="-15">
                <a:solidFill>
                  <a:srgbClr val="212121"/>
                </a:solidFill>
              </a:rPr>
            </a:br>
            <a:r>
              <a:rPr lang="en-GB" spc="-15">
                <a:solidFill>
                  <a:srgbClr val="212121"/>
                </a:solidFill>
              </a:rPr>
              <a:t>Main </a:t>
            </a:r>
            <a:r>
              <a:rPr lang="en-GB" spc="-15" err="1">
                <a:solidFill>
                  <a:srgbClr val="212121"/>
                </a:solidFill>
              </a:rPr>
              <a:t>usecases</a:t>
            </a:r>
            <a:r>
              <a:rPr lang="en-GB" spc="-15">
                <a:solidFill>
                  <a:srgbClr val="212121"/>
                </a:solidFill>
              </a:rPr>
              <a:t> description</a:t>
            </a:r>
            <a:br>
              <a:rPr lang="en-GB" spc="-15">
                <a:solidFill>
                  <a:srgbClr val="212121"/>
                </a:solidFill>
              </a:rPr>
            </a:br>
            <a:r>
              <a:rPr lang="en-GB" spc="-15" err="1">
                <a:solidFill>
                  <a:srgbClr val="212121"/>
                </a:solidFill>
              </a:rPr>
              <a:t>Detailled</a:t>
            </a:r>
            <a:r>
              <a:rPr lang="en-GB" spc="-15">
                <a:solidFill>
                  <a:srgbClr val="212121"/>
                </a:solidFill>
              </a:rPr>
              <a:t> roadmap </a:t>
            </a:r>
            <a:br>
              <a:rPr lang="en-GB" spc="-15">
                <a:solidFill>
                  <a:srgbClr val="212121"/>
                </a:solidFill>
              </a:rPr>
            </a:br>
            <a:r>
              <a:rPr lang="en-GB" spc="-15">
                <a:solidFill>
                  <a:srgbClr val="212121"/>
                </a:solidFill>
              </a:rPr>
              <a:t>Cost calculation</a:t>
            </a:r>
            <a:br>
              <a:rPr lang="en-GB" spc="-15">
                <a:solidFill>
                  <a:srgbClr val="212121"/>
                </a:solidFill>
              </a:rPr>
            </a:br>
            <a:r>
              <a:rPr lang="en-GB" spc="-15">
                <a:solidFill>
                  <a:srgbClr val="212121"/>
                </a:solidFill>
              </a:rPr>
              <a:t>Churn prediction model &amp; parameters</a:t>
            </a:r>
            <a:endParaRPr lang="en-GB" spc="-20">
              <a:solidFill>
                <a:srgbClr val="212121"/>
              </a:solidFill>
            </a:endParaRPr>
          </a:p>
        </p:txBody>
      </p:sp>
      <p:sp>
        <p:nvSpPr>
          <p:cNvPr id="12" name="object 12"/>
          <p:cNvSpPr txBox="1">
            <a:spLocks noGrp="1"/>
          </p:cNvSpPr>
          <p:nvPr>
            <p:ph type="sldNum" sz="quarter" idx="7"/>
          </p:nvPr>
        </p:nvSpPr>
        <p:spPr>
          <a:prstGeom prst="rect">
            <a:avLst/>
          </a:prstGeom>
        </p:spPr>
        <p:txBody>
          <a:bodyPr vert="horz" wrap="square" lIns="0" tIns="0" rIns="0" bIns="0" rtlCol="0">
            <a:spAutoFit/>
          </a:bodyPr>
          <a:lstStyle/>
          <a:p>
            <a:pPr marL="38100">
              <a:lnSpc>
                <a:spcPts val="1255"/>
              </a:lnSpc>
            </a:pPr>
            <a:r>
              <a:rPr spc="-45"/>
              <a:t>2</a:t>
            </a:r>
          </a:p>
        </p:txBody>
      </p:sp>
      <p:grpSp>
        <p:nvGrpSpPr>
          <p:cNvPr id="15" name="object 8">
            <a:extLst>
              <a:ext uri="{FF2B5EF4-FFF2-40B4-BE49-F238E27FC236}">
                <a16:creationId xmlns:a16="http://schemas.microsoft.com/office/drawing/2014/main" id="{D835FFA2-6A7B-A46F-1720-297DCB2BDE3A}"/>
              </a:ext>
            </a:extLst>
          </p:cNvPr>
          <p:cNvGrpSpPr/>
          <p:nvPr/>
        </p:nvGrpSpPr>
        <p:grpSpPr>
          <a:xfrm>
            <a:off x="5241702" y="2250440"/>
            <a:ext cx="324485" cy="314325"/>
            <a:chOff x="5141277" y="2530157"/>
            <a:chExt cx="324485" cy="314325"/>
          </a:xfrm>
        </p:grpSpPr>
        <p:sp>
          <p:nvSpPr>
            <p:cNvPr id="16" name="object 9">
              <a:extLst>
                <a:ext uri="{FF2B5EF4-FFF2-40B4-BE49-F238E27FC236}">
                  <a16:creationId xmlns:a16="http://schemas.microsoft.com/office/drawing/2014/main" id="{C47E1406-A474-BB5C-6E20-F0006944AAA3}"/>
                </a:ext>
              </a:extLst>
            </p:cNvPr>
            <p:cNvSpPr/>
            <p:nvPr/>
          </p:nvSpPr>
          <p:spPr>
            <a:xfrm>
              <a:off x="5146040" y="2534920"/>
              <a:ext cx="314960" cy="304800"/>
            </a:xfrm>
            <a:custGeom>
              <a:avLst/>
              <a:gdLst/>
              <a:ahLst/>
              <a:cxnLst/>
              <a:rect l="l" t="t" r="r" b="b"/>
              <a:pathLst>
                <a:path w="314960" h="304800">
                  <a:moveTo>
                    <a:pt x="157480" y="0"/>
                  </a:moveTo>
                  <a:lnTo>
                    <a:pt x="107696" y="7766"/>
                  </a:lnTo>
                  <a:lnTo>
                    <a:pt x="64465" y="29394"/>
                  </a:lnTo>
                  <a:lnTo>
                    <a:pt x="30378" y="62380"/>
                  </a:lnTo>
                  <a:lnTo>
                    <a:pt x="8026" y="104217"/>
                  </a:lnTo>
                  <a:lnTo>
                    <a:pt x="0" y="152400"/>
                  </a:lnTo>
                  <a:lnTo>
                    <a:pt x="8026" y="200582"/>
                  </a:lnTo>
                  <a:lnTo>
                    <a:pt x="30378" y="242419"/>
                  </a:lnTo>
                  <a:lnTo>
                    <a:pt x="64465" y="275405"/>
                  </a:lnTo>
                  <a:lnTo>
                    <a:pt x="107696" y="297033"/>
                  </a:lnTo>
                  <a:lnTo>
                    <a:pt x="157480" y="304800"/>
                  </a:lnTo>
                  <a:lnTo>
                    <a:pt x="207263" y="297033"/>
                  </a:lnTo>
                  <a:lnTo>
                    <a:pt x="250494" y="275405"/>
                  </a:lnTo>
                  <a:lnTo>
                    <a:pt x="284581" y="242419"/>
                  </a:lnTo>
                  <a:lnTo>
                    <a:pt x="306933" y="200582"/>
                  </a:lnTo>
                  <a:lnTo>
                    <a:pt x="314960" y="152400"/>
                  </a:lnTo>
                  <a:lnTo>
                    <a:pt x="306933" y="104217"/>
                  </a:lnTo>
                  <a:lnTo>
                    <a:pt x="284581" y="62380"/>
                  </a:lnTo>
                  <a:lnTo>
                    <a:pt x="250494" y="29394"/>
                  </a:lnTo>
                  <a:lnTo>
                    <a:pt x="207263" y="7766"/>
                  </a:lnTo>
                  <a:lnTo>
                    <a:pt x="157480" y="0"/>
                  </a:lnTo>
                  <a:close/>
                </a:path>
              </a:pathLst>
            </a:custGeom>
            <a:solidFill>
              <a:srgbClr val="00AF50"/>
            </a:solidFill>
          </p:spPr>
          <p:txBody>
            <a:bodyPr wrap="square" lIns="0" tIns="0" rIns="0" bIns="0" rtlCol="0"/>
            <a:lstStyle/>
            <a:p>
              <a:endParaRPr/>
            </a:p>
          </p:txBody>
        </p:sp>
        <p:sp>
          <p:nvSpPr>
            <p:cNvPr id="17" name="object 10">
              <a:extLst>
                <a:ext uri="{FF2B5EF4-FFF2-40B4-BE49-F238E27FC236}">
                  <a16:creationId xmlns:a16="http://schemas.microsoft.com/office/drawing/2014/main" id="{6F5AAB19-3407-8ABE-1560-68326595A26B}"/>
                </a:ext>
              </a:extLst>
            </p:cNvPr>
            <p:cNvSpPr/>
            <p:nvPr/>
          </p:nvSpPr>
          <p:spPr>
            <a:xfrm>
              <a:off x="5146040" y="2534920"/>
              <a:ext cx="314960" cy="304800"/>
            </a:xfrm>
            <a:custGeom>
              <a:avLst/>
              <a:gdLst/>
              <a:ahLst/>
              <a:cxnLst/>
              <a:rect l="l" t="t" r="r" b="b"/>
              <a:pathLst>
                <a:path w="314960" h="304800">
                  <a:moveTo>
                    <a:pt x="0" y="152400"/>
                  </a:moveTo>
                  <a:lnTo>
                    <a:pt x="8026" y="104217"/>
                  </a:lnTo>
                  <a:lnTo>
                    <a:pt x="30378" y="62380"/>
                  </a:lnTo>
                  <a:lnTo>
                    <a:pt x="64465" y="29394"/>
                  </a:lnTo>
                  <a:lnTo>
                    <a:pt x="107696" y="7766"/>
                  </a:lnTo>
                  <a:lnTo>
                    <a:pt x="157480" y="0"/>
                  </a:lnTo>
                  <a:lnTo>
                    <a:pt x="207263" y="7766"/>
                  </a:lnTo>
                  <a:lnTo>
                    <a:pt x="250494" y="29394"/>
                  </a:lnTo>
                  <a:lnTo>
                    <a:pt x="284581" y="62380"/>
                  </a:lnTo>
                  <a:lnTo>
                    <a:pt x="306933" y="104217"/>
                  </a:lnTo>
                  <a:lnTo>
                    <a:pt x="314960" y="152400"/>
                  </a:lnTo>
                  <a:lnTo>
                    <a:pt x="306933" y="200582"/>
                  </a:lnTo>
                  <a:lnTo>
                    <a:pt x="284581" y="242419"/>
                  </a:lnTo>
                  <a:lnTo>
                    <a:pt x="250494" y="275405"/>
                  </a:lnTo>
                  <a:lnTo>
                    <a:pt x="207263" y="297033"/>
                  </a:lnTo>
                  <a:lnTo>
                    <a:pt x="157480" y="304800"/>
                  </a:lnTo>
                  <a:lnTo>
                    <a:pt x="107696" y="297033"/>
                  </a:lnTo>
                  <a:lnTo>
                    <a:pt x="64465" y="275405"/>
                  </a:lnTo>
                  <a:lnTo>
                    <a:pt x="30378" y="242419"/>
                  </a:lnTo>
                  <a:lnTo>
                    <a:pt x="8026" y="200582"/>
                  </a:lnTo>
                  <a:lnTo>
                    <a:pt x="0" y="152400"/>
                  </a:lnTo>
                  <a:close/>
                </a:path>
              </a:pathLst>
            </a:custGeom>
            <a:ln w="9525">
              <a:solidFill>
                <a:srgbClr val="71747A"/>
              </a:solidFill>
            </a:ln>
          </p:spPr>
          <p:txBody>
            <a:bodyPr wrap="square" lIns="0" tIns="0" rIns="0" bIns="0" rtlCol="0"/>
            <a:lstStyle/>
            <a:p>
              <a:endParaRPr/>
            </a:p>
          </p:txBody>
        </p:sp>
        <p:pic>
          <p:nvPicPr>
            <p:cNvPr id="18" name="object 11">
              <a:extLst>
                <a:ext uri="{FF2B5EF4-FFF2-40B4-BE49-F238E27FC236}">
                  <a16:creationId xmlns:a16="http://schemas.microsoft.com/office/drawing/2014/main" id="{79CF33A5-F048-4190-28BC-C8A443AA11E6}"/>
                </a:ext>
              </a:extLst>
            </p:cNvPr>
            <p:cNvPicPr/>
            <p:nvPr/>
          </p:nvPicPr>
          <p:blipFill>
            <a:blip r:embed="rId4" cstate="print"/>
            <a:stretch>
              <a:fillRect/>
            </a:stretch>
          </p:blipFill>
          <p:spPr>
            <a:xfrm>
              <a:off x="5263197" y="2580957"/>
              <a:ext cx="111125" cy="212725"/>
            </a:xfrm>
            <a:prstGeom prst="rect">
              <a:avLst/>
            </a:prstGeom>
          </p:spPr>
        </p:pic>
      </p:grpSp>
      <p:grpSp>
        <p:nvGrpSpPr>
          <p:cNvPr id="19" name="object 8">
            <a:extLst>
              <a:ext uri="{FF2B5EF4-FFF2-40B4-BE49-F238E27FC236}">
                <a16:creationId xmlns:a16="http://schemas.microsoft.com/office/drawing/2014/main" id="{E9107C90-DFAE-5999-84DA-915E410202CA}"/>
              </a:ext>
            </a:extLst>
          </p:cNvPr>
          <p:cNvGrpSpPr/>
          <p:nvPr/>
        </p:nvGrpSpPr>
        <p:grpSpPr>
          <a:xfrm>
            <a:off x="5240525" y="1821689"/>
            <a:ext cx="324485" cy="314325"/>
            <a:chOff x="5141277" y="2530157"/>
            <a:chExt cx="324485" cy="314325"/>
          </a:xfrm>
        </p:grpSpPr>
        <p:sp>
          <p:nvSpPr>
            <p:cNvPr id="20" name="object 9">
              <a:extLst>
                <a:ext uri="{FF2B5EF4-FFF2-40B4-BE49-F238E27FC236}">
                  <a16:creationId xmlns:a16="http://schemas.microsoft.com/office/drawing/2014/main" id="{A3F3E641-C772-42D6-B83A-034E41F504F2}"/>
                </a:ext>
              </a:extLst>
            </p:cNvPr>
            <p:cNvSpPr/>
            <p:nvPr/>
          </p:nvSpPr>
          <p:spPr>
            <a:xfrm>
              <a:off x="5146040" y="2534920"/>
              <a:ext cx="314960" cy="304800"/>
            </a:xfrm>
            <a:custGeom>
              <a:avLst/>
              <a:gdLst/>
              <a:ahLst/>
              <a:cxnLst/>
              <a:rect l="l" t="t" r="r" b="b"/>
              <a:pathLst>
                <a:path w="314960" h="304800">
                  <a:moveTo>
                    <a:pt x="157480" y="0"/>
                  </a:moveTo>
                  <a:lnTo>
                    <a:pt x="107696" y="7766"/>
                  </a:lnTo>
                  <a:lnTo>
                    <a:pt x="64465" y="29394"/>
                  </a:lnTo>
                  <a:lnTo>
                    <a:pt x="30378" y="62380"/>
                  </a:lnTo>
                  <a:lnTo>
                    <a:pt x="8026" y="104217"/>
                  </a:lnTo>
                  <a:lnTo>
                    <a:pt x="0" y="152400"/>
                  </a:lnTo>
                  <a:lnTo>
                    <a:pt x="8026" y="200582"/>
                  </a:lnTo>
                  <a:lnTo>
                    <a:pt x="30378" y="242419"/>
                  </a:lnTo>
                  <a:lnTo>
                    <a:pt x="64465" y="275405"/>
                  </a:lnTo>
                  <a:lnTo>
                    <a:pt x="107696" y="297033"/>
                  </a:lnTo>
                  <a:lnTo>
                    <a:pt x="157480" y="304800"/>
                  </a:lnTo>
                  <a:lnTo>
                    <a:pt x="207263" y="297033"/>
                  </a:lnTo>
                  <a:lnTo>
                    <a:pt x="250494" y="275405"/>
                  </a:lnTo>
                  <a:lnTo>
                    <a:pt x="284581" y="242419"/>
                  </a:lnTo>
                  <a:lnTo>
                    <a:pt x="306933" y="200582"/>
                  </a:lnTo>
                  <a:lnTo>
                    <a:pt x="314960" y="152400"/>
                  </a:lnTo>
                  <a:lnTo>
                    <a:pt x="306933" y="104217"/>
                  </a:lnTo>
                  <a:lnTo>
                    <a:pt x="284581" y="62380"/>
                  </a:lnTo>
                  <a:lnTo>
                    <a:pt x="250494" y="29394"/>
                  </a:lnTo>
                  <a:lnTo>
                    <a:pt x="207263" y="7766"/>
                  </a:lnTo>
                  <a:lnTo>
                    <a:pt x="157480" y="0"/>
                  </a:lnTo>
                  <a:close/>
                </a:path>
              </a:pathLst>
            </a:custGeom>
            <a:solidFill>
              <a:srgbClr val="00AF50"/>
            </a:solidFill>
          </p:spPr>
          <p:txBody>
            <a:bodyPr wrap="square" lIns="0" tIns="0" rIns="0" bIns="0" rtlCol="0"/>
            <a:lstStyle/>
            <a:p>
              <a:endParaRPr/>
            </a:p>
          </p:txBody>
        </p:sp>
        <p:sp>
          <p:nvSpPr>
            <p:cNvPr id="21" name="object 10">
              <a:extLst>
                <a:ext uri="{FF2B5EF4-FFF2-40B4-BE49-F238E27FC236}">
                  <a16:creationId xmlns:a16="http://schemas.microsoft.com/office/drawing/2014/main" id="{1FDD9014-8D4B-2F8F-50F1-161DDF0C7737}"/>
                </a:ext>
              </a:extLst>
            </p:cNvPr>
            <p:cNvSpPr/>
            <p:nvPr/>
          </p:nvSpPr>
          <p:spPr>
            <a:xfrm>
              <a:off x="5146040" y="2534920"/>
              <a:ext cx="314960" cy="304800"/>
            </a:xfrm>
            <a:custGeom>
              <a:avLst/>
              <a:gdLst/>
              <a:ahLst/>
              <a:cxnLst/>
              <a:rect l="l" t="t" r="r" b="b"/>
              <a:pathLst>
                <a:path w="314960" h="304800">
                  <a:moveTo>
                    <a:pt x="0" y="152400"/>
                  </a:moveTo>
                  <a:lnTo>
                    <a:pt x="8026" y="104217"/>
                  </a:lnTo>
                  <a:lnTo>
                    <a:pt x="30378" y="62380"/>
                  </a:lnTo>
                  <a:lnTo>
                    <a:pt x="64465" y="29394"/>
                  </a:lnTo>
                  <a:lnTo>
                    <a:pt x="107696" y="7766"/>
                  </a:lnTo>
                  <a:lnTo>
                    <a:pt x="157480" y="0"/>
                  </a:lnTo>
                  <a:lnTo>
                    <a:pt x="207263" y="7766"/>
                  </a:lnTo>
                  <a:lnTo>
                    <a:pt x="250494" y="29394"/>
                  </a:lnTo>
                  <a:lnTo>
                    <a:pt x="284581" y="62380"/>
                  </a:lnTo>
                  <a:lnTo>
                    <a:pt x="306933" y="104217"/>
                  </a:lnTo>
                  <a:lnTo>
                    <a:pt x="314960" y="152400"/>
                  </a:lnTo>
                  <a:lnTo>
                    <a:pt x="306933" y="200582"/>
                  </a:lnTo>
                  <a:lnTo>
                    <a:pt x="284581" y="242419"/>
                  </a:lnTo>
                  <a:lnTo>
                    <a:pt x="250494" y="275405"/>
                  </a:lnTo>
                  <a:lnTo>
                    <a:pt x="207263" y="297033"/>
                  </a:lnTo>
                  <a:lnTo>
                    <a:pt x="157480" y="304800"/>
                  </a:lnTo>
                  <a:lnTo>
                    <a:pt x="107696" y="297033"/>
                  </a:lnTo>
                  <a:lnTo>
                    <a:pt x="64465" y="275405"/>
                  </a:lnTo>
                  <a:lnTo>
                    <a:pt x="30378" y="242419"/>
                  </a:lnTo>
                  <a:lnTo>
                    <a:pt x="8026" y="200582"/>
                  </a:lnTo>
                  <a:lnTo>
                    <a:pt x="0" y="152400"/>
                  </a:lnTo>
                  <a:close/>
                </a:path>
              </a:pathLst>
            </a:custGeom>
            <a:ln w="9525">
              <a:solidFill>
                <a:srgbClr val="71747A"/>
              </a:solidFill>
            </a:ln>
          </p:spPr>
          <p:txBody>
            <a:bodyPr wrap="square" lIns="0" tIns="0" rIns="0" bIns="0" rtlCol="0"/>
            <a:lstStyle/>
            <a:p>
              <a:endParaRPr/>
            </a:p>
          </p:txBody>
        </p:sp>
        <p:pic>
          <p:nvPicPr>
            <p:cNvPr id="22" name="object 11">
              <a:extLst>
                <a:ext uri="{FF2B5EF4-FFF2-40B4-BE49-F238E27FC236}">
                  <a16:creationId xmlns:a16="http://schemas.microsoft.com/office/drawing/2014/main" id="{8C46E40C-9A2F-9CD8-731F-27CACF7FAE88}"/>
                </a:ext>
              </a:extLst>
            </p:cNvPr>
            <p:cNvPicPr/>
            <p:nvPr/>
          </p:nvPicPr>
          <p:blipFill>
            <a:blip r:embed="rId4" cstate="print"/>
            <a:stretch>
              <a:fillRect/>
            </a:stretch>
          </p:blipFill>
          <p:spPr>
            <a:xfrm>
              <a:off x="5263197" y="2580957"/>
              <a:ext cx="111125" cy="212725"/>
            </a:xfrm>
            <a:prstGeom prst="rect">
              <a:avLst/>
            </a:prstGeom>
          </p:spPr>
        </p:pic>
      </p:grpSp>
      <p:grpSp>
        <p:nvGrpSpPr>
          <p:cNvPr id="23" name="object 8">
            <a:extLst>
              <a:ext uri="{FF2B5EF4-FFF2-40B4-BE49-F238E27FC236}">
                <a16:creationId xmlns:a16="http://schemas.microsoft.com/office/drawing/2014/main" id="{4492E367-D2C8-F366-4391-00DF1CDC19B2}"/>
              </a:ext>
            </a:extLst>
          </p:cNvPr>
          <p:cNvGrpSpPr/>
          <p:nvPr/>
        </p:nvGrpSpPr>
        <p:grpSpPr>
          <a:xfrm>
            <a:off x="5236939" y="4358638"/>
            <a:ext cx="324485" cy="314325"/>
            <a:chOff x="5141277" y="2530157"/>
            <a:chExt cx="324485" cy="314325"/>
          </a:xfrm>
        </p:grpSpPr>
        <p:sp>
          <p:nvSpPr>
            <p:cNvPr id="24" name="object 9">
              <a:extLst>
                <a:ext uri="{FF2B5EF4-FFF2-40B4-BE49-F238E27FC236}">
                  <a16:creationId xmlns:a16="http://schemas.microsoft.com/office/drawing/2014/main" id="{23C4EAA1-3F0E-4A15-804C-9563154E7F43}"/>
                </a:ext>
              </a:extLst>
            </p:cNvPr>
            <p:cNvSpPr/>
            <p:nvPr/>
          </p:nvSpPr>
          <p:spPr>
            <a:xfrm>
              <a:off x="5146040" y="2534920"/>
              <a:ext cx="314960" cy="304800"/>
            </a:xfrm>
            <a:custGeom>
              <a:avLst/>
              <a:gdLst/>
              <a:ahLst/>
              <a:cxnLst/>
              <a:rect l="l" t="t" r="r" b="b"/>
              <a:pathLst>
                <a:path w="314960" h="304800">
                  <a:moveTo>
                    <a:pt x="157480" y="0"/>
                  </a:moveTo>
                  <a:lnTo>
                    <a:pt x="107696" y="7766"/>
                  </a:lnTo>
                  <a:lnTo>
                    <a:pt x="64465" y="29394"/>
                  </a:lnTo>
                  <a:lnTo>
                    <a:pt x="30378" y="62380"/>
                  </a:lnTo>
                  <a:lnTo>
                    <a:pt x="8026" y="104217"/>
                  </a:lnTo>
                  <a:lnTo>
                    <a:pt x="0" y="152400"/>
                  </a:lnTo>
                  <a:lnTo>
                    <a:pt x="8026" y="200582"/>
                  </a:lnTo>
                  <a:lnTo>
                    <a:pt x="30378" y="242419"/>
                  </a:lnTo>
                  <a:lnTo>
                    <a:pt x="64465" y="275405"/>
                  </a:lnTo>
                  <a:lnTo>
                    <a:pt x="107696" y="297033"/>
                  </a:lnTo>
                  <a:lnTo>
                    <a:pt x="157480" y="304800"/>
                  </a:lnTo>
                  <a:lnTo>
                    <a:pt x="207263" y="297033"/>
                  </a:lnTo>
                  <a:lnTo>
                    <a:pt x="250494" y="275405"/>
                  </a:lnTo>
                  <a:lnTo>
                    <a:pt x="284581" y="242419"/>
                  </a:lnTo>
                  <a:lnTo>
                    <a:pt x="306933" y="200582"/>
                  </a:lnTo>
                  <a:lnTo>
                    <a:pt x="314960" y="152400"/>
                  </a:lnTo>
                  <a:lnTo>
                    <a:pt x="306933" y="104217"/>
                  </a:lnTo>
                  <a:lnTo>
                    <a:pt x="284581" y="62380"/>
                  </a:lnTo>
                  <a:lnTo>
                    <a:pt x="250494" y="29394"/>
                  </a:lnTo>
                  <a:lnTo>
                    <a:pt x="207263" y="7766"/>
                  </a:lnTo>
                  <a:lnTo>
                    <a:pt x="157480" y="0"/>
                  </a:lnTo>
                  <a:close/>
                </a:path>
              </a:pathLst>
            </a:custGeom>
            <a:solidFill>
              <a:srgbClr val="00AF50"/>
            </a:solidFill>
          </p:spPr>
          <p:txBody>
            <a:bodyPr wrap="square" lIns="0" tIns="0" rIns="0" bIns="0" rtlCol="0"/>
            <a:lstStyle/>
            <a:p>
              <a:endParaRPr/>
            </a:p>
          </p:txBody>
        </p:sp>
        <p:sp>
          <p:nvSpPr>
            <p:cNvPr id="25" name="object 10">
              <a:extLst>
                <a:ext uri="{FF2B5EF4-FFF2-40B4-BE49-F238E27FC236}">
                  <a16:creationId xmlns:a16="http://schemas.microsoft.com/office/drawing/2014/main" id="{C454D0B8-1E44-EB64-74C3-34288D77DCD2}"/>
                </a:ext>
              </a:extLst>
            </p:cNvPr>
            <p:cNvSpPr/>
            <p:nvPr/>
          </p:nvSpPr>
          <p:spPr>
            <a:xfrm>
              <a:off x="5146040" y="2534920"/>
              <a:ext cx="314960" cy="304800"/>
            </a:xfrm>
            <a:custGeom>
              <a:avLst/>
              <a:gdLst/>
              <a:ahLst/>
              <a:cxnLst/>
              <a:rect l="l" t="t" r="r" b="b"/>
              <a:pathLst>
                <a:path w="314960" h="304800">
                  <a:moveTo>
                    <a:pt x="0" y="152400"/>
                  </a:moveTo>
                  <a:lnTo>
                    <a:pt x="8026" y="104217"/>
                  </a:lnTo>
                  <a:lnTo>
                    <a:pt x="30378" y="62380"/>
                  </a:lnTo>
                  <a:lnTo>
                    <a:pt x="64465" y="29394"/>
                  </a:lnTo>
                  <a:lnTo>
                    <a:pt x="107696" y="7766"/>
                  </a:lnTo>
                  <a:lnTo>
                    <a:pt x="157480" y="0"/>
                  </a:lnTo>
                  <a:lnTo>
                    <a:pt x="207263" y="7766"/>
                  </a:lnTo>
                  <a:lnTo>
                    <a:pt x="250494" y="29394"/>
                  </a:lnTo>
                  <a:lnTo>
                    <a:pt x="284581" y="62380"/>
                  </a:lnTo>
                  <a:lnTo>
                    <a:pt x="306933" y="104217"/>
                  </a:lnTo>
                  <a:lnTo>
                    <a:pt x="314960" y="152400"/>
                  </a:lnTo>
                  <a:lnTo>
                    <a:pt x="306933" y="200582"/>
                  </a:lnTo>
                  <a:lnTo>
                    <a:pt x="284581" y="242419"/>
                  </a:lnTo>
                  <a:lnTo>
                    <a:pt x="250494" y="275405"/>
                  </a:lnTo>
                  <a:lnTo>
                    <a:pt x="207263" y="297033"/>
                  </a:lnTo>
                  <a:lnTo>
                    <a:pt x="157480" y="304800"/>
                  </a:lnTo>
                  <a:lnTo>
                    <a:pt x="107696" y="297033"/>
                  </a:lnTo>
                  <a:lnTo>
                    <a:pt x="64465" y="275405"/>
                  </a:lnTo>
                  <a:lnTo>
                    <a:pt x="30378" y="242419"/>
                  </a:lnTo>
                  <a:lnTo>
                    <a:pt x="8026" y="200582"/>
                  </a:lnTo>
                  <a:lnTo>
                    <a:pt x="0" y="152400"/>
                  </a:lnTo>
                  <a:close/>
                </a:path>
              </a:pathLst>
            </a:custGeom>
            <a:ln w="9525">
              <a:solidFill>
                <a:srgbClr val="71747A"/>
              </a:solidFill>
            </a:ln>
          </p:spPr>
          <p:txBody>
            <a:bodyPr wrap="square" lIns="0" tIns="0" rIns="0" bIns="0" rtlCol="0"/>
            <a:lstStyle/>
            <a:p>
              <a:endParaRPr/>
            </a:p>
          </p:txBody>
        </p:sp>
        <p:pic>
          <p:nvPicPr>
            <p:cNvPr id="26" name="object 11">
              <a:extLst>
                <a:ext uri="{FF2B5EF4-FFF2-40B4-BE49-F238E27FC236}">
                  <a16:creationId xmlns:a16="http://schemas.microsoft.com/office/drawing/2014/main" id="{42AD9AE9-C533-C548-DC0C-A46F136942F4}"/>
                </a:ext>
              </a:extLst>
            </p:cNvPr>
            <p:cNvPicPr/>
            <p:nvPr/>
          </p:nvPicPr>
          <p:blipFill>
            <a:blip r:embed="rId4" cstate="print"/>
            <a:stretch>
              <a:fillRect/>
            </a:stretch>
          </p:blipFill>
          <p:spPr>
            <a:xfrm>
              <a:off x="5263197" y="2580957"/>
              <a:ext cx="111125" cy="212725"/>
            </a:xfrm>
            <a:prstGeom prst="rect">
              <a:avLst/>
            </a:prstGeom>
          </p:spPr>
        </p:pic>
      </p:grpSp>
      <p:grpSp>
        <p:nvGrpSpPr>
          <p:cNvPr id="27" name="object 8">
            <a:extLst>
              <a:ext uri="{FF2B5EF4-FFF2-40B4-BE49-F238E27FC236}">
                <a16:creationId xmlns:a16="http://schemas.microsoft.com/office/drawing/2014/main" id="{6C13903A-411A-563E-9072-763FA3B1134E}"/>
              </a:ext>
            </a:extLst>
          </p:cNvPr>
          <p:cNvGrpSpPr/>
          <p:nvPr/>
        </p:nvGrpSpPr>
        <p:grpSpPr>
          <a:xfrm>
            <a:off x="5232177" y="3119893"/>
            <a:ext cx="324485" cy="314325"/>
            <a:chOff x="5141277" y="2530157"/>
            <a:chExt cx="324485" cy="314325"/>
          </a:xfrm>
        </p:grpSpPr>
        <p:sp>
          <p:nvSpPr>
            <p:cNvPr id="28" name="object 9">
              <a:extLst>
                <a:ext uri="{FF2B5EF4-FFF2-40B4-BE49-F238E27FC236}">
                  <a16:creationId xmlns:a16="http://schemas.microsoft.com/office/drawing/2014/main" id="{1B374684-90E0-0A0F-5E91-CAD264698B4D}"/>
                </a:ext>
              </a:extLst>
            </p:cNvPr>
            <p:cNvSpPr/>
            <p:nvPr/>
          </p:nvSpPr>
          <p:spPr>
            <a:xfrm>
              <a:off x="5146040" y="2534920"/>
              <a:ext cx="314960" cy="304800"/>
            </a:xfrm>
            <a:custGeom>
              <a:avLst/>
              <a:gdLst/>
              <a:ahLst/>
              <a:cxnLst/>
              <a:rect l="l" t="t" r="r" b="b"/>
              <a:pathLst>
                <a:path w="314960" h="304800">
                  <a:moveTo>
                    <a:pt x="157480" y="0"/>
                  </a:moveTo>
                  <a:lnTo>
                    <a:pt x="107696" y="7766"/>
                  </a:lnTo>
                  <a:lnTo>
                    <a:pt x="64465" y="29394"/>
                  </a:lnTo>
                  <a:lnTo>
                    <a:pt x="30378" y="62380"/>
                  </a:lnTo>
                  <a:lnTo>
                    <a:pt x="8026" y="104217"/>
                  </a:lnTo>
                  <a:lnTo>
                    <a:pt x="0" y="152400"/>
                  </a:lnTo>
                  <a:lnTo>
                    <a:pt x="8026" y="200582"/>
                  </a:lnTo>
                  <a:lnTo>
                    <a:pt x="30378" y="242419"/>
                  </a:lnTo>
                  <a:lnTo>
                    <a:pt x="64465" y="275405"/>
                  </a:lnTo>
                  <a:lnTo>
                    <a:pt x="107696" y="297033"/>
                  </a:lnTo>
                  <a:lnTo>
                    <a:pt x="157480" y="304800"/>
                  </a:lnTo>
                  <a:lnTo>
                    <a:pt x="207263" y="297033"/>
                  </a:lnTo>
                  <a:lnTo>
                    <a:pt x="250494" y="275405"/>
                  </a:lnTo>
                  <a:lnTo>
                    <a:pt x="284581" y="242419"/>
                  </a:lnTo>
                  <a:lnTo>
                    <a:pt x="306933" y="200582"/>
                  </a:lnTo>
                  <a:lnTo>
                    <a:pt x="314960" y="152400"/>
                  </a:lnTo>
                  <a:lnTo>
                    <a:pt x="306933" y="104217"/>
                  </a:lnTo>
                  <a:lnTo>
                    <a:pt x="284581" y="62380"/>
                  </a:lnTo>
                  <a:lnTo>
                    <a:pt x="250494" y="29394"/>
                  </a:lnTo>
                  <a:lnTo>
                    <a:pt x="207263" y="7766"/>
                  </a:lnTo>
                  <a:lnTo>
                    <a:pt x="157480" y="0"/>
                  </a:lnTo>
                  <a:close/>
                </a:path>
              </a:pathLst>
            </a:custGeom>
            <a:solidFill>
              <a:srgbClr val="00AF50"/>
            </a:solidFill>
          </p:spPr>
          <p:txBody>
            <a:bodyPr wrap="square" lIns="0" tIns="0" rIns="0" bIns="0" rtlCol="0"/>
            <a:lstStyle/>
            <a:p>
              <a:endParaRPr/>
            </a:p>
          </p:txBody>
        </p:sp>
        <p:sp>
          <p:nvSpPr>
            <p:cNvPr id="29" name="object 10">
              <a:extLst>
                <a:ext uri="{FF2B5EF4-FFF2-40B4-BE49-F238E27FC236}">
                  <a16:creationId xmlns:a16="http://schemas.microsoft.com/office/drawing/2014/main" id="{87A47ACE-7FD7-789D-F525-9751A5414AE5}"/>
                </a:ext>
              </a:extLst>
            </p:cNvPr>
            <p:cNvSpPr/>
            <p:nvPr/>
          </p:nvSpPr>
          <p:spPr>
            <a:xfrm>
              <a:off x="5146040" y="2534920"/>
              <a:ext cx="314960" cy="304800"/>
            </a:xfrm>
            <a:custGeom>
              <a:avLst/>
              <a:gdLst/>
              <a:ahLst/>
              <a:cxnLst/>
              <a:rect l="l" t="t" r="r" b="b"/>
              <a:pathLst>
                <a:path w="314960" h="304800">
                  <a:moveTo>
                    <a:pt x="0" y="152400"/>
                  </a:moveTo>
                  <a:lnTo>
                    <a:pt x="8026" y="104217"/>
                  </a:lnTo>
                  <a:lnTo>
                    <a:pt x="30378" y="62380"/>
                  </a:lnTo>
                  <a:lnTo>
                    <a:pt x="64465" y="29394"/>
                  </a:lnTo>
                  <a:lnTo>
                    <a:pt x="107696" y="7766"/>
                  </a:lnTo>
                  <a:lnTo>
                    <a:pt x="157480" y="0"/>
                  </a:lnTo>
                  <a:lnTo>
                    <a:pt x="207263" y="7766"/>
                  </a:lnTo>
                  <a:lnTo>
                    <a:pt x="250494" y="29394"/>
                  </a:lnTo>
                  <a:lnTo>
                    <a:pt x="284581" y="62380"/>
                  </a:lnTo>
                  <a:lnTo>
                    <a:pt x="306933" y="104217"/>
                  </a:lnTo>
                  <a:lnTo>
                    <a:pt x="314960" y="152400"/>
                  </a:lnTo>
                  <a:lnTo>
                    <a:pt x="306933" y="200582"/>
                  </a:lnTo>
                  <a:lnTo>
                    <a:pt x="284581" y="242419"/>
                  </a:lnTo>
                  <a:lnTo>
                    <a:pt x="250494" y="275405"/>
                  </a:lnTo>
                  <a:lnTo>
                    <a:pt x="207263" y="297033"/>
                  </a:lnTo>
                  <a:lnTo>
                    <a:pt x="157480" y="304800"/>
                  </a:lnTo>
                  <a:lnTo>
                    <a:pt x="107696" y="297033"/>
                  </a:lnTo>
                  <a:lnTo>
                    <a:pt x="64465" y="275405"/>
                  </a:lnTo>
                  <a:lnTo>
                    <a:pt x="30378" y="242419"/>
                  </a:lnTo>
                  <a:lnTo>
                    <a:pt x="8026" y="200582"/>
                  </a:lnTo>
                  <a:lnTo>
                    <a:pt x="0" y="152400"/>
                  </a:lnTo>
                  <a:close/>
                </a:path>
              </a:pathLst>
            </a:custGeom>
            <a:ln w="9525">
              <a:solidFill>
                <a:srgbClr val="71747A"/>
              </a:solidFill>
            </a:ln>
          </p:spPr>
          <p:txBody>
            <a:bodyPr wrap="square" lIns="0" tIns="0" rIns="0" bIns="0" rtlCol="0"/>
            <a:lstStyle/>
            <a:p>
              <a:endParaRPr/>
            </a:p>
          </p:txBody>
        </p:sp>
        <p:pic>
          <p:nvPicPr>
            <p:cNvPr id="30" name="object 11">
              <a:extLst>
                <a:ext uri="{FF2B5EF4-FFF2-40B4-BE49-F238E27FC236}">
                  <a16:creationId xmlns:a16="http://schemas.microsoft.com/office/drawing/2014/main" id="{0C7429AF-5FA7-6439-C0CC-EF27DB97D352}"/>
                </a:ext>
              </a:extLst>
            </p:cNvPr>
            <p:cNvPicPr/>
            <p:nvPr/>
          </p:nvPicPr>
          <p:blipFill>
            <a:blip r:embed="rId4" cstate="print"/>
            <a:stretch>
              <a:fillRect/>
            </a:stretch>
          </p:blipFill>
          <p:spPr>
            <a:xfrm>
              <a:off x="5263197" y="2580957"/>
              <a:ext cx="111125" cy="212725"/>
            </a:xfrm>
            <a:prstGeom prst="rect">
              <a:avLst/>
            </a:prstGeom>
          </p:spPr>
        </p:pic>
      </p:grpSp>
      <p:grpSp>
        <p:nvGrpSpPr>
          <p:cNvPr id="7" name="object 8">
            <a:extLst>
              <a:ext uri="{FF2B5EF4-FFF2-40B4-BE49-F238E27FC236}">
                <a16:creationId xmlns:a16="http://schemas.microsoft.com/office/drawing/2014/main" id="{EBCBC409-F5B2-14E6-696B-5234AE707DE7}"/>
              </a:ext>
            </a:extLst>
          </p:cNvPr>
          <p:cNvGrpSpPr/>
          <p:nvPr/>
        </p:nvGrpSpPr>
        <p:grpSpPr>
          <a:xfrm>
            <a:off x="5256941" y="1392937"/>
            <a:ext cx="324485" cy="314325"/>
            <a:chOff x="5141277" y="2530157"/>
            <a:chExt cx="324485" cy="314325"/>
          </a:xfrm>
        </p:grpSpPr>
        <p:sp>
          <p:nvSpPr>
            <p:cNvPr id="13" name="object 9">
              <a:extLst>
                <a:ext uri="{FF2B5EF4-FFF2-40B4-BE49-F238E27FC236}">
                  <a16:creationId xmlns:a16="http://schemas.microsoft.com/office/drawing/2014/main" id="{2A2D63EF-7B6B-A5F1-E626-213BC8F3326B}"/>
                </a:ext>
              </a:extLst>
            </p:cNvPr>
            <p:cNvSpPr/>
            <p:nvPr/>
          </p:nvSpPr>
          <p:spPr>
            <a:xfrm>
              <a:off x="5146040" y="2534920"/>
              <a:ext cx="314960" cy="304800"/>
            </a:xfrm>
            <a:custGeom>
              <a:avLst/>
              <a:gdLst/>
              <a:ahLst/>
              <a:cxnLst/>
              <a:rect l="l" t="t" r="r" b="b"/>
              <a:pathLst>
                <a:path w="314960" h="304800">
                  <a:moveTo>
                    <a:pt x="157480" y="0"/>
                  </a:moveTo>
                  <a:lnTo>
                    <a:pt x="107696" y="7766"/>
                  </a:lnTo>
                  <a:lnTo>
                    <a:pt x="64465" y="29394"/>
                  </a:lnTo>
                  <a:lnTo>
                    <a:pt x="30378" y="62380"/>
                  </a:lnTo>
                  <a:lnTo>
                    <a:pt x="8026" y="104217"/>
                  </a:lnTo>
                  <a:lnTo>
                    <a:pt x="0" y="152400"/>
                  </a:lnTo>
                  <a:lnTo>
                    <a:pt x="8026" y="200582"/>
                  </a:lnTo>
                  <a:lnTo>
                    <a:pt x="30378" y="242419"/>
                  </a:lnTo>
                  <a:lnTo>
                    <a:pt x="64465" y="275405"/>
                  </a:lnTo>
                  <a:lnTo>
                    <a:pt x="107696" y="297033"/>
                  </a:lnTo>
                  <a:lnTo>
                    <a:pt x="157480" y="304800"/>
                  </a:lnTo>
                  <a:lnTo>
                    <a:pt x="207263" y="297033"/>
                  </a:lnTo>
                  <a:lnTo>
                    <a:pt x="250494" y="275405"/>
                  </a:lnTo>
                  <a:lnTo>
                    <a:pt x="284581" y="242419"/>
                  </a:lnTo>
                  <a:lnTo>
                    <a:pt x="306933" y="200582"/>
                  </a:lnTo>
                  <a:lnTo>
                    <a:pt x="314960" y="152400"/>
                  </a:lnTo>
                  <a:lnTo>
                    <a:pt x="306933" y="104217"/>
                  </a:lnTo>
                  <a:lnTo>
                    <a:pt x="284581" y="62380"/>
                  </a:lnTo>
                  <a:lnTo>
                    <a:pt x="250494" y="29394"/>
                  </a:lnTo>
                  <a:lnTo>
                    <a:pt x="207263" y="7766"/>
                  </a:lnTo>
                  <a:lnTo>
                    <a:pt x="157480" y="0"/>
                  </a:lnTo>
                  <a:close/>
                </a:path>
              </a:pathLst>
            </a:custGeom>
            <a:solidFill>
              <a:srgbClr val="00AF50"/>
            </a:solidFill>
          </p:spPr>
          <p:txBody>
            <a:bodyPr wrap="square" lIns="0" tIns="0" rIns="0" bIns="0" rtlCol="0"/>
            <a:lstStyle/>
            <a:p>
              <a:endParaRPr/>
            </a:p>
          </p:txBody>
        </p:sp>
        <p:sp>
          <p:nvSpPr>
            <p:cNvPr id="14" name="object 10">
              <a:extLst>
                <a:ext uri="{FF2B5EF4-FFF2-40B4-BE49-F238E27FC236}">
                  <a16:creationId xmlns:a16="http://schemas.microsoft.com/office/drawing/2014/main" id="{C3FE6BD8-1181-5044-DA45-054C170977AA}"/>
                </a:ext>
              </a:extLst>
            </p:cNvPr>
            <p:cNvSpPr/>
            <p:nvPr/>
          </p:nvSpPr>
          <p:spPr>
            <a:xfrm>
              <a:off x="5146040" y="2534920"/>
              <a:ext cx="314960" cy="304800"/>
            </a:xfrm>
            <a:custGeom>
              <a:avLst/>
              <a:gdLst/>
              <a:ahLst/>
              <a:cxnLst/>
              <a:rect l="l" t="t" r="r" b="b"/>
              <a:pathLst>
                <a:path w="314960" h="304800">
                  <a:moveTo>
                    <a:pt x="0" y="152400"/>
                  </a:moveTo>
                  <a:lnTo>
                    <a:pt x="8026" y="104217"/>
                  </a:lnTo>
                  <a:lnTo>
                    <a:pt x="30378" y="62380"/>
                  </a:lnTo>
                  <a:lnTo>
                    <a:pt x="64465" y="29394"/>
                  </a:lnTo>
                  <a:lnTo>
                    <a:pt x="107696" y="7766"/>
                  </a:lnTo>
                  <a:lnTo>
                    <a:pt x="157480" y="0"/>
                  </a:lnTo>
                  <a:lnTo>
                    <a:pt x="207263" y="7766"/>
                  </a:lnTo>
                  <a:lnTo>
                    <a:pt x="250494" y="29394"/>
                  </a:lnTo>
                  <a:lnTo>
                    <a:pt x="284581" y="62380"/>
                  </a:lnTo>
                  <a:lnTo>
                    <a:pt x="306933" y="104217"/>
                  </a:lnTo>
                  <a:lnTo>
                    <a:pt x="314960" y="152400"/>
                  </a:lnTo>
                  <a:lnTo>
                    <a:pt x="306933" y="200582"/>
                  </a:lnTo>
                  <a:lnTo>
                    <a:pt x="284581" y="242419"/>
                  </a:lnTo>
                  <a:lnTo>
                    <a:pt x="250494" y="275405"/>
                  </a:lnTo>
                  <a:lnTo>
                    <a:pt x="207263" y="297033"/>
                  </a:lnTo>
                  <a:lnTo>
                    <a:pt x="157480" y="304800"/>
                  </a:lnTo>
                  <a:lnTo>
                    <a:pt x="107696" y="297033"/>
                  </a:lnTo>
                  <a:lnTo>
                    <a:pt x="64465" y="275405"/>
                  </a:lnTo>
                  <a:lnTo>
                    <a:pt x="30378" y="242419"/>
                  </a:lnTo>
                  <a:lnTo>
                    <a:pt x="8026" y="200582"/>
                  </a:lnTo>
                  <a:lnTo>
                    <a:pt x="0" y="152400"/>
                  </a:lnTo>
                  <a:close/>
                </a:path>
              </a:pathLst>
            </a:custGeom>
            <a:ln w="9525">
              <a:solidFill>
                <a:srgbClr val="71747A"/>
              </a:solidFill>
            </a:ln>
          </p:spPr>
          <p:txBody>
            <a:bodyPr wrap="square" lIns="0" tIns="0" rIns="0" bIns="0" rtlCol="0"/>
            <a:lstStyle/>
            <a:p>
              <a:endParaRPr/>
            </a:p>
          </p:txBody>
        </p:sp>
        <p:pic>
          <p:nvPicPr>
            <p:cNvPr id="31" name="object 11">
              <a:extLst>
                <a:ext uri="{FF2B5EF4-FFF2-40B4-BE49-F238E27FC236}">
                  <a16:creationId xmlns:a16="http://schemas.microsoft.com/office/drawing/2014/main" id="{85573FF2-040F-0266-BDA4-520B75CB992D}"/>
                </a:ext>
              </a:extLst>
            </p:cNvPr>
            <p:cNvPicPr/>
            <p:nvPr/>
          </p:nvPicPr>
          <p:blipFill>
            <a:blip r:embed="rId4" cstate="print"/>
            <a:stretch>
              <a:fillRect/>
            </a:stretch>
          </p:blipFill>
          <p:spPr>
            <a:xfrm>
              <a:off x="5263197" y="2580957"/>
              <a:ext cx="111125" cy="212725"/>
            </a:xfrm>
            <a:prstGeom prst="rect">
              <a:avLst/>
            </a:prstGeom>
          </p:spPr>
        </p:pic>
      </p:grpSp>
      <p:grpSp>
        <p:nvGrpSpPr>
          <p:cNvPr id="8" name="object 8">
            <a:extLst>
              <a:ext uri="{FF2B5EF4-FFF2-40B4-BE49-F238E27FC236}">
                <a16:creationId xmlns:a16="http://schemas.microsoft.com/office/drawing/2014/main" id="{42D1FE3F-FA50-F611-CAC5-14790175D6F2}"/>
              </a:ext>
            </a:extLst>
          </p:cNvPr>
          <p:cNvGrpSpPr/>
          <p:nvPr/>
        </p:nvGrpSpPr>
        <p:grpSpPr>
          <a:xfrm>
            <a:off x="5232177" y="3495929"/>
            <a:ext cx="324485" cy="314325"/>
            <a:chOff x="5141277" y="2530157"/>
            <a:chExt cx="324485" cy="314325"/>
          </a:xfrm>
        </p:grpSpPr>
        <p:sp>
          <p:nvSpPr>
            <p:cNvPr id="9" name="object 9">
              <a:extLst>
                <a:ext uri="{FF2B5EF4-FFF2-40B4-BE49-F238E27FC236}">
                  <a16:creationId xmlns:a16="http://schemas.microsoft.com/office/drawing/2014/main" id="{9E3540B6-687E-EDE6-4FCD-B1DDA3ED8714}"/>
                </a:ext>
              </a:extLst>
            </p:cNvPr>
            <p:cNvSpPr/>
            <p:nvPr/>
          </p:nvSpPr>
          <p:spPr>
            <a:xfrm>
              <a:off x="5146040" y="2534920"/>
              <a:ext cx="314960" cy="304800"/>
            </a:xfrm>
            <a:custGeom>
              <a:avLst/>
              <a:gdLst/>
              <a:ahLst/>
              <a:cxnLst/>
              <a:rect l="l" t="t" r="r" b="b"/>
              <a:pathLst>
                <a:path w="314960" h="304800">
                  <a:moveTo>
                    <a:pt x="157480" y="0"/>
                  </a:moveTo>
                  <a:lnTo>
                    <a:pt x="107696" y="7766"/>
                  </a:lnTo>
                  <a:lnTo>
                    <a:pt x="64465" y="29394"/>
                  </a:lnTo>
                  <a:lnTo>
                    <a:pt x="30378" y="62380"/>
                  </a:lnTo>
                  <a:lnTo>
                    <a:pt x="8026" y="104217"/>
                  </a:lnTo>
                  <a:lnTo>
                    <a:pt x="0" y="152400"/>
                  </a:lnTo>
                  <a:lnTo>
                    <a:pt x="8026" y="200582"/>
                  </a:lnTo>
                  <a:lnTo>
                    <a:pt x="30378" y="242419"/>
                  </a:lnTo>
                  <a:lnTo>
                    <a:pt x="64465" y="275405"/>
                  </a:lnTo>
                  <a:lnTo>
                    <a:pt x="107696" y="297033"/>
                  </a:lnTo>
                  <a:lnTo>
                    <a:pt x="157480" y="304800"/>
                  </a:lnTo>
                  <a:lnTo>
                    <a:pt x="207263" y="297033"/>
                  </a:lnTo>
                  <a:lnTo>
                    <a:pt x="250494" y="275405"/>
                  </a:lnTo>
                  <a:lnTo>
                    <a:pt x="284581" y="242419"/>
                  </a:lnTo>
                  <a:lnTo>
                    <a:pt x="306933" y="200582"/>
                  </a:lnTo>
                  <a:lnTo>
                    <a:pt x="314960" y="152400"/>
                  </a:lnTo>
                  <a:lnTo>
                    <a:pt x="306933" y="104217"/>
                  </a:lnTo>
                  <a:lnTo>
                    <a:pt x="284581" y="62380"/>
                  </a:lnTo>
                  <a:lnTo>
                    <a:pt x="250494" y="29394"/>
                  </a:lnTo>
                  <a:lnTo>
                    <a:pt x="207263" y="7766"/>
                  </a:lnTo>
                  <a:lnTo>
                    <a:pt x="157480" y="0"/>
                  </a:lnTo>
                  <a:close/>
                </a:path>
              </a:pathLst>
            </a:custGeom>
            <a:solidFill>
              <a:srgbClr val="00AF50"/>
            </a:solidFill>
          </p:spPr>
          <p:txBody>
            <a:bodyPr wrap="square" lIns="0" tIns="0" rIns="0" bIns="0" rtlCol="0"/>
            <a:lstStyle/>
            <a:p>
              <a:endParaRPr/>
            </a:p>
          </p:txBody>
        </p:sp>
        <p:sp>
          <p:nvSpPr>
            <p:cNvPr id="10" name="object 10">
              <a:extLst>
                <a:ext uri="{FF2B5EF4-FFF2-40B4-BE49-F238E27FC236}">
                  <a16:creationId xmlns:a16="http://schemas.microsoft.com/office/drawing/2014/main" id="{9E0D03BE-9DCC-6437-BF04-C5840FEF5BE9}"/>
                </a:ext>
              </a:extLst>
            </p:cNvPr>
            <p:cNvSpPr/>
            <p:nvPr/>
          </p:nvSpPr>
          <p:spPr>
            <a:xfrm>
              <a:off x="5146040" y="2534920"/>
              <a:ext cx="314960" cy="304800"/>
            </a:xfrm>
            <a:custGeom>
              <a:avLst/>
              <a:gdLst/>
              <a:ahLst/>
              <a:cxnLst/>
              <a:rect l="l" t="t" r="r" b="b"/>
              <a:pathLst>
                <a:path w="314960" h="304800">
                  <a:moveTo>
                    <a:pt x="0" y="152400"/>
                  </a:moveTo>
                  <a:lnTo>
                    <a:pt x="8026" y="104217"/>
                  </a:lnTo>
                  <a:lnTo>
                    <a:pt x="30378" y="62380"/>
                  </a:lnTo>
                  <a:lnTo>
                    <a:pt x="64465" y="29394"/>
                  </a:lnTo>
                  <a:lnTo>
                    <a:pt x="107696" y="7766"/>
                  </a:lnTo>
                  <a:lnTo>
                    <a:pt x="157480" y="0"/>
                  </a:lnTo>
                  <a:lnTo>
                    <a:pt x="207263" y="7766"/>
                  </a:lnTo>
                  <a:lnTo>
                    <a:pt x="250494" y="29394"/>
                  </a:lnTo>
                  <a:lnTo>
                    <a:pt x="284581" y="62380"/>
                  </a:lnTo>
                  <a:lnTo>
                    <a:pt x="306933" y="104217"/>
                  </a:lnTo>
                  <a:lnTo>
                    <a:pt x="314960" y="152400"/>
                  </a:lnTo>
                  <a:lnTo>
                    <a:pt x="306933" y="200582"/>
                  </a:lnTo>
                  <a:lnTo>
                    <a:pt x="284581" y="242419"/>
                  </a:lnTo>
                  <a:lnTo>
                    <a:pt x="250494" y="275405"/>
                  </a:lnTo>
                  <a:lnTo>
                    <a:pt x="207263" y="297033"/>
                  </a:lnTo>
                  <a:lnTo>
                    <a:pt x="157480" y="304800"/>
                  </a:lnTo>
                  <a:lnTo>
                    <a:pt x="107696" y="297033"/>
                  </a:lnTo>
                  <a:lnTo>
                    <a:pt x="64465" y="275405"/>
                  </a:lnTo>
                  <a:lnTo>
                    <a:pt x="30378" y="242419"/>
                  </a:lnTo>
                  <a:lnTo>
                    <a:pt x="8026" y="200582"/>
                  </a:lnTo>
                  <a:lnTo>
                    <a:pt x="0" y="152400"/>
                  </a:lnTo>
                  <a:close/>
                </a:path>
              </a:pathLst>
            </a:custGeom>
            <a:ln w="9525">
              <a:solidFill>
                <a:srgbClr val="71747A"/>
              </a:solidFill>
            </a:ln>
          </p:spPr>
          <p:txBody>
            <a:bodyPr wrap="square" lIns="0" tIns="0" rIns="0" bIns="0" rtlCol="0"/>
            <a:lstStyle/>
            <a:p>
              <a:endParaRPr/>
            </a:p>
          </p:txBody>
        </p:sp>
        <p:pic>
          <p:nvPicPr>
            <p:cNvPr id="11" name="object 11">
              <a:extLst>
                <a:ext uri="{FF2B5EF4-FFF2-40B4-BE49-F238E27FC236}">
                  <a16:creationId xmlns:a16="http://schemas.microsoft.com/office/drawing/2014/main" id="{EB7FD056-ACC0-4800-30B4-F51A6F949209}"/>
                </a:ext>
              </a:extLst>
            </p:cNvPr>
            <p:cNvPicPr/>
            <p:nvPr/>
          </p:nvPicPr>
          <p:blipFill>
            <a:blip r:embed="rId4" cstate="print"/>
            <a:stretch>
              <a:fillRect/>
            </a:stretch>
          </p:blipFill>
          <p:spPr>
            <a:xfrm>
              <a:off x="5263197" y="2580957"/>
              <a:ext cx="111125" cy="212725"/>
            </a:xfrm>
            <a:prstGeom prst="rect">
              <a:avLst/>
            </a:prstGeom>
          </p:spPr>
        </p:pic>
      </p:grpSp>
      <p:grpSp>
        <p:nvGrpSpPr>
          <p:cNvPr id="32" name="object 8">
            <a:extLst>
              <a:ext uri="{FF2B5EF4-FFF2-40B4-BE49-F238E27FC236}">
                <a16:creationId xmlns:a16="http://schemas.microsoft.com/office/drawing/2014/main" id="{61DE7489-5853-D92A-5D5C-6E7D12D1F55C}"/>
              </a:ext>
            </a:extLst>
          </p:cNvPr>
          <p:cNvGrpSpPr/>
          <p:nvPr/>
        </p:nvGrpSpPr>
        <p:grpSpPr>
          <a:xfrm>
            <a:off x="5216618" y="3934650"/>
            <a:ext cx="324485" cy="314325"/>
            <a:chOff x="5141277" y="2530157"/>
            <a:chExt cx="324485" cy="314325"/>
          </a:xfrm>
        </p:grpSpPr>
        <p:sp>
          <p:nvSpPr>
            <p:cNvPr id="33" name="object 9">
              <a:extLst>
                <a:ext uri="{FF2B5EF4-FFF2-40B4-BE49-F238E27FC236}">
                  <a16:creationId xmlns:a16="http://schemas.microsoft.com/office/drawing/2014/main" id="{D250C171-D80A-E1D8-D771-29CA2B9D1AF3}"/>
                </a:ext>
              </a:extLst>
            </p:cNvPr>
            <p:cNvSpPr/>
            <p:nvPr/>
          </p:nvSpPr>
          <p:spPr>
            <a:xfrm>
              <a:off x="5146040" y="2534920"/>
              <a:ext cx="314960" cy="304800"/>
            </a:xfrm>
            <a:custGeom>
              <a:avLst/>
              <a:gdLst/>
              <a:ahLst/>
              <a:cxnLst/>
              <a:rect l="l" t="t" r="r" b="b"/>
              <a:pathLst>
                <a:path w="314960" h="304800">
                  <a:moveTo>
                    <a:pt x="157480" y="0"/>
                  </a:moveTo>
                  <a:lnTo>
                    <a:pt x="107696" y="7766"/>
                  </a:lnTo>
                  <a:lnTo>
                    <a:pt x="64465" y="29394"/>
                  </a:lnTo>
                  <a:lnTo>
                    <a:pt x="30378" y="62380"/>
                  </a:lnTo>
                  <a:lnTo>
                    <a:pt x="8026" y="104217"/>
                  </a:lnTo>
                  <a:lnTo>
                    <a:pt x="0" y="152400"/>
                  </a:lnTo>
                  <a:lnTo>
                    <a:pt x="8026" y="200582"/>
                  </a:lnTo>
                  <a:lnTo>
                    <a:pt x="30378" y="242419"/>
                  </a:lnTo>
                  <a:lnTo>
                    <a:pt x="64465" y="275405"/>
                  </a:lnTo>
                  <a:lnTo>
                    <a:pt x="107696" y="297033"/>
                  </a:lnTo>
                  <a:lnTo>
                    <a:pt x="157480" y="304800"/>
                  </a:lnTo>
                  <a:lnTo>
                    <a:pt x="207263" y="297033"/>
                  </a:lnTo>
                  <a:lnTo>
                    <a:pt x="250494" y="275405"/>
                  </a:lnTo>
                  <a:lnTo>
                    <a:pt x="284581" y="242419"/>
                  </a:lnTo>
                  <a:lnTo>
                    <a:pt x="306933" y="200582"/>
                  </a:lnTo>
                  <a:lnTo>
                    <a:pt x="314960" y="152400"/>
                  </a:lnTo>
                  <a:lnTo>
                    <a:pt x="306933" y="104217"/>
                  </a:lnTo>
                  <a:lnTo>
                    <a:pt x="284581" y="62380"/>
                  </a:lnTo>
                  <a:lnTo>
                    <a:pt x="250494" y="29394"/>
                  </a:lnTo>
                  <a:lnTo>
                    <a:pt x="207263" y="7766"/>
                  </a:lnTo>
                  <a:lnTo>
                    <a:pt x="157480" y="0"/>
                  </a:lnTo>
                  <a:close/>
                </a:path>
              </a:pathLst>
            </a:custGeom>
            <a:solidFill>
              <a:srgbClr val="00AF50"/>
            </a:solidFill>
          </p:spPr>
          <p:txBody>
            <a:bodyPr wrap="square" lIns="0" tIns="0" rIns="0" bIns="0" rtlCol="0"/>
            <a:lstStyle/>
            <a:p>
              <a:endParaRPr/>
            </a:p>
          </p:txBody>
        </p:sp>
        <p:sp>
          <p:nvSpPr>
            <p:cNvPr id="34" name="object 10">
              <a:extLst>
                <a:ext uri="{FF2B5EF4-FFF2-40B4-BE49-F238E27FC236}">
                  <a16:creationId xmlns:a16="http://schemas.microsoft.com/office/drawing/2014/main" id="{4E504499-7A95-AF84-75F5-33437FC678B3}"/>
                </a:ext>
              </a:extLst>
            </p:cNvPr>
            <p:cNvSpPr/>
            <p:nvPr/>
          </p:nvSpPr>
          <p:spPr>
            <a:xfrm>
              <a:off x="5146040" y="2534920"/>
              <a:ext cx="314960" cy="304800"/>
            </a:xfrm>
            <a:custGeom>
              <a:avLst/>
              <a:gdLst/>
              <a:ahLst/>
              <a:cxnLst/>
              <a:rect l="l" t="t" r="r" b="b"/>
              <a:pathLst>
                <a:path w="314960" h="304800">
                  <a:moveTo>
                    <a:pt x="0" y="152400"/>
                  </a:moveTo>
                  <a:lnTo>
                    <a:pt x="8026" y="104217"/>
                  </a:lnTo>
                  <a:lnTo>
                    <a:pt x="30378" y="62380"/>
                  </a:lnTo>
                  <a:lnTo>
                    <a:pt x="64465" y="29394"/>
                  </a:lnTo>
                  <a:lnTo>
                    <a:pt x="107696" y="7766"/>
                  </a:lnTo>
                  <a:lnTo>
                    <a:pt x="157480" y="0"/>
                  </a:lnTo>
                  <a:lnTo>
                    <a:pt x="207263" y="7766"/>
                  </a:lnTo>
                  <a:lnTo>
                    <a:pt x="250494" y="29394"/>
                  </a:lnTo>
                  <a:lnTo>
                    <a:pt x="284581" y="62380"/>
                  </a:lnTo>
                  <a:lnTo>
                    <a:pt x="306933" y="104217"/>
                  </a:lnTo>
                  <a:lnTo>
                    <a:pt x="314960" y="152400"/>
                  </a:lnTo>
                  <a:lnTo>
                    <a:pt x="306933" y="200582"/>
                  </a:lnTo>
                  <a:lnTo>
                    <a:pt x="284581" y="242419"/>
                  </a:lnTo>
                  <a:lnTo>
                    <a:pt x="250494" y="275405"/>
                  </a:lnTo>
                  <a:lnTo>
                    <a:pt x="207263" y="297033"/>
                  </a:lnTo>
                  <a:lnTo>
                    <a:pt x="157480" y="304800"/>
                  </a:lnTo>
                  <a:lnTo>
                    <a:pt x="107696" y="297033"/>
                  </a:lnTo>
                  <a:lnTo>
                    <a:pt x="64465" y="275405"/>
                  </a:lnTo>
                  <a:lnTo>
                    <a:pt x="30378" y="242419"/>
                  </a:lnTo>
                  <a:lnTo>
                    <a:pt x="8026" y="200582"/>
                  </a:lnTo>
                  <a:lnTo>
                    <a:pt x="0" y="152400"/>
                  </a:lnTo>
                  <a:close/>
                </a:path>
              </a:pathLst>
            </a:custGeom>
            <a:ln w="9525">
              <a:solidFill>
                <a:srgbClr val="71747A"/>
              </a:solidFill>
            </a:ln>
          </p:spPr>
          <p:txBody>
            <a:bodyPr wrap="square" lIns="0" tIns="0" rIns="0" bIns="0" rtlCol="0"/>
            <a:lstStyle/>
            <a:p>
              <a:endParaRPr/>
            </a:p>
          </p:txBody>
        </p:sp>
        <p:pic>
          <p:nvPicPr>
            <p:cNvPr id="35" name="object 11">
              <a:extLst>
                <a:ext uri="{FF2B5EF4-FFF2-40B4-BE49-F238E27FC236}">
                  <a16:creationId xmlns:a16="http://schemas.microsoft.com/office/drawing/2014/main" id="{5ED924AC-1A19-A5E4-8CF8-A1F979818E90}"/>
                </a:ext>
              </a:extLst>
            </p:cNvPr>
            <p:cNvPicPr/>
            <p:nvPr/>
          </p:nvPicPr>
          <p:blipFill>
            <a:blip r:embed="rId4" cstate="print"/>
            <a:stretch>
              <a:fillRect/>
            </a:stretch>
          </p:blipFill>
          <p:spPr>
            <a:xfrm>
              <a:off x="5263197" y="2580957"/>
              <a:ext cx="111125" cy="212725"/>
            </a:xfrm>
            <a:prstGeom prst="rect">
              <a:avLst/>
            </a:prstGeom>
          </p:spPr>
        </p:pic>
      </p:grpSp>
      <p:grpSp>
        <p:nvGrpSpPr>
          <p:cNvPr id="36" name="object 8">
            <a:extLst>
              <a:ext uri="{FF2B5EF4-FFF2-40B4-BE49-F238E27FC236}">
                <a16:creationId xmlns:a16="http://schemas.microsoft.com/office/drawing/2014/main" id="{60D00CF8-B4F7-5212-2398-DC043C22A310}"/>
              </a:ext>
            </a:extLst>
          </p:cNvPr>
          <p:cNvGrpSpPr/>
          <p:nvPr/>
        </p:nvGrpSpPr>
        <p:grpSpPr>
          <a:xfrm>
            <a:off x="5231857" y="5248774"/>
            <a:ext cx="324485" cy="314325"/>
            <a:chOff x="5141277" y="2530157"/>
            <a:chExt cx="324485" cy="314325"/>
          </a:xfrm>
        </p:grpSpPr>
        <p:sp>
          <p:nvSpPr>
            <p:cNvPr id="37" name="object 9">
              <a:extLst>
                <a:ext uri="{FF2B5EF4-FFF2-40B4-BE49-F238E27FC236}">
                  <a16:creationId xmlns:a16="http://schemas.microsoft.com/office/drawing/2014/main" id="{56F70C9A-21FC-82E0-AF7D-29FA269D38E8}"/>
                </a:ext>
              </a:extLst>
            </p:cNvPr>
            <p:cNvSpPr/>
            <p:nvPr/>
          </p:nvSpPr>
          <p:spPr>
            <a:xfrm>
              <a:off x="5146040" y="2534920"/>
              <a:ext cx="314960" cy="304800"/>
            </a:xfrm>
            <a:custGeom>
              <a:avLst/>
              <a:gdLst/>
              <a:ahLst/>
              <a:cxnLst/>
              <a:rect l="l" t="t" r="r" b="b"/>
              <a:pathLst>
                <a:path w="314960" h="304800">
                  <a:moveTo>
                    <a:pt x="157480" y="0"/>
                  </a:moveTo>
                  <a:lnTo>
                    <a:pt x="107696" y="7766"/>
                  </a:lnTo>
                  <a:lnTo>
                    <a:pt x="64465" y="29394"/>
                  </a:lnTo>
                  <a:lnTo>
                    <a:pt x="30378" y="62380"/>
                  </a:lnTo>
                  <a:lnTo>
                    <a:pt x="8026" y="104217"/>
                  </a:lnTo>
                  <a:lnTo>
                    <a:pt x="0" y="152400"/>
                  </a:lnTo>
                  <a:lnTo>
                    <a:pt x="8026" y="200582"/>
                  </a:lnTo>
                  <a:lnTo>
                    <a:pt x="30378" y="242419"/>
                  </a:lnTo>
                  <a:lnTo>
                    <a:pt x="64465" y="275405"/>
                  </a:lnTo>
                  <a:lnTo>
                    <a:pt x="107696" y="297033"/>
                  </a:lnTo>
                  <a:lnTo>
                    <a:pt x="157480" y="304800"/>
                  </a:lnTo>
                  <a:lnTo>
                    <a:pt x="207263" y="297033"/>
                  </a:lnTo>
                  <a:lnTo>
                    <a:pt x="250494" y="275405"/>
                  </a:lnTo>
                  <a:lnTo>
                    <a:pt x="284581" y="242419"/>
                  </a:lnTo>
                  <a:lnTo>
                    <a:pt x="306933" y="200582"/>
                  </a:lnTo>
                  <a:lnTo>
                    <a:pt x="314960" y="152400"/>
                  </a:lnTo>
                  <a:lnTo>
                    <a:pt x="306933" y="104217"/>
                  </a:lnTo>
                  <a:lnTo>
                    <a:pt x="284581" y="62380"/>
                  </a:lnTo>
                  <a:lnTo>
                    <a:pt x="250494" y="29394"/>
                  </a:lnTo>
                  <a:lnTo>
                    <a:pt x="207263" y="7766"/>
                  </a:lnTo>
                  <a:lnTo>
                    <a:pt x="157480" y="0"/>
                  </a:lnTo>
                  <a:close/>
                </a:path>
              </a:pathLst>
            </a:custGeom>
            <a:solidFill>
              <a:srgbClr val="00AF50"/>
            </a:solidFill>
          </p:spPr>
          <p:txBody>
            <a:bodyPr wrap="square" lIns="0" tIns="0" rIns="0" bIns="0" rtlCol="0"/>
            <a:lstStyle/>
            <a:p>
              <a:endParaRPr/>
            </a:p>
          </p:txBody>
        </p:sp>
        <p:sp>
          <p:nvSpPr>
            <p:cNvPr id="38" name="object 10">
              <a:extLst>
                <a:ext uri="{FF2B5EF4-FFF2-40B4-BE49-F238E27FC236}">
                  <a16:creationId xmlns:a16="http://schemas.microsoft.com/office/drawing/2014/main" id="{710F3830-7AED-3B0C-3AB6-8444DD7EC1E8}"/>
                </a:ext>
              </a:extLst>
            </p:cNvPr>
            <p:cNvSpPr/>
            <p:nvPr/>
          </p:nvSpPr>
          <p:spPr>
            <a:xfrm>
              <a:off x="5146040" y="2534920"/>
              <a:ext cx="314960" cy="304800"/>
            </a:xfrm>
            <a:custGeom>
              <a:avLst/>
              <a:gdLst/>
              <a:ahLst/>
              <a:cxnLst/>
              <a:rect l="l" t="t" r="r" b="b"/>
              <a:pathLst>
                <a:path w="314960" h="304800">
                  <a:moveTo>
                    <a:pt x="0" y="152400"/>
                  </a:moveTo>
                  <a:lnTo>
                    <a:pt x="8026" y="104217"/>
                  </a:lnTo>
                  <a:lnTo>
                    <a:pt x="30378" y="62380"/>
                  </a:lnTo>
                  <a:lnTo>
                    <a:pt x="64465" y="29394"/>
                  </a:lnTo>
                  <a:lnTo>
                    <a:pt x="107696" y="7766"/>
                  </a:lnTo>
                  <a:lnTo>
                    <a:pt x="157480" y="0"/>
                  </a:lnTo>
                  <a:lnTo>
                    <a:pt x="207263" y="7766"/>
                  </a:lnTo>
                  <a:lnTo>
                    <a:pt x="250494" y="29394"/>
                  </a:lnTo>
                  <a:lnTo>
                    <a:pt x="284581" y="62380"/>
                  </a:lnTo>
                  <a:lnTo>
                    <a:pt x="306933" y="104217"/>
                  </a:lnTo>
                  <a:lnTo>
                    <a:pt x="314960" y="152400"/>
                  </a:lnTo>
                  <a:lnTo>
                    <a:pt x="306933" y="200582"/>
                  </a:lnTo>
                  <a:lnTo>
                    <a:pt x="284581" y="242419"/>
                  </a:lnTo>
                  <a:lnTo>
                    <a:pt x="250494" y="275405"/>
                  </a:lnTo>
                  <a:lnTo>
                    <a:pt x="207263" y="297033"/>
                  </a:lnTo>
                  <a:lnTo>
                    <a:pt x="157480" y="304800"/>
                  </a:lnTo>
                  <a:lnTo>
                    <a:pt x="107696" y="297033"/>
                  </a:lnTo>
                  <a:lnTo>
                    <a:pt x="64465" y="275405"/>
                  </a:lnTo>
                  <a:lnTo>
                    <a:pt x="30378" y="242419"/>
                  </a:lnTo>
                  <a:lnTo>
                    <a:pt x="8026" y="200582"/>
                  </a:lnTo>
                  <a:lnTo>
                    <a:pt x="0" y="152400"/>
                  </a:lnTo>
                  <a:close/>
                </a:path>
              </a:pathLst>
            </a:custGeom>
            <a:ln w="9525">
              <a:solidFill>
                <a:srgbClr val="71747A"/>
              </a:solidFill>
            </a:ln>
          </p:spPr>
          <p:txBody>
            <a:bodyPr wrap="square" lIns="0" tIns="0" rIns="0" bIns="0" rtlCol="0"/>
            <a:lstStyle/>
            <a:p>
              <a:endParaRPr/>
            </a:p>
          </p:txBody>
        </p:sp>
        <p:pic>
          <p:nvPicPr>
            <p:cNvPr id="39" name="object 11">
              <a:extLst>
                <a:ext uri="{FF2B5EF4-FFF2-40B4-BE49-F238E27FC236}">
                  <a16:creationId xmlns:a16="http://schemas.microsoft.com/office/drawing/2014/main" id="{EDC11CF9-4453-6B38-AB07-E63891B7A297}"/>
                </a:ext>
              </a:extLst>
            </p:cNvPr>
            <p:cNvPicPr/>
            <p:nvPr/>
          </p:nvPicPr>
          <p:blipFill>
            <a:blip r:embed="rId4" cstate="print"/>
            <a:stretch>
              <a:fillRect/>
            </a:stretch>
          </p:blipFill>
          <p:spPr>
            <a:xfrm>
              <a:off x="5263197" y="2580957"/>
              <a:ext cx="111125" cy="212725"/>
            </a:xfrm>
            <a:prstGeom prst="rect">
              <a:avLst/>
            </a:prstGeom>
          </p:spPr>
        </p:pic>
      </p:grpSp>
    </p:spTree>
    <p:extLst>
      <p:ext uri="{BB962C8B-B14F-4D97-AF65-F5344CB8AC3E}">
        <p14:creationId xmlns:p14="http://schemas.microsoft.com/office/powerpoint/2010/main" val="131223087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E7D7E47-8883-FFA1-6233-F06BB274F14C}"/>
              </a:ext>
            </a:extLst>
          </p:cNvPr>
          <p:cNvSpPr>
            <a:spLocks noGrp="1"/>
          </p:cNvSpPr>
          <p:nvPr>
            <p:ph type="title"/>
          </p:nvPr>
        </p:nvSpPr>
        <p:spPr/>
        <p:txBody>
          <a:bodyPr/>
          <a:lstStyle/>
          <a:p>
            <a:r>
              <a:rPr lang="fr-FR"/>
              <a:t>Annex 1 : </a:t>
            </a:r>
            <a:br>
              <a:rPr lang="fr-FR"/>
            </a:br>
            <a:r>
              <a:rPr lang="fr-FR" err="1"/>
              <a:t>Organization</a:t>
            </a:r>
            <a:r>
              <a:rPr lang="fr-FR"/>
              <a:t> – Interviews Made</a:t>
            </a:r>
          </a:p>
        </p:txBody>
      </p:sp>
      <p:graphicFrame>
        <p:nvGraphicFramePr>
          <p:cNvPr id="4" name="Diagramme 3">
            <a:extLst>
              <a:ext uri="{FF2B5EF4-FFF2-40B4-BE49-F238E27FC236}">
                <a16:creationId xmlns:a16="http://schemas.microsoft.com/office/drawing/2014/main" id="{E643BE91-C4F2-C582-1097-D381AA0BE329}"/>
              </a:ext>
            </a:extLst>
          </p:cNvPr>
          <p:cNvGraphicFramePr/>
          <p:nvPr>
            <p:extLst>
              <p:ext uri="{D42A27DB-BD31-4B8C-83A1-F6EECF244321}">
                <p14:modId xmlns:p14="http://schemas.microsoft.com/office/powerpoint/2010/main" val="802172724"/>
              </p:ext>
            </p:extLst>
          </p:nvPr>
        </p:nvGraphicFramePr>
        <p:xfrm>
          <a:off x="0" y="1540264"/>
          <a:ext cx="12192000" cy="576430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0590231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E7D7E47-8883-FFA1-6233-F06BB274F14C}"/>
              </a:ext>
            </a:extLst>
          </p:cNvPr>
          <p:cNvSpPr>
            <a:spLocks noGrp="1"/>
          </p:cNvSpPr>
          <p:nvPr>
            <p:ph type="title"/>
          </p:nvPr>
        </p:nvSpPr>
        <p:spPr/>
        <p:txBody>
          <a:bodyPr/>
          <a:lstStyle/>
          <a:p>
            <a:r>
              <a:rPr lang="fr-FR"/>
              <a:t>Annex 2a : </a:t>
            </a:r>
            <a:br>
              <a:rPr lang="fr-FR"/>
            </a:br>
            <a:r>
              <a:rPr lang="fr-FR" err="1"/>
              <a:t>Review</a:t>
            </a:r>
            <a:r>
              <a:rPr lang="fr-FR"/>
              <a:t> of the </a:t>
            </a:r>
            <a:r>
              <a:rPr lang="fr-FR" err="1"/>
              <a:t>company</a:t>
            </a:r>
            <a:r>
              <a:rPr lang="fr-FR"/>
              <a:t> in </a:t>
            </a:r>
            <a:r>
              <a:rPr lang="fr-FR" err="1"/>
              <a:t>numbers</a:t>
            </a:r>
            <a:endParaRPr lang="fr-FR"/>
          </a:p>
        </p:txBody>
      </p:sp>
      <p:pic>
        <p:nvPicPr>
          <p:cNvPr id="190466" name="Picture 2">
            <a:extLst>
              <a:ext uri="{FF2B5EF4-FFF2-40B4-BE49-F238E27FC236}">
                <a16:creationId xmlns:a16="http://schemas.microsoft.com/office/drawing/2014/main" id="{70749BB3-5AAA-717F-C8D0-878335361FC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01965" y="2705428"/>
            <a:ext cx="4583743" cy="2741367"/>
          </a:xfrm>
          <a:prstGeom prst="rect">
            <a:avLst/>
          </a:prstGeom>
          <a:noFill/>
          <a:extLst>
            <a:ext uri="{909E8E84-426E-40DD-AFC4-6F175D3DCCD1}">
              <a14:hiddenFill xmlns:a14="http://schemas.microsoft.com/office/drawing/2010/main">
                <a:solidFill>
                  <a:srgbClr val="FFFFFF"/>
                </a:solidFill>
              </a14:hiddenFill>
            </a:ext>
          </a:extLst>
        </p:spPr>
      </p:pic>
      <p:pic>
        <p:nvPicPr>
          <p:cNvPr id="190468" name="Picture 4">
            <a:extLst>
              <a:ext uri="{FF2B5EF4-FFF2-40B4-BE49-F238E27FC236}">
                <a16:creationId xmlns:a16="http://schemas.microsoft.com/office/drawing/2014/main" id="{B43B966C-1562-F350-EF33-DB882C47B94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484835" y="1723437"/>
            <a:ext cx="3505200" cy="2352675"/>
          </a:xfrm>
          <a:prstGeom prst="rect">
            <a:avLst/>
          </a:prstGeom>
          <a:noFill/>
          <a:extLst>
            <a:ext uri="{909E8E84-426E-40DD-AFC4-6F175D3DCCD1}">
              <a14:hiddenFill xmlns:a14="http://schemas.microsoft.com/office/drawing/2010/main">
                <a:solidFill>
                  <a:srgbClr val="FFFFFF"/>
                </a:solidFill>
              </a14:hiddenFill>
            </a:ext>
          </a:extLst>
        </p:spPr>
      </p:pic>
      <p:pic>
        <p:nvPicPr>
          <p:cNvPr id="190470" name="Picture 6">
            <a:extLst>
              <a:ext uri="{FF2B5EF4-FFF2-40B4-BE49-F238E27FC236}">
                <a16:creationId xmlns:a16="http://schemas.microsoft.com/office/drawing/2014/main" id="{9ED905B0-CAD3-27E8-377C-6C4208A7459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09543" y="3958225"/>
            <a:ext cx="4719234" cy="2583974"/>
          </a:xfrm>
          <a:prstGeom prst="rect">
            <a:avLst/>
          </a:prstGeom>
          <a:noFill/>
          <a:extLst>
            <a:ext uri="{909E8E84-426E-40DD-AFC4-6F175D3DCCD1}">
              <a14:hiddenFill xmlns:a14="http://schemas.microsoft.com/office/drawing/2010/main">
                <a:solidFill>
                  <a:srgbClr val="FFFFFF"/>
                </a:solidFill>
              </a14:hiddenFill>
            </a:ext>
          </a:extLst>
        </p:spPr>
      </p:pic>
      <p:sp>
        <p:nvSpPr>
          <p:cNvPr id="3" name="object 3">
            <a:extLst>
              <a:ext uri="{FF2B5EF4-FFF2-40B4-BE49-F238E27FC236}">
                <a16:creationId xmlns:a16="http://schemas.microsoft.com/office/drawing/2014/main" id="{39088461-4B06-E753-0BD1-2F170A0B4BA6}"/>
              </a:ext>
            </a:extLst>
          </p:cNvPr>
          <p:cNvSpPr txBox="1"/>
          <p:nvPr/>
        </p:nvSpPr>
        <p:spPr>
          <a:xfrm>
            <a:off x="1271427" y="2719494"/>
            <a:ext cx="3505200" cy="234721"/>
          </a:xfrm>
          <a:prstGeom prst="rect">
            <a:avLst/>
          </a:prstGeom>
          <a:solidFill>
            <a:schemeClr val="accent5">
              <a:lumMod val="20000"/>
              <a:lumOff val="80000"/>
            </a:schemeClr>
          </a:solidFill>
        </p:spPr>
        <p:txBody>
          <a:bodyPr vert="horz" wrap="square" lIns="0" tIns="12700" rIns="0" bIns="0" rtlCol="0">
            <a:spAutoFit/>
          </a:bodyPr>
          <a:lstStyle/>
          <a:p>
            <a:pPr marL="12700" algn="ctr">
              <a:lnSpc>
                <a:spcPct val="100000"/>
              </a:lnSpc>
              <a:spcBef>
                <a:spcPts val="100"/>
              </a:spcBef>
              <a:buClr>
                <a:srgbClr val="9A9CA1"/>
              </a:buClr>
              <a:tabLst>
                <a:tab pos="226060" algn="l"/>
              </a:tabLst>
            </a:pPr>
            <a:r>
              <a:rPr lang="en-US" sz="1400" spc="-5">
                <a:solidFill>
                  <a:srgbClr val="373739"/>
                </a:solidFill>
                <a:latin typeface="Trebuchet MS"/>
              </a:rPr>
              <a:t>Repartition of commands by channels</a:t>
            </a:r>
          </a:p>
        </p:txBody>
      </p:sp>
      <p:sp>
        <p:nvSpPr>
          <p:cNvPr id="5" name="object 3">
            <a:extLst>
              <a:ext uri="{FF2B5EF4-FFF2-40B4-BE49-F238E27FC236}">
                <a16:creationId xmlns:a16="http://schemas.microsoft.com/office/drawing/2014/main" id="{7722A270-0B53-4F1B-1D49-BB10E7B14802}"/>
              </a:ext>
            </a:extLst>
          </p:cNvPr>
          <p:cNvSpPr txBox="1"/>
          <p:nvPr/>
        </p:nvSpPr>
        <p:spPr>
          <a:xfrm>
            <a:off x="6916560" y="1711454"/>
            <a:ext cx="3505200" cy="234721"/>
          </a:xfrm>
          <a:prstGeom prst="rect">
            <a:avLst/>
          </a:prstGeom>
          <a:solidFill>
            <a:schemeClr val="accent5">
              <a:lumMod val="20000"/>
              <a:lumOff val="80000"/>
            </a:schemeClr>
          </a:solidFill>
        </p:spPr>
        <p:txBody>
          <a:bodyPr vert="horz" wrap="square" lIns="0" tIns="12700" rIns="0" bIns="0" rtlCol="0">
            <a:spAutoFit/>
          </a:bodyPr>
          <a:lstStyle/>
          <a:p>
            <a:pPr marL="12700" algn="ctr">
              <a:lnSpc>
                <a:spcPct val="100000"/>
              </a:lnSpc>
              <a:spcBef>
                <a:spcPts val="100"/>
              </a:spcBef>
              <a:buClr>
                <a:srgbClr val="9A9CA1"/>
              </a:buClr>
              <a:tabLst>
                <a:tab pos="226060" algn="l"/>
              </a:tabLst>
            </a:pPr>
            <a:r>
              <a:rPr lang="en-US" sz="1400" spc="-5">
                <a:solidFill>
                  <a:srgbClr val="373739"/>
                </a:solidFill>
                <a:latin typeface="Trebuchet MS"/>
              </a:rPr>
              <a:t>Repartition of net sales by channels</a:t>
            </a:r>
          </a:p>
        </p:txBody>
      </p:sp>
      <p:sp>
        <p:nvSpPr>
          <p:cNvPr id="6" name="object 3">
            <a:extLst>
              <a:ext uri="{FF2B5EF4-FFF2-40B4-BE49-F238E27FC236}">
                <a16:creationId xmlns:a16="http://schemas.microsoft.com/office/drawing/2014/main" id="{CC0FF036-C5AC-10A5-3C4E-8FE3614C9DBD}"/>
              </a:ext>
            </a:extLst>
          </p:cNvPr>
          <p:cNvSpPr txBox="1"/>
          <p:nvPr/>
        </p:nvSpPr>
        <p:spPr>
          <a:xfrm>
            <a:off x="7163446" y="3853374"/>
            <a:ext cx="3505200" cy="234721"/>
          </a:xfrm>
          <a:prstGeom prst="rect">
            <a:avLst/>
          </a:prstGeom>
          <a:solidFill>
            <a:schemeClr val="accent5">
              <a:lumMod val="20000"/>
              <a:lumOff val="80000"/>
            </a:schemeClr>
          </a:solidFill>
        </p:spPr>
        <p:txBody>
          <a:bodyPr vert="horz" wrap="square" lIns="0" tIns="12700" rIns="0" bIns="0" rtlCol="0">
            <a:spAutoFit/>
          </a:bodyPr>
          <a:lstStyle/>
          <a:p>
            <a:pPr marL="12700" algn="ctr">
              <a:lnSpc>
                <a:spcPct val="100000"/>
              </a:lnSpc>
              <a:spcBef>
                <a:spcPts val="100"/>
              </a:spcBef>
              <a:buClr>
                <a:srgbClr val="9A9CA1"/>
              </a:buClr>
              <a:tabLst>
                <a:tab pos="226060" algn="l"/>
              </a:tabLst>
            </a:pPr>
            <a:r>
              <a:rPr lang="en-US" sz="1400" spc="-5">
                <a:solidFill>
                  <a:srgbClr val="373739"/>
                </a:solidFill>
                <a:latin typeface="Trebuchet MS"/>
              </a:rPr>
              <a:t>Net sales by channels and by year</a:t>
            </a:r>
          </a:p>
        </p:txBody>
      </p:sp>
      <p:sp>
        <p:nvSpPr>
          <p:cNvPr id="7" name="object 20">
            <a:extLst>
              <a:ext uri="{FF2B5EF4-FFF2-40B4-BE49-F238E27FC236}">
                <a16:creationId xmlns:a16="http://schemas.microsoft.com/office/drawing/2014/main" id="{8E9845C4-8E8F-4D5E-F0E0-7EC959356FC3}"/>
              </a:ext>
            </a:extLst>
          </p:cNvPr>
          <p:cNvSpPr txBox="1"/>
          <p:nvPr/>
        </p:nvSpPr>
        <p:spPr>
          <a:xfrm>
            <a:off x="1770240" y="1739262"/>
            <a:ext cx="2675151" cy="320601"/>
          </a:xfrm>
          <a:prstGeom prst="rect">
            <a:avLst/>
          </a:prstGeom>
        </p:spPr>
        <p:txBody>
          <a:bodyPr vert="horz" wrap="square" lIns="0" tIns="12700" rIns="0" bIns="0" rtlCol="0">
            <a:spAutoFit/>
          </a:bodyPr>
          <a:lstStyle/>
          <a:p>
            <a:pPr marL="12700" algn="ctr">
              <a:lnSpc>
                <a:spcPct val="100000"/>
              </a:lnSpc>
              <a:spcBef>
                <a:spcPts val="100"/>
              </a:spcBef>
            </a:pPr>
            <a:r>
              <a:rPr lang="fr-FR" sz="2000" spc="15">
                <a:solidFill>
                  <a:srgbClr val="20BE60"/>
                </a:solidFill>
                <a:latin typeface="Trebuchet MS" panose="020B0703020202090204" pitchFamily="34" charset="0"/>
                <a:cs typeface="Microsoft Sans Serif"/>
              </a:rPr>
              <a:t>Analyse of channels</a:t>
            </a:r>
            <a:endParaRPr lang="fr-FR" sz="2000">
              <a:latin typeface="Trebuchet MS" panose="020B0703020202090204" pitchFamily="34" charset="0"/>
              <a:cs typeface="Microsoft Sans Serif"/>
            </a:endParaRPr>
          </a:p>
        </p:txBody>
      </p:sp>
      <p:sp>
        <p:nvSpPr>
          <p:cNvPr id="8" name="object 20">
            <a:extLst>
              <a:ext uri="{FF2B5EF4-FFF2-40B4-BE49-F238E27FC236}">
                <a16:creationId xmlns:a16="http://schemas.microsoft.com/office/drawing/2014/main" id="{4033E0EA-6979-5AC5-D7F3-952278276FA4}"/>
              </a:ext>
            </a:extLst>
          </p:cNvPr>
          <p:cNvSpPr txBox="1"/>
          <p:nvPr/>
        </p:nvSpPr>
        <p:spPr>
          <a:xfrm>
            <a:off x="7331584" y="1338427"/>
            <a:ext cx="2675151" cy="320601"/>
          </a:xfrm>
          <a:prstGeom prst="rect">
            <a:avLst/>
          </a:prstGeom>
        </p:spPr>
        <p:txBody>
          <a:bodyPr vert="horz" wrap="square" lIns="0" tIns="12700" rIns="0" bIns="0" rtlCol="0">
            <a:spAutoFit/>
          </a:bodyPr>
          <a:lstStyle/>
          <a:p>
            <a:pPr marL="12700" algn="ctr">
              <a:lnSpc>
                <a:spcPct val="100000"/>
              </a:lnSpc>
              <a:spcBef>
                <a:spcPts val="100"/>
              </a:spcBef>
            </a:pPr>
            <a:r>
              <a:rPr lang="fr-FR" sz="2000" spc="15">
                <a:solidFill>
                  <a:srgbClr val="20BE60"/>
                </a:solidFill>
                <a:latin typeface="Trebuchet MS" panose="020B0703020202090204" pitchFamily="34" charset="0"/>
                <a:cs typeface="Microsoft Sans Serif"/>
              </a:rPr>
              <a:t>Analyse of net sales</a:t>
            </a:r>
            <a:endParaRPr lang="fr-FR" sz="2000">
              <a:latin typeface="Trebuchet MS" panose="020B0703020202090204" pitchFamily="34" charset="0"/>
              <a:cs typeface="Microsoft Sans Serif"/>
            </a:endParaRPr>
          </a:p>
        </p:txBody>
      </p:sp>
      <p:cxnSp>
        <p:nvCxnSpPr>
          <p:cNvPr id="9" name="Connecteur droit 26">
            <a:extLst>
              <a:ext uri="{FF2B5EF4-FFF2-40B4-BE49-F238E27FC236}">
                <a16:creationId xmlns:a16="http://schemas.microsoft.com/office/drawing/2014/main" id="{F51DA04C-E325-83E4-9179-6808931447C2}"/>
              </a:ext>
            </a:extLst>
          </p:cNvPr>
          <p:cNvCxnSpPr>
            <a:cxnSpLocks/>
          </p:cNvCxnSpPr>
          <p:nvPr/>
        </p:nvCxnSpPr>
        <p:spPr>
          <a:xfrm flipH="1">
            <a:off x="6044639" y="1739262"/>
            <a:ext cx="29698" cy="3987799"/>
          </a:xfrm>
          <a:prstGeom prst="line">
            <a:avLst/>
          </a:prstGeom>
          <a:ln w="15875" cap="flat" cmpd="sng" algn="ctr">
            <a:solidFill>
              <a:srgbClr val="20BE6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330307200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E7D7E47-8883-FFA1-6233-F06BB274F14C}"/>
              </a:ext>
            </a:extLst>
          </p:cNvPr>
          <p:cNvSpPr>
            <a:spLocks noGrp="1"/>
          </p:cNvSpPr>
          <p:nvPr>
            <p:ph type="title"/>
          </p:nvPr>
        </p:nvSpPr>
        <p:spPr/>
        <p:txBody>
          <a:bodyPr/>
          <a:lstStyle/>
          <a:p>
            <a:r>
              <a:rPr lang="fr-FR"/>
              <a:t>Annex 2b : </a:t>
            </a:r>
            <a:br>
              <a:rPr lang="fr-FR"/>
            </a:br>
            <a:r>
              <a:rPr lang="fr-FR" err="1"/>
              <a:t>Review</a:t>
            </a:r>
            <a:r>
              <a:rPr lang="fr-FR"/>
              <a:t> of the </a:t>
            </a:r>
            <a:r>
              <a:rPr lang="fr-FR" err="1"/>
              <a:t>company</a:t>
            </a:r>
            <a:r>
              <a:rPr lang="fr-FR"/>
              <a:t> in </a:t>
            </a:r>
            <a:r>
              <a:rPr lang="fr-FR" err="1"/>
              <a:t>numbers</a:t>
            </a:r>
            <a:endParaRPr lang="fr-FR"/>
          </a:p>
        </p:txBody>
      </p:sp>
      <p:pic>
        <p:nvPicPr>
          <p:cNvPr id="7" name="Picture 6">
            <a:extLst>
              <a:ext uri="{FF2B5EF4-FFF2-40B4-BE49-F238E27FC236}">
                <a16:creationId xmlns:a16="http://schemas.microsoft.com/office/drawing/2014/main" id="{4914D5E7-994C-EB72-2086-00F4F887E780}"/>
              </a:ext>
            </a:extLst>
          </p:cNvPr>
          <p:cNvPicPr>
            <a:picLocks noChangeAspect="1"/>
          </p:cNvPicPr>
          <p:nvPr/>
        </p:nvPicPr>
        <p:blipFill>
          <a:blip r:embed="rId2"/>
          <a:stretch>
            <a:fillRect/>
          </a:stretch>
        </p:blipFill>
        <p:spPr>
          <a:xfrm>
            <a:off x="1070170" y="2263285"/>
            <a:ext cx="2432685" cy="3143357"/>
          </a:xfrm>
          <a:prstGeom prst="rect">
            <a:avLst/>
          </a:prstGeom>
        </p:spPr>
      </p:pic>
      <p:pic>
        <p:nvPicPr>
          <p:cNvPr id="9" name="Picture 8">
            <a:extLst>
              <a:ext uri="{FF2B5EF4-FFF2-40B4-BE49-F238E27FC236}">
                <a16:creationId xmlns:a16="http://schemas.microsoft.com/office/drawing/2014/main" id="{CD58C8C5-810B-FCFE-925D-BCC9E18300B1}"/>
              </a:ext>
            </a:extLst>
          </p:cNvPr>
          <p:cNvPicPr>
            <a:picLocks noChangeAspect="1"/>
          </p:cNvPicPr>
          <p:nvPr/>
        </p:nvPicPr>
        <p:blipFill>
          <a:blip r:embed="rId3"/>
          <a:stretch>
            <a:fillRect/>
          </a:stretch>
        </p:blipFill>
        <p:spPr>
          <a:xfrm>
            <a:off x="3679360" y="2715775"/>
            <a:ext cx="2047875" cy="2238375"/>
          </a:xfrm>
          <a:prstGeom prst="rect">
            <a:avLst/>
          </a:prstGeom>
        </p:spPr>
      </p:pic>
      <p:pic>
        <p:nvPicPr>
          <p:cNvPr id="11" name="Picture 10">
            <a:extLst>
              <a:ext uri="{FF2B5EF4-FFF2-40B4-BE49-F238E27FC236}">
                <a16:creationId xmlns:a16="http://schemas.microsoft.com/office/drawing/2014/main" id="{F2D78EFD-9B1F-FBB3-343C-DF6597549773}"/>
              </a:ext>
            </a:extLst>
          </p:cNvPr>
          <p:cNvPicPr>
            <a:picLocks noChangeAspect="1"/>
          </p:cNvPicPr>
          <p:nvPr/>
        </p:nvPicPr>
        <p:blipFill>
          <a:blip r:embed="rId4"/>
          <a:stretch>
            <a:fillRect/>
          </a:stretch>
        </p:blipFill>
        <p:spPr>
          <a:xfrm>
            <a:off x="6791544" y="2328420"/>
            <a:ext cx="4067175" cy="2257425"/>
          </a:xfrm>
          <a:prstGeom prst="rect">
            <a:avLst/>
          </a:prstGeom>
        </p:spPr>
      </p:pic>
      <p:sp>
        <p:nvSpPr>
          <p:cNvPr id="12" name="object 20">
            <a:extLst>
              <a:ext uri="{FF2B5EF4-FFF2-40B4-BE49-F238E27FC236}">
                <a16:creationId xmlns:a16="http://schemas.microsoft.com/office/drawing/2014/main" id="{E1AF0D0D-EAD8-E536-FEBE-5A2344146A93}"/>
              </a:ext>
            </a:extLst>
          </p:cNvPr>
          <p:cNvSpPr txBox="1"/>
          <p:nvPr/>
        </p:nvSpPr>
        <p:spPr>
          <a:xfrm>
            <a:off x="1770240" y="1739262"/>
            <a:ext cx="2675151" cy="320601"/>
          </a:xfrm>
          <a:prstGeom prst="rect">
            <a:avLst/>
          </a:prstGeom>
        </p:spPr>
        <p:txBody>
          <a:bodyPr vert="horz" wrap="square" lIns="0" tIns="12700" rIns="0" bIns="0" rtlCol="0">
            <a:spAutoFit/>
          </a:bodyPr>
          <a:lstStyle/>
          <a:p>
            <a:pPr marL="12700" algn="ctr">
              <a:lnSpc>
                <a:spcPct val="100000"/>
              </a:lnSpc>
              <a:spcBef>
                <a:spcPts val="100"/>
              </a:spcBef>
            </a:pPr>
            <a:r>
              <a:rPr lang="fr-FR" sz="2000" spc="15">
                <a:solidFill>
                  <a:srgbClr val="20BE60"/>
                </a:solidFill>
                <a:latin typeface="Trebuchet MS" panose="020B0703020202090204" pitchFamily="34" charset="0"/>
                <a:cs typeface="Microsoft Sans Serif"/>
              </a:rPr>
              <a:t>Analyse of clients</a:t>
            </a:r>
            <a:endParaRPr lang="fr-FR" sz="2000">
              <a:latin typeface="Trebuchet MS" panose="020B0703020202090204" pitchFamily="34" charset="0"/>
              <a:cs typeface="Microsoft Sans Serif"/>
            </a:endParaRPr>
          </a:p>
        </p:txBody>
      </p:sp>
      <p:sp>
        <p:nvSpPr>
          <p:cNvPr id="13" name="object 20">
            <a:extLst>
              <a:ext uri="{FF2B5EF4-FFF2-40B4-BE49-F238E27FC236}">
                <a16:creationId xmlns:a16="http://schemas.microsoft.com/office/drawing/2014/main" id="{82A2B08A-6E20-6311-6A1B-A8DD556CF105}"/>
              </a:ext>
            </a:extLst>
          </p:cNvPr>
          <p:cNvSpPr txBox="1"/>
          <p:nvPr/>
        </p:nvSpPr>
        <p:spPr>
          <a:xfrm>
            <a:off x="7487555" y="1739261"/>
            <a:ext cx="2675151" cy="320601"/>
          </a:xfrm>
          <a:prstGeom prst="rect">
            <a:avLst/>
          </a:prstGeom>
        </p:spPr>
        <p:txBody>
          <a:bodyPr vert="horz" wrap="square" lIns="0" tIns="12700" rIns="0" bIns="0" rtlCol="0">
            <a:spAutoFit/>
          </a:bodyPr>
          <a:lstStyle/>
          <a:p>
            <a:pPr marL="12700" algn="ctr">
              <a:lnSpc>
                <a:spcPct val="100000"/>
              </a:lnSpc>
              <a:spcBef>
                <a:spcPts val="100"/>
              </a:spcBef>
            </a:pPr>
            <a:r>
              <a:rPr lang="fr-FR" sz="2000" spc="15">
                <a:solidFill>
                  <a:srgbClr val="20BE60"/>
                </a:solidFill>
                <a:latin typeface="Trebuchet MS" panose="020B0703020202090204" pitchFamily="34" charset="0"/>
                <a:cs typeface="Microsoft Sans Serif"/>
              </a:rPr>
              <a:t>Analyse of </a:t>
            </a:r>
            <a:r>
              <a:rPr lang="fr-FR" sz="2000" spc="15" err="1">
                <a:solidFill>
                  <a:srgbClr val="20BE60"/>
                </a:solidFill>
                <a:latin typeface="Trebuchet MS" panose="020B0703020202090204" pitchFamily="34" charset="0"/>
                <a:cs typeface="Microsoft Sans Serif"/>
              </a:rPr>
              <a:t>products</a:t>
            </a:r>
            <a:endParaRPr lang="fr-FR" sz="2000">
              <a:latin typeface="Trebuchet MS" panose="020B0703020202090204" pitchFamily="34" charset="0"/>
              <a:cs typeface="Microsoft Sans Serif"/>
            </a:endParaRPr>
          </a:p>
        </p:txBody>
      </p:sp>
      <p:sp>
        <p:nvSpPr>
          <p:cNvPr id="14" name="object 20">
            <a:extLst>
              <a:ext uri="{FF2B5EF4-FFF2-40B4-BE49-F238E27FC236}">
                <a16:creationId xmlns:a16="http://schemas.microsoft.com/office/drawing/2014/main" id="{2833091B-E3F0-409A-3F09-316352CA0368}"/>
              </a:ext>
            </a:extLst>
          </p:cNvPr>
          <p:cNvSpPr txBox="1"/>
          <p:nvPr/>
        </p:nvSpPr>
        <p:spPr>
          <a:xfrm>
            <a:off x="7487554" y="4793849"/>
            <a:ext cx="2675151" cy="320601"/>
          </a:xfrm>
          <a:prstGeom prst="rect">
            <a:avLst/>
          </a:prstGeom>
        </p:spPr>
        <p:txBody>
          <a:bodyPr vert="horz" wrap="square" lIns="0" tIns="12700" rIns="0" bIns="0" rtlCol="0">
            <a:spAutoFit/>
          </a:bodyPr>
          <a:lstStyle/>
          <a:p>
            <a:pPr marL="12700" algn="ctr">
              <a:lnSpc>
                <a:spcPct val="100000"/>
              </a:lnSpc>
              <a:spcBef>
                <a:spcPts val="100"/>
              </a:spcBef>
            </a:pPr>
            <a:r>
              <a:rPr lang="fr-FR" sz="2000" spc="15">
                <a:solidFill>
                  <a:srgbClr val="20BE60"/>
                </a:solidFill>
                <a:latin typeface="Trebuchet MS" panose="020B0703020202090204" pitchFamily="34" charset="0"/>
                <a:cs typeface="Microsoft Sans Serif"/>
              </a:rPr>
              <a:t>Analyse of </a:t>
            </a:r>
            <a:r>
              <a:rPr lang="fr-FR" sz="2000" spc="15" err="1">
                <a:solidFill>
                  <a:srgbClr val="20BE60"/>
                </a:solidFill>
                <a:latin typeface="Trebuchet MS" panose="020B0703020202090204" pitchFamily="34" charset="0"/>
                <a:cs typeface="Microsoft Sans Serif"/>
              </a:rPr>
              <a:t>returns</a:t>
            </a:r>
            <a:endParaRPr lang="fr-FR" sz="2000">
              <a:latin typeface="Trebuchet MS" panose="020B0703020202090204" pitchFamily="34" charset="0"/>
              <a:cs typeface="Microsoft Sans Serif"/>
            </a:endParaRPr>
          </a:p>
        </p:txBody>
      </p:sp>
      <p:sp>
        <p:nvSpPr>
          <p:cNvPr id="15" name="object 3">
            <a:extLst>
              <a:ext uri="{FF2B5EF4-FFF2-40B4-BE49-F238E27FC236}">
                <a16:creationId xmlns:a16="http://schemas.microsoft.com/office/drawing/2014/main" id="{6E9B679E-EAF2-69C6-3F22-35A9E5556465}"/>
              </a:ext>
            </a:extLst>
          </p:cNvPr>
          <p:cNvSpPr txBox="1"/>
          <p:nvPr/>
        </p:nvSpPr>
        <p:spPr>
          <a:xfrm>
            <a:off x="630000" y="2271168"/>
            <a:ext cx="3505200" cy="234721"/>
          </a:xfrm>
          <a:prstGeom prst="rect">
            <a:avLst/>
          </a:prstGeom>
          <a:solidFill>
            <a:schemeClr val="accent5">
              <a:lumMod val="20000"/>
              <a:lumOff val="80000"/>
            </a:schemeClr>
          </a:solidFill>
        </p:spPr>
        <p:txBody>
          <a:bodyPr vert="horz" wrap="square" lIns="0" tIns="12700" rIns="0" bIns="0" rtlCol="0">
            <a:spAutoFit/>
          </a:bodyPr>
          <a:lstStyle/>
          <a:p>
            <a:pPr marL="12700" algn="ctr">
              <a:lnSpc>
                <a:spcPct val="100000"/>
              </a:lnSpc>
              <a:spcBef>
                <a:spcPts val="100"/>
              </a:spcBef>
              <a:buClr>
                <a:srgbClr val="9A9CA1"/>
              </a:buClr>
              <a:tabLst>
                <a:tab pos="226060" algn="l"/>
              </a:tabLst>
            </a:pPr>
            <a:r>
              <a:rPr lang="en-US" sz="1400" spc="-5">
                <a:solidFill>
                  <a:srgbClr val="373739"/>
                </a:solidFill>
                <a:latin typeface="Trebuchet MS"/>
              </a:rPr>
              <a:t>Purchases by client</a:t>
            </a:r>
          </a:p>
        </p:txBody>
      </p:sp>
      <p:sp>
        <p:nvSpPr>
          <p:cNvPr id="16" name="object 3">
            <a:extLst>
              <a:ext uri="{FF2B5EF4-FFF2-40B4-BE49-F238E27FC236}">
                <a16:creationId xmlns:a16="http://schemas.microsoft.com/office/drawing/2014/main" id="{C5B6EFFB-6E0F-827D-2C19-99AAB58C96E7}"/>
              </a:ext>
            </a:extLst>
          </p:cNvPr>
          <p:cNvSpPr txBox="1"/>
          <p:nvPr/>
        </p:nvSpPr>
        <p:spPr>
          <a:xfrm>
            <a:off x="3647857" y="2657086"/>
            <a:ext cx="2675151" cy="234721"/>
          </a:xfrm>
          <a:prstGeom prst="rect">
            <a:avLst/>
          </a:prstGeom>
          <a:solidFill>
            <a:schemeClr val="accent5">
              <a:lumMod val="20000"/>
              <a:lumOff val="80000"/>
            </a:schemeClr>
          </a:solidFill>
        </p:spPr>
        <p:txBody>
          <a:bodyPr vert="horz" wrap="square" lIns="0" tIns="12700" rIns="0" bIns="0" rtlCol="0">
            <a:spAutoFit/>
          </a:bodyPr>
          <a:lstStyle/>
          <a:p>
            <a:pPr marL="12700">
              <a:lnSpc>
                <a:spcPct val="100000"/>
              </a:lnSpc>
              <a:spcBef>
                <a:spcPts val="100"/>
              </a:spcBef>
              <a:buClr>
                <a:srgbClr val="9A9CA1"/>
              </a:buClr>
              <a:tabLst>
                <a:tab pos="226060" algn="l"/>
              </a:tabLst>
            </a:pPr>
            <a:r>
              <a:rPr lang="en-US" sz="1400" spc="-5">
                <a:solidFill>
                  <a:srgbClr val="373739"/>
                </a:solidFill>
                <a:latin typeface="Trebuchet MS"/>
              </a:rPr>
              <a:t>Number of commands by client</a:t>
            </a:r>
          </a:p>
        </p:txBody>
      </p:sp>
      <p:sp>
        <p:nvSpPr>
          <p:cNvPr id="17" name="object 3">
            <a:extLst>
              <a:ext uri="{FF2B5EF4-FFF2-40B4-BE49-F238E27FC236}">
                <a16:creationId xmlns:a16="http://schemas.microsoft.com/office/drawing/2014/main" id="{ACB54C04-863D-57A6-A618-D628A2CD5644}"/>
              </a:ext>
            </a:extLst>
          </p:cNvPr>
          <p:cNvSpPr txBox="1"/>
          <p:nvPr/>
        </p:nvSpPr>
        <p:spPr>
          <a:xfrm>
            <a:off x="7072529" y="5406642"/>
            <a:ext cx="3505200" cy="443711"/>
          </a:xfrm>
          <a:prstGeom prst="rect">
            <a:avLst/>
          </a:prstGeom>
          <a:solidFill>
            <a:schemeClr val="accent5">
              <a:lumMod val="20000"/>
              <a:lumOff val="80000"/>
            </a:schemeClr>
          </a:solidFill>
        </p:spPr>
        <p:txBody>
          <a:bodyPr vert="horz" wrap="square" lIns="0" tIns="12700" rIns="0" bIns="0" rtlCol="0">
            <a:spAutoFit/>
          </a:bodyPr>
          <a:lstStyle/>
          <a:p>
            <a:pPr marL="12700" algn="ctr">
              <a:lnSpc>
                <a:spcPct val="100000"/>
              </a:lnSpc>
              <a:spcBef>
                <a:spcPts val="100"/>
              </a:spcBef>
              <a:buClr>
                <a:srgbClr val="9A9CA1"/>
              </a:buClr>
              <a:tabLst>
                <a:tab pos="226060" algn="l"/>
              </a:tabLst>
            </a:pPr>
            <a:r>
              <a:rPr lang="en-US" sz="1400" b="1" spc="-5">
                <a:solidFill>
                  <a:srgbClr val="373739"/>
                </a:solidFill>
                <a:latin typeface="Trebuchet MS"/>
              </a:rPr>
              <a:t>424 products </a:t>
            </a:r>
            <a:r>
              <a:rPr lang="en-US" sz="1400" spc="-5">
                <a:solidFill>
                  <a:srgbClr val="373739"/>
                </a:solidFill>
                <a:latin typeface="Trebuchet MS"/>
              </a:rPr>
              <a:t>more returned than purchased</a:t>
            </a:r>
          </a:p>
        </p:txBody>
      </p:sp>
      <p:cxnSp>
        <p:nvCxnSpPr>
          <p:cNvPr id="18" name="Connecteur droit 26">
            <a:extLst>
              <a:ext uri="{FF2B5EF4-FFF2-40B4-BE49-F238E27FC236}">
                <a16:creationId xmlns:a16="http://schemas.microsoft.com/office/drawing/2014/main" id="{80CC6AD2-F973-0E63-7447-703C1065D8D5}"/>
              </a:ext>
            </a:extLst>
          </p:cNvPr>
          <p:cNvCxnSpPr>
            <a:cxnSpLocks/>
          </p:cNvCxnSpPr>
          <p:nvPr/>
        </p:nvCxnSpPr>
        <p:spPr>
          <a:xfrm flipH="1">
            <a:off x="6214842" y="1943604"/>
            <a:ext cx="29698" cy="3987799"/>
          </a:xfrm>
          <a:prstGeom prst="line">
            <a:avLst/>
          </a:prstGeom>
          <a:ln w="15875" cap="flat" cmpd="sng" algn="ctr">
            <a:solidFill>
              <a:srgbClr val="20BE6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9" name="Connecteur droit 26">
            <a:extLst>
              <a:ext uri="{FF2B5EF4-FFF2-40B4-BE49-F238E27FC236}">
                <a16:creationId xmlns:a16="http://schemas.microsoft.com/office/drawing/2014/main" id="{C94AE6D8-D2F0-3389-5159-B4D223E33553}"/>
              </a:ext>
            </a:extLst>
          </p:cNvPr>
          <p:cNvCxnSpPr>
            <a:cxnSpLocks/>
          </p:cNvCxnSpPr>
          <p:nvPr/>
        </p:nvCxnSpPr>
        <p:spPr>
          <a:xfrm flipH="1">
            <a:off x="6244540" y="4760443"/>
            <a:ext cx="5318810" cy="0"/>
          </a:xfrm>
          <a:prstGeom prst="line">
            <a:avLst/>
          </a:prstGeom>
          <a:ln w="15875" cap="flat" cmpd="sng" algn="ctr">
            <a:solidFill>
              <a:srgbClr val="20BE6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162314316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8961" name="Diapositive think-cell" r:id="rId6" imgW="473" imgH="473" progId="TCLayout.ActiveDocument.1">
                  <p:embed/>
                </p:oleObj>
              </mc:Choice>
              <mc:Fallback>
                <p:oleObj name="Diapositive think-cell" r:id="rId6" imgW="473" imgH="473"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a:xfrm>
            <a:off x="630000" y="622800"/>
            <a:ext cx="10933350" cy="443198"/>
          </a:xfrm>
        </p:spPr>
        <p:txBody>
          <a:bodyPr vert="horz"/>
          <a:lstStyle/>
          <a:p>
            <a:r>
              <a:rPr lang="en-US" sz="3200">
                <a:solidFill>
                  <a:srgbClr val="00B050"/>
                </a:solidFill>
              </a:rPr>
              <a:t>Annex 3 : </a:t>
            </a:r>
            <a:br>
              <a:rPr lang="en-US" sz="3200">
                <a:solidFill>
                  <a:srgbClr val="00B050"/>
                </a:solidFill>
              </a:rPr>
            </a:br>
            <a:r>
              <a:rPr lang="en-US" sz="3200">
                <a:solidFill>
                  <a:srgbClr val="00B050"/>
                </a:solidFill>
              </a:rPr>
              <a:t>List of the 8 uses cases across 4 functions</a:t>
            </a:r>
          </a:p>
        </p:txBody>
      </p:sp>
      <p:sp>
        <p:nvSpPr>
          <p:cNvPr id="7" name="ee4pFootnotes"/>
          <p:cNvSpPr>
            <a:spLocks noChangeArrowheads="1"/>
          </p:cNvSpPr>
          <p:nvPr/>
        </p:nvSpPr>
        <p:spPr bwMode="auto">
          <a:xfrm>
            <a:off x="628650" y="6438811"/>
            <a:ext cx="903091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a:solidFill>
                  <a:schemeClr val="bg1">
                    <a:lumMod val="50000"/>
                  </a:schemeClr>
                </a:solidFill>
                <a:latin typeface="Trebuchet MS" panose="020B0603020202020204" pitchFamily="34" charset="0"/>
                <a:cs typeface="Arial" pitchFamily="34" charset="0"/>
              </a:rPr>
              <a:t>Those uses cases have been identified through interviews with </a:t>
            </a:r>
            <a:r>
              <a:rPr lang="en-US" sz="1000" err="1">
                <a:solidFill>
                  <a:schemeClr val="bg1">
                    <a:lumMod val="50000"/>
                  </a:schemeClr>
                </a:solidFill>
                <a:latin typeface="Trebuchet MS" panose="020B0603020202020204" pitchFamily="34" charset="0"/>
                <a:cs typeface="Arial" pitchFamily="34" charset="0"/>
              </a:rPr>
              <a:t>ClientCo</a:t>
            </a:r>
            <a:r>
              <a:rPr lang="en-US" sz="1000">
                <a:solidFill>
                  <a:schemeClr val="bg1">
                    <a:lumMod val="50000"/>
                  </a:schemeClr>
                </a:solidFill>
                <a:latin typeface="Trebuchet MS" panose="020B0603020202020204" pitchFamily="34" charset="0"/>
                <a:cs typeface="Arial" pitchFamily="34" charset="0"/>
              </a:rPr>
              <a:t> employees and BCG’s clients and, external researches</a:t>
            </a:r>
          </a:p>
        </p:txBody>
      </p:sp>
      <p:sp>
        <p:nvSpPr>
          <p:cNvPr id="8" name="object 3">
            <a:extLst>
              <a:ext uri="{FF2B5EF4-FFF2-40B4-BE49-F238E27FC236}">
                <a16:creationId xmlns:a16="http://schemas.microsoft.com/office/drawing/2014/main" id="{A9EE7830-DE24-1614-599A-992CF1D806DC}"/>
              </a:ext>
            </a:extLst>
          </p:cNvPr>
          <p:cNvSpPr txBox="1"/>
          <p:nvPr/>
        </p:nvSpPr>
        <p:spPr>
          <a:xfrm>
            <a:off x="2261236" y="1602963"/>
            <a:ext cx="9302114" cy="456535"/>
          </a:xfrm>
          <a:prstGeom prst="rect">
            <a:avLst/>
          </a:prstGeom>
        </p:spPr>
        <p:txBody>
          <a:bodyPr vert="horz" wrap="square" lIns="0" tIns="12700" rIns="0" bIns="0" rtlCol="0">
            <a:spAutoFit/>
          </a:bodyPr>
          <a:lstStyle/>
          <a:p>
            <a:pPr marL="226060" indent="-213360">
              <a:lnSpc>
                <a:spcPct val="100000"/>
              </a:lnSpc>
              <a:spcBef>
                <a:spcPts val="100"/>
              </a:spcBef>
              <a:buClr>
                <a:srgbClr val="9A9CA1"/>
              </a:buClr>
              <a:buChar char="•"/>
              <a:tabLst>
                <a:tab pos="226060" algn="l"/>
              </a:tabLst>
            </a:pPr>
            <a:r>
              <a:rPr lang="en-US" sz="1400" spc="-5">
                <a:solidFill>
                  <a:srgbClr val="373739"/>
                </a:solidFill>
                <a:latin typeface="Trebuchet MS"/>
              </a:rPr>
              <a:t>Promotion optimization - </a:t>
            </a:r>
            <a:r>
              <a:rPr lang="en-US" sz="1100" i="1" spc="-5">
                <a:solidFill>
                  <a:srgbClr val="373739"/>
                </a:solidFill>
                <a:latin typeface="Trebuchet MS"/>
              </a:rPr>
              <a:t>use of marketing data to improve promotions margins</a:t>
            </a:r>
            <a:endParaRPr lang="en-US" sz="1400" i="1" spc="-5">
              <a:solidFill>
                <a:srgbClr val="373739"/>
              </a:solidFill>
              <a:latin typeface="Trebuchet MS"/>
            </a:endParaRPr>
          </a:p>
          <a:p>
            <a:pPr marL="226060" indent="-213360">
              <a:lnSpc>
                <a:spcPct val="100000"/>
              </a:lnSpc>
              <a:spcBef>
                <a:spcPts val="100"/>
              </a:spcBef>
              <a:buClr>
                <a:srgbClr val="9A9CA1"/>
              </a:buClr>
              <a:buChar char="•"/>
              <a:tabLst>
                <a:tab pos="226060" algn="l"/>
              </a:tabLst>
            </a:pPr>
            <a:r>
              <a:rPr lang="en-US" sz="1400" spc="-5">
                <a:solidFill>
                  <a:srgbClr val="373739"/>
                </a:solidFill>
                <a:latin typeface="Trebuchet MS"/>
              </a:rPr>
              <a:t>Recommendation tool - </a:t>
            </a:r>
            <a:r>
              <a:rPr lang="en-US" sz="1100" i="1" spc="-5">
                <a:solidFill>
                  <a:srgbClr val="373739"/>
                </a:solidFill>
                <a:latin typeface="Trebuchet MS"/>
              </a:rPr>
              <a:t>advise clients according to their previous purchases, or their current purchase</a:t>
            </a:r>
            <a:endParaRPr lang="en-US" sz="1400" i="1" spc="-5">
              <a:solidFill>
                <a:srgbClr val="373739"/>
              </a:solidFill>
              <a:latin typeface="Trebuchet MS"/>
            </a:endParaRPr>
          </a:p>
        </p:txBody>
      </p:sp>
      <p:grpSp>
        <p:nvGrpSpPr>
          <p:cNvPr id="24" name="Groupe 23">
            <a:extLst>
              <a:ext uri="{FF2B5EF4-FFF2-40B4-BE49-F238E27FC236}">
                <a16:creationId xmlns:a16="http://schemas.microsoft.com/office/drawing/2014/main" id="{2E9AD743-2578-9251-C942-EFC41D878A6D}"/>
              </a:ext>
            </a:extLst>
          </p:cNvPr>
          <p:cNvGrpSpPr/>
          <p:nvPr/>
        </p:nvGrpSpPr>
        <p:grpSpPr>
          <a:xfrm>
            <a:off x="507708" y="2568311"/>
            <a:ext cx="1029792" cy="1121380"/>
            <a:chOff x="491862" y="2696484"/>
            <a:chExt cx="1029792" cy="1121380"/>
          </a:xfrm>
        </p:grpSpPr>
        <p:pic>
          <p:nvPicPr>
            <p:cNvPr id="6" name="Image 5">
              <a:extLst>
                <a:ext uri="{FF2B5EF4-FFF2-40B4-BE49-F238E27FC236}">
                  <a16:creationId xmlns:a16="http://schemas.microsoft.com/office/drawing/2014/main" id="{73AD0F3A-3C45-7DFD-EDBA-3DC158631711}"/>
                </a:ext>
              </a:extLst>
            </p:cNvPr>
            <p:cNvPicPr>
              <a:picLocks noChangeAspect="1"/>
            </p:cNvPicPr>
            <p:nvPr/>
          </p:nvPicPr>
          <p:blipFill>
            <a:blip r:embed="rId8">
              <a:extLst>
                <a:ext uri="{BEBA8EAE-BF5A-486C-A8C5-ECC9F3942E4B}">
                  <a14:imgProps xmlns:a14="http://schemas.microsoft.com/office/drawing/2010/main">
                    <a14:imgLayer r:embed="rId9">
                      <a14:imgEffect>
                        <a14:backgroundRemoval t="10000" b="90000" l="10000" r="90000">
                          <a14:foregroundMark x1="41645" y1="52815" x2="41645" y2="52815"/>
                        </a14:backgroundRemoval>
                      </a14:imgEffect>
                    </a14:imgLayer>
                  </a14:imgProps>
                </a:ext>
              </a:extLst>
            </a:blip>
            <a:stretch>
              <a:fillRect/>
            </a:stretch>
          </p:blipFill>
          <p:spPr>
            <a:xfrm>
              <a:off x="504229" y="2696484"/>
              <a:ext cx="1017425" cy="975577"/>
            </a:xfrm>
            <a:prstGeom prst="rect">
              <a:avLst/>
            </a:prstGeom>
          </p:spPr>
        </p:pic>
        <p:sp>
          <p:nvSpPr>
            <p:cNvPr id="9" name="object 12">
              <a:extLst>
                <a:ext uri="{FF2B5EF4-FFF2-40B4-BE49-F238E27FC236}">
                  <a16:creationId xmlns:a16="http://schemas.microsoft.com/office/drawing/2014/main" id="{A8D0194B-D17D-F740-29A8-3E0E87AA329B}"/>
                </a:ext>
              </a:extLst>
            </p:cNvPr>
            <p:cNvSpPr txBox="1"/>
            <p:nvPr/>
          </p:nvSpPr>
          <p:spPr>
            <a:xfrm>
              <a:off x="491862" y="3558819"/>
              <a:ext cx="753745" cy="259045"/>
            </a:xfrm>
            <a:prstGeom prst="rect">
              <a:avLst/>
            </a:prstGeom>
          </p:spPr>
          <p:txBody>
            <a:bodyPr vert="horz" wrap="square" lIns="0" tIns="12700" rIns="0" bIns="0" rtlCol="0">
              <a:spAutoFit/>
            </a:bodyPr>
            <a:lstStyle/>
            <a:p>
              <a:pPr marL="12700" marR="5080" indent="152400">
                <a:lnSpc>
                  <a:spcPct val="100000"/>
                </a:lnSpc>
                <a:spcBef>
                  <a:spcPts val="100"/>
                </a:spcBef>
              </a:pPr>
              <a:r>
                <a:rPr lang="fr-FR" sz="1600" spc="-15">
                  <a:solidFill>
                    <a:srgbClr val="20BE60"/>
                  </a:solidFill>
                  <a:latin typeface="Microsoft Sans Serif"/>
                  <a:cs typeface="Microsoft Sans Serif"/>
                </a:rPr>
                <a:t>Sales</a:t>
              </a:r>
              <a:endParaRPr sz="1600">
                <a:latin typeface="Microsoft Sans Serif"/>
                <a:cs typeface="Microsoft Sans Serif"/>
              </a:endParaRPr>
            </a:p>
          </p:txBody>
        </p:sp>
      </p:grpSp>
      <p:sp>
        <p:nvSpPr>
          <p:cNvPr id="13" name="object 26">
            <a:extLst>
              <a:ext uri="{FF2B5EF4-FFF2-40B4-BE49-F238E27FC236}">
                <a16:creationId xmlns:a16="http://schemas.microsoft.com/office/drawing/2014/main" id="{22A03A3F-7399-3DFA-457F-CF0FA5B917CC}"/>
              </a:ext>
            </a:extLst>
          </p:cNvPr>
          <p:cNvSpPr txBox="1"/>
          <p:nvPr/>
        </p:nvSpPr>
        <p:spPr>
          <a:xfrm>
            <a:off x="2261235" y="5489333"/>
            <a:ext cx="9302115" cy="228268"/>
          </a:xfrm>
          <a:prstGeom prst="rect">
            <a:avLst/>
          </a:prstGeom>
        </p:spPr>
        <p:txBody>
          <a:bodyPr vert="horz" wrap="square" lIns="0" tIns="12700" rIns="0" bIns="0" rtlCol="0">
            <a:spAutoFit/>
          </a:bodyPr>
          <a:lstStyle/>
          <a:p>
            <a:pPr marL="226060" indent="-213360">
              <a:spcBef>
                <a:spcPts val="100"/>
              </a:spcBef>
              <a:buClr>
                <a:srgbClr val="9A9CA1"/>
              </a:buClr>
              <a:buFontTx/>
              <a:buChar char="•"/>
              <a:tabLst>
                <a:tab pos="226060" algn="l"/>
              </a:tabLst>
            </a:pPr>
            <a:r>
              <a:rPr lang="en-US" sz="1400" spc="-5">
                <a:solidFill>
                  <a:srgbClr val="373739"/>
                </a:solidFill>
                <a:latin typeface="Trebuchet MS"/>
              </a:rPr>
              <a:t>Digital management – </a:t>
            </a:r>
            <a:r>
              <a:rPr lang="en-US" sz="1100" i="1" spc="-5">
                <a:solidFill>
                  <a:srgbClr val="373739"/>
                </a:solidFill>
                <a:latin typeface="Trebuchet MS"/>
              </a:rPr>
              <a:t>follow and guide employees’ performance through data</a:t>
            </a:r>
            <a:endParaRPr lang="en-US" sz="1400" i="1" spc="-5">
              <a:solidFill>
                <a:srgbClr val="373739"/>
              </a:solidFill>
              <a:latin typeface="Trebuchet MS"/>
            </a:endParaRPr>
          </a:p>
        </p:txBody>
      </p:sp>
      <p:sp>
        <p:nvSpPr>
          <p:cNvPr id="14" name="object 32">
            <a:extLst>
              <a:ext uri="{FF2B5EF4-FFF2-40B4-BE49-F238E27FC236}">
                <a16:creationId xmlns:a16="http://schemas.microsoft.com/office/drawing/2014/main" id="{D8217A32-42C7-978A-CF9C-5ACE9B2C183A}"/>
              </a:ext>
            </a:extLst>
          </p:cNvPr>
          <p:cNvSpPr txBox="1"/>
          <p:nvPr/>
        </p:nvSpPr>
        <p:spPr>
          <a:xfrm>
            <a:off x="2261236" y="2811908"/>
            <a:ext cx="9302114" cy="684803"/>
          </a:xfrm>
          <a:prstGeom prst="rect">
            <a:avLst/>
          </a:prstGeom>
        </p:spPr>
        <p:txBody>
          <a:bodyPr vert="horz" wrap="square" lIns="0" tIns="12700" rIns="0" bIns="0" rtlCol="0">
            <a:spAutoFit/>
          </a:bodyPr>
          <a:lstStyle/>
          <a:p>
            <a:pPr marL="233679" marR="290830" indent="-213360">
              <a:lnSpc>
                <a:spcPct val="100000"/>
              </a:lnSpc>
              <a:spcBef>
                <a:spcPts val="100"/>
              </a:spcBef>
              <a:buClr>
                <a:srgbClr val="9A9CA1"/>
              </a:buClr>
              <a:buChar char="•"/>
              <a:tabLst>
                <a:tab pos="234315" algn="l"/>
              </a:tabLst>
            </a:pPr>
            <a:r>
              <a:rPr lang="fr-FR" sz="1400" spc="-65" err="1">
                <a:solidFill>
                  <a:srgbClr val="373739"/>
                </a:solidFill>
                <a:latin typeface="Trebuchet MS"/>
                <a:cs typeface="Trebuchet MS"/>
              </a:rPr>
              <a:t>Churn</a:t>
            </a:r>
            <a:r>
              <a:rPr lang="fr-FR" sz="1400" spc="-65">
                <a:solidFill>
                  <a:srgbClr val="373739"/>
                </a:solidFill>
                <a:latin typeface="Trebuchet MS"/>
                <a:cs typeface="Trebuchet MS"/>
              </a:rPr>
              <a:t> </a:t>
            </a:r>
            <a:r>
              <a:rPr lang="fr-FR" sz="1400" spc="-65" err="1">
                <a:solidFill>
                  <a:srgbClr val="373739"/>
                </a:solidFill>
                <a:latin typeface="Trebuchet MS"/>
                <a:cs typeface="Trebuchet MS"/>
              </a:rPr>
              <a:t>prediction</a:t>
            </a:r>
            <a:r>
              <a:rPr lang="fr-FR" sz="1400" spc="-65">
                <a:solidFill>
                  <a:srgbClr val="373739"/>
                </a:solidFill>
                <a:latin typeface="Trebuchet MS"/>
                <a:cs typeface="Trebuchet MS"/>
              </a:rPr>
              <a:t> - </a:t>
            </a:r>
            <a:r>
              <a:rPr lang="fr-FR" sz="1100" i="1" spc="-5" err="1">
                <a:solidFill>
                  <a:srgbClr val="373739"/>
                </a:solidFill>
                <a:latin typeface="Trebuchet MS"/>
              </a:rPr>
              <a:t>predict</a:t>
            </a:r>
            <a:r>
              <a:rPr lang="fr-FR" sz="1100" i="1" spc="-5">
                <a:solidFill>
                  <a:srgbClr val="373739"/>
                </a:solidFill>
                <a:latin typeface="Trebuchet MS"/>
              </a:rPr>
              <a:t> client attrition to enable </a:t>
            </a:r>
            <a:r>
              <a:rPr lang="fr-FR" sz="1100" i="1" spc="-5" err="1">
                <a:solidFill>
                  <a:srgbClr val="373739"/>
                </a:solidFill>
                <a:latin typeface="Trebuchet MS"/>
              </a:rPr>
              <a:t>counter</a:t>
            </a:r>
            <a:r>
              <a:rPr lang="fr-FR" sz="1100" i="1" spc="-5">
                <a:solidFill>
                  <a:srgbClr val="373739"/>
                </a:solidFill>
                <a:latin typeface="Trebuchet MS"/>
              </a:rPr>
              <a:t> </a:t>
            </a:r>
            <a:r>
              <a:rPr lang="fr-FR" sz="1100" i="1" spc="-5" err="1">
                <a:solidFill>
                  <a:srgbClr val="373739"/>
                </a:solidFill>
                <a:latin typeface="Trebuchet MS"/>
              </a:rPr>
              <a:t>measures</a:t>
            </a:r>
            <a:r>
              <a:rPr lang="fr-FR" sz="1100" i="1" spc="-5">
                <a:solidFill>
                  <a:srgbClr val="373739"/>
                </a:solidFill>
                <a:latin typeface="Trebuchet MS"/>
              </a:rPr>
              <a:t> </a:t>
            </a:r>
          </a:p>
          <a:p>
            <a:pPr marL="233679" marR="290830" indent="-213360">
              <a:spcBef>
                <a:spcPts val="100"/>
              </a:spcBef>
              <a:buClr>
                <a:srgbClr val="9A9CA1"/>
              </a:buClr>
              <a:buFontTx/>
              <a:buChar char="•"/>
              <a:tabLst>
                <a:tab pos="234315" algn="l"/>
              </a:tabLst>
            </a:pPr>
            <a:r>
              <a:rPr lang="en-US" sz="1400" spc="-5" err="1">
                <a:solidFill>
                  <a:srgbClr val="373739"/>
                </a:solidFill>
                <a:latin typeface="Trebuchet MS"/>
              </a:rPr>
              <a:t>Digitalisation</a:t>
            </a:r>
            <a:r>
              <a:rPr lang="en-US" sz="1400" spc="-5">
                <a:solidFill>
                  <a:srgbClr val="373739"/>
                </a:solidFill>
                <a:latin typeface="Trebuchet MS"/>
              </a:rPr>
              <a:t> of the customer relationship – </a:t>
            </a:r>
            <a:r>
              <a:rPr lang="en-US" sz="1100" i="1" spc="-5">
                <a:solidFill>
                  <a:srgbClr val="373739"/>
                </a:solidFill>
                <a:latin typeface="Trebuchet MS"/>
              </a:rPr>
              <a:t>digitize the sales tools to enable a digital oversight and interaction with clients </a:t>
            </a:r>
          </a:p>
          <a:p>
            <a:pPr marL="233679" marR="290830" indent="-213360">
              <a:spcBef>
                <a:spcPts val="100"/>
              </a:spcBef>
              <a:buClr>
                <a:srgbClr val="9A9CA1"/>
              </a:buClr>
              <a:buFontTx/>
              <a:buChar char="•"/>
              <a:tabLst>
                <a:tab pos="234315" algn="l"/>
              </a:tabLst>
            </a:pPr>
            <a:r>
              <a:rPr lang="en-US" sz="1400" spc="-5">
                <a:solidFill>
                  <a:srgbClr val="373739"/>
                </a:solidFill>
                <a:latin typeface="Trebuchet MS"/>
              </a:rPr>
              <a:t>Real - time pricing – </a:t>
            </a:r>
            <a:r>
              <a:rPr lang="en-US" sz="1100" i="1" spc="-5">
                <a:solidFill>
                  <a:srgbClr val="373739"/>
                </a:solidFill>
                <a:latin typeface="Trebuchet MS"/>
              </a:rPr>
              <a:t>track local contexts and adapt prices to capture the best opportunities</a:t>
            </a:r>
            <a:endParaRPr lang="en-US" sz="1400" i="1" spc="-5">
              <a:solidFill>
                <a:srgbClr val="373739"/>
              </a:solidFill>
              <a:latin typeface="Trebuchet MS"/>
            </a:endParaRPr>
          </a:p>
        </p:txBody>
      </p:sp>
      <p:sp>
        <p:nvSpPr>
          <p:cNvPr id="15" name="object 33">
            <a:extLst>
              <a:ext uri="{FF2B5EF4-FFF2-40B4-BE49-F238E27FC236}">
                <a16:creationId xmlns:a16="http://schemas.microsoft.com/office/drawing/2014/main" id="{B9A4DCAF-AE66-5979-AD13-69CB672FB29C}"/>
              </a:ext>
            </a:extLst>
          </p:cNvPr>
          <p:cNvSpPr txBox="1"/>
          <p:nvPr/>
        </p:nvSpPr>
        <p:spPr>
          <a:xfrm>
            <a:off x="2261235" y="4194415"/>
            <a:ext cx="9302115" cy="456535"/>
          </a:xfrm>
          <a:prstGeom prst="rect">
            <a:avLst/>
          </a:prstGeom>
        </p:spPr>
        <p:txBody>
          <a:bodyPr vert="horz" wrap="square" lIns="0" tIns="12700" rIns="0" bIns="0" rtlCol="0">
            <a:spAutoFit/>
          </a:bodyPr>
          <a:lstStyle/>
          <a:p>
            <a:pPr marL="226060" indent="-213360">
              <a:lnSpc>
                <a:spcPct val="100000"/>
              </a:lnSpc>
              <a:spcBef>
                <a:spcPts val="100"/>
              </a:spcBef>
              <a:buClr>
                <a:srgbClr val="9A9CA1"/>
              </a:buClr>
              <a:buChar char="•"/>
              <a:tabLst>
                <a:tab pos="226060" algn="l"/>
              </a:tabLst>
            </a:pPr>
            <a:r>
              <a:rPr lang="en-US" sz="1400" spc="-5">
                <a:solidFill>
                  <a:srgbClr val="373739"/>
                </a:solidFill>
                <a:latin typeface="Trebuchet MS"/>
              </a:rPr>
              <a:t>Data-Based inventories – </a:t>
            </a:r>
            <a:r>
              <a:rPr lang="en-US" sz="1100" i="1" spc="-5">
                <a:solidFill>
                  <a:srgbClr val="373739"/>
                </a:solidFill>
                <a:latin typeface="Trebuchet MS"/>
              </a:rPr>
              <a:t>enable a digital management of the warehouses</a:t>
            </a:r>
            <a:endParaRPr lang="en-US" sz="1400" i="1" spc="-5">
              <a:solidFill>
                <a:srgbClr val="373739"/>
              </a:solidFill>
              <a:latin typeface="Trebuchet MS"/>
            </a:endParaRPr>
          </a:p>
          <a:p>
            <a:pPr marL="226060" indent="-213360">
              <a:lnSpc>
                <a:spcPct val="100000"/>
              </a:lnSpc>
              <a:spcBef>
                <a:spcPts val="100"/>
              </a:spcBef>
              <a:buClr>
                <a:srgbClr val="9A9CA1"/>
              </a:buClr>
              <a:buChar char="•"/>
              <a:tabLst>
                <a:tab pos="226060" algn="l"/>
              </a:tabLst>
            </a:pPr>
            <a:r>
              <a:rPr lang="en-US" sz="1400" spc="-5">
                <a:solidFill>
                  <a:srgbClr val="373739"/>
                </a:solidFill>
                <a:latin typeface="Trebuchet MS"/>
              </a:rPr>
              <a:t>Forecasted supply chain – </a:t>
            </a:r>
            <a:r>
              <a:rPr lang="en-US" sz="1100" i="1" spc="-5">
                <a:solidFill>
                  <a:srgbClr val="373739"/>
                </a:solidFill>
                <a:latin typeface="Trebuchet MS"/>
              </a:rPr>
              <a:t>foster anticipation capabilities to optimize the supply chain</a:t>
            </a:r>
            <a:endParaRPr lang="en-US" sz="1400" i="1" spc="-5">
              <a:solidFill>
                <a:srgbClr val="373739"/>
              </a:solidFill>
              <a:latin typeface="Trebuchet MS"/>
            </a:endParaRPr>
          </a:p>
        </p:txBody>
      </p:sp>
      <p:sp>
        <p:nvSpPr>
          <p:cNvPr id="16" name="object 34">
            <a:extLst>
              <a:ext uri="{FF2B5EF4-FFF2-40B4-BE49-F238E27FC236}">
                <a16:creationId xmlns:a16="http://schemas.microsoft.com/office/drawing/2014/main" id="{56CC0E55-D849-3B30-288B-773F76D68AC8}"/>
              </a:ext>
            </a:extLst>
          </p:cNvPr>
          <p:cNvSpPr/>
          <p:nvPr/>
        </p:nvSpPr>
        <p:spPr>
          <a:xfrm flipV="1">
            <a:off x="2261236" y="2520566"/>
            <a:ext cx="9302114" cy="45719"/>
          </a:xfrm>
          <a:custGeom>
            <a:avLst/>
            <a:gdLst/>
            <a:ahLst/>
            <a:cxnLst/>
            <a:rect l="l" t="t" r="r" b="b"/>
            <a:pathLst>
              <a:path w="9930765">
                <a:moveTo>
                  <a:pt x="0" y="0"/>
                </a:moveTo>
                <a:lnTo>
                  <a:pt x="9930384" y="0"/>
                </a:lnTo>
              </a:path>
            </a:pathLst>
          </a:custGeom>
          <a:ln w="9525">
            <a:solidFill>
              <a:srgbClr val="9A9A9A"/>
            </a:solidFill>
            <a:prstDash val="dash"/>
          </a:ln>
        </p:spPr>
        <p:txBody>
          <a:bodyPr wrap="square" lIns="0" tIns="0" rIns="0" bIns="0" rtlCol="0"/>
          <a:lstStyle/>
          <a:p>
            <a:endParaRPr/>
          </a:p>
        </p:txBody>
      </p:sp>
      <p:sp>
        <p:nvSpPr>
          <p:cNvPr id="17" name="object 35">
            <a:extLst>
              <a:ext uri="{FF2B5EF4-FFF2-40B4-BE49-F238E27FC236}">
                <a16:creationId xmlns:a16="http://schemas.microsoft.com/office/drawing/2014/main" id="{BDDA354F-9B8D-AC3F-02D1-1CAF01726198}"/>
              </a:ext>
            </a:extLst>
          </p:cNvPr>
          <p:cNvSpPr/>
          <p:nvPr/>
        </p:nvSpPr>
        <p:spPr>
          <a:xfrm flipV="1">
            <a:off x="2261236" y="5078060"/>
            <a:ext cx="9302114" cy="45719"/>
          </a:xfrm>
          <a:custGeom>
            <a:avLst/>
            <a:gdLst/>
            <a:ahLst/>
            <a:cxnLst/>
            <a:rect l="l" t="t" r="r" b="b"/>
            <a:pathLst>
              <a:path w="9930765">
                <a:moveTo>
                  <a:pt x="0" y="0"/>
                </a:moveTo>
                <a:lnTo>
                  <a:pt x="9930384" y="0"/>
                </a:lnTo>
              </a:path>
            </a:pathLst>
          </a:custGeom>
          <a:ln w="9525">
            <a:solidFill>
              <a:srgbClr val="9A9A9A"/>
            </a:solidFill>
            <a:prstDash val="dash"/>
          </a:ln>
        </p:spPr>
        <p:txBody>
          <a:bodyPr wrap="square" lIns="0" tIns="0" rIns="0" bIns="0" rtlCol="0"/>
          <a:lstStyle/>
          <a:p>
            <a:endParaRPr/>
          </a:p>
        </p:txBody>
      </p:sp>
      <p:grpSp>
        <p:nvGrpSpPr>
          <p:cNvPr id="25" name="Groupe 24">
            <a:extLst>
              <a:ext uri="{FF2B5EF4-FFF2-40B4-BE49-F238E27FC236}">
                <a16:creationId xmlns:a16="http://schemas.microsoft.com/office/drawing/2014/main" id="{937508AC-64F8-08EC-83CE-68DA0C41AB1A}"/>
              </a:ext>
            </a:extLst>
          </p:cNvPr>
          <p:cNvGrpSpPr/>
          <p:nvPr/>
        </p:nvGrpSpPr>
        <p:grpSpPr>
          <a:xfrm>
            <a:off x="475328" y="3748378"/>
            <a:ext cx="1406901" cy="1270795"/>
            <a:chOff x="404680" y="3964176"/>
            <a:chExt cx="1406901" cy="1270795"/>
          </a:xfrm>
        </p:grpSpPr>
        <p:pic>
          <p:nvPicPr>
            <p:cNvPr id="18" name="Image 17">
              <a:extLst>
                <a:ext uri="{FF2B5EF4-FFF2-40B4-BE49-F238E27FC236}">
                  <a16:creationId xmlns:a16="http://schemas.microsoft.com/office/drawing/2014/main" id="{7C6996E0-D9E6-FDB7-4684-12236C40586E}"/>
                </a:ext>
              </a:extLst>
            </p:cNvPr>
            <p:cNvPicPr>
              <a:picLocks noChangeAspect="1"/>
            </p:cNvPicPr>
            <p:nvPr/>
          </p:nvPicPr>
          <p:blipFill>
            <a:blip r:embed="rId10">
              <a:extLst>
                <a:ext uri="{BEBA8EAE-BF5A-486C-A8C5-ECC9F3942E4B}">
                  <a14:imgProps xmlns:a14="http://schemas.microsoft.com/office/drawing/2010/main">
                    <a14:imgLayer r:embed="rId11">
                      <a14:imgEffect>
                        <a14:backgroundRemoval t="10000" b="90000" l="10000" r="90000">
                          <a14:foregroundMark x1="22616" y1="48465" x2="22616" y2="48465"/>
                          <a14:foregroundMark x1="56763" y1="82675" x2="56763" y2="82675"/>
                          <a14:foregroundMark x1="79601" y1="53070" x2="79601" y2="53070"/>
                          <a14:foregroundMark x1="25277" y1="40570" x2="25277" y2="40570"/>
                          <a14:foregroundMark x1="28381" y1="35307" x2="28381" y2="35307"/>
                          <a14:foregroundMark x1="64523" y1="30044" x2="64523" y2="30044"/>
                          <a14:foregroundMark x1="69623" y1="33333" x2="69623" y2="33333"/>
                          <a14:foregroundMark x1="72727" y1="37500" x2="72727" y2="37500"/>
                          <a14:foregroundMark x1="75166" y1="42763" x2="75166" y2="42763"/>
                          <a14:foregroundMark x1="70732" y1="70175" x2="70732" y2="70175"/>
                          <a14:foregroundMark x1="66741" y1="74123" x2="66741" y2="74123"/>
                          <a14:foregroundMark x1="32373" y1="73026" x2="32373" y2="73026"/>
                          <a14:foregroundMark x1="28160" y1="69956" x2="28160" y2="69956"/>
                        </a14:backgroundRemoval>
                      </a14:imgEffect>
                    </a14:imgLayer>
                  </a14:imgProps>
                </a:ext>
              </a:extLst>
            </a:blip>
            <a:stretch>
              <a:fillRect/>
            </a:stretch>
          </p:blipFill>
          <p:spPr>
            <a:xfrm>
              <a:off x="443858" y="3964176"/>
              <a:ext cx="1106921" cy="1119193"/>
            </a:xfrm>
            <a:prstGeom prst="rect">
              <a:avLst/>
            </a:prstGeom>
          </p:spPr>
        </p:pic>
        <p:sp>
          <p:nvSpPr>
            <p:cNvPr id="19" name="object 12">
              <a:extLst>
                <a:ext uri="{FF2B5EF4-FFF2-40B4-BE49-F238E27FC236}">
                  <a16:creationId xmlns:a16="http://schemas.microsoft.com/office/drawing/2014/main" id="{C93CF4DF-5E53-BD8E-33D0-937C18A7187B}"/>
                </a:ext>
              </a:extLst>
            </p:cNvPr>
            <p:cNvSpPr txBox="1"/>
            <p:nvPr/>
          </p:nvSpPr>
          <p:spPr>
            <a:xfrm>
              <a:off x="404680" y="4975926"/>
              <a:ext cx="1406901" cy="259045"/>
            </a:xfrm>
            <a:prstGeom prst="rect">
              <a:avLst/>
            </a:prstGeom>
          </p:spPr>
          <p:txBody>
            <a:bodyPr vert="horz" wrap="square" lIns="0" tIns="12700" rIns="0" bIns="0" rtlCol="0">
              <a:spAutoFit/>
            </a:bodyPr>
            <a:lstStyle/>
            <a:p>
              <a:pPr marL="12700" marR="5080" indent="152400">
                <a:lnSpc>
                  <a:spcPct val="100000"/>
                </a:lnSpc>
                <a:spcBef>
                  <a:spcPts val="100"/>
                </a:spcBef>
              </a:pPr>
              <a:r>
                <a:rPr lang="fr-FR" sz="1600" spc="-15" err="1">
                  <a:solidFill>
                    <a:srgbClr val="20BE60"/>
                  </a:solidFill>
                  <a:latin typeface="Microsoft Sans Serif"/>
                  <a:cs typeface="Microsoft Sans Serif"/>
                </a:rPr>
                <a:t>Supply</a:t>
              </a:r>
              <a:r>
                <a:rPr lang="fr-FR" sz="1600" spc="-15">
                  <a:solidFill>
                    <a:srgbClr val="20BE60"/>
                  </a:solidFill>
                  <a:latin typeface="Microsoft Sans Serif"/>
                  <a:cs typeface="Microsoft Sans Serif"/>
                </a:rPr>
                <a:t> Chain</a:t>
              </a:r>
            </a:p>
          </p:txBody>
        </p:sp>
      </p:grpSp>
      <p:grpSp>
        <p:nvGrpSpPr>
          <p:cNvPr id="26" name="Groupe 25">
            <a:extLst>
              <a:ext uri="{FF2B5EF4-FFF2-40B4-BE49-F238E27FC236}">
                <a16:creationId xmlns:a16="http://schemas.microsoft.com/office/drawing/2014/main" id="{26803C59-C450-CA8D-7855-88EC710CD955}"/>
              </a:ext>
            </a:extLst>
          </p:cNvPr>
          <p:cNvGrpSpPr/>
          <p:nvPr/>
        </p:nvGrpSpPr>
        <p:grpSpPr>
          <a:xfrm>
            <a:off x="475328" y="5041236"/>
            <a:ext cx="1489576" cy="1130913"/>
            <a:chOff x="459484" y="5355348"/>
            <a:chExt cx="1489576" cy="1130913"/>
          </a:xfrm>
        </p:grpSpPr>
        <p:sp>
          <p:nvSpPr>
            <p:cNvPr id="11" name="object 19">
              <a:extLst>
                <a:ext uri="{FF2B5EF4-FFF2-40B4-BE49-F238E27FC236}">
                  <a16:creationId xmlns:a16="http://schemas.microsoft.com/office/drawing/2014/main" id="{4309F703-EE6C-0292-A5AC-2899640A770A}"/>
                </a:ext>
              </a:extLst>
            </p:cNvPr>
            <p:cNvSpPr txBox="1"/>
            <p:nvPr/>
          </p:nvSpPr>
          <p:spPr>
            <a:xfrm>
              <a:off x="542159" y="6227216"/>
              <a:ext cx="1406901" cy="259045"/>
            </a:xfrm>
            <a:prstGeom prst="rect">
              <a:avLst/>
            </a:prstGeom>
          </p:spPr>
          <p:txBody>
            <a:bodyPr vert="horz" wrap="square" lIns="0" tIns="12700" rIns="0" bIns="0" rtlCol="0">
              <a:spAutoFit/>
            </a:bodyPr>
            <a:lstStyle/>
            <a:p>
              <a:pPr marL="12700" algn="ctr">
                <a:lnSpc>
                  <a:spcPct val="100000"/>
                </a:lnSpc>
                <a:spcBef>
                  <a:spcPts val="100"/>
                </a:spcBef>
              </a:pPr>
              <a:r>
                <a:rPr sz="1600" spc="105">
                  <a:solidFill>
                    <a:srgbClr val="20BE60"/>
                  </a:solidFill>
                  <a:latin typeface="Microsoft Sans Serif"/>
                  <a:cs typeface="Microsoft Sans Serif"/>
                </a:rPr>
                <a:t>M</a:t>
              </a:r>
              <a:r>
                <a:rPr sz="1600" spc="-10">
                  <a:solidFill>
                    <a:srgbClr val="20BE60"/>
                  </a:solidFill>
                  <a:latin typeface="Microsoft Sans Serif"/>
                  <a:cs typeface="Microsoft Sans Serif"/>
                </a:rPr>
                <a:t>a</a:t>
              </a:r>
              <a:r>
                <a:rPr lang="fr-FR" sz="1600" spc="110">
                  <a:solidFill>
                    <a:srgbClr val="20BE60"/>
                  </a:solidFill>
                  <a:latin typeface="Microsoft Sans Serif"/>
                  <a:cs typeface="Microsoft Sans Serif"/>
                </a:rPr>
                <a:t>nagement</a:t>
              </a:r>
              <a:endParaRPr sz="1600">
                <a:latin typeface="Microsoft Sans Serif"/>
                <a:cs typeface="Microsoft Sans Serif"/>
              </a:endParaRPr>
            </a:p>
          </p:txBody>
        </p:sp>
        <p:pic>
          <p:nvPicPr>
            <p:cNvPr id="20" name="Image 19">
              <a:extLst>
                <a:ext uri="{FF2B5EF4-FFF2-40B4-BE49-F238E27FC236}">
                  <a16:creationId xmlns:a16="http://schemas.microsoft.com/office/drawing/2014/main" id="{31DF2577-2B03-DF33-6237-BBE0517AB9C6}"/>
                </a:ext>
              </a:extLst>
            </p:cNvPr>
            <p:cNvPicPr>
              <a:picLocks noChangeAspect="1"/>
            </p:cNvPicPr>
            <p:nvPr/>
          </p:nvPicPr>
          <p:blipFill>
            <a:blip r:embed="rId12">
              <a:extLst>
                <a:ext uri="{BEBA8EAE-BF5A-486C-A8C5-ECC9F3942E4B}">
                  <a14:imgProps xmlns:a14="http://schemas.microsoft.com/office/drawing/2010/main">
                    <a14:imgLayer r:embed="rId13">
                      <a14:imgEffect>
                        <a14:backgroundRemoval t="10000" b="90000" l="10000" r="90000"/>
                      </a14:imgEffect>
                    </a14:imgLayer>
                  </a14:imgProps>
                </a:ext>
              </a:extLst>
            </a:blip>
            <a:stretch>
              <a:fillRect/>
            </a:stretch>
          </p:blipFill>
          <p:spPr>
            <a:xfrm>
              <a:off x="459484" y="5355348"/>
              <a:ext cx="1106921" cy="996741"/>
            </a:xfrm>
            <a:prstGeom prst="rect">
              <a:avLst/>
            </a:prstGeom>
          </p:spPr>
        </p:pic>
      </p:grpSp>
      <p:grpSp>
        <p:nvGrpSpPr>
          <p:cNvPr id="23" name="Groupe 22">
            <a:extLst>
              <a:ext uri="{FF2B5EF4-FFF2-40B4-BE49-F238E27FC236}">
                <a16:creationId xmlns:a16="http://schemas.microsoft.com/office/drawing/2014/main" id="{DCFBBB35-BB09-E33B-BDB4-319079ED4173}"/>
              </a:ext>
            </a:extLst>
          </p:cNvPr>
          <p:cNvGrpSpPr/>
          <p:nvPr/>
        </p:nvGrpSpPr>
        <p:grpSpPr>
          <a:xfrm>
            <a:off x="571577" y="1217921"/>
            <a:ext cx="1106922" cy="1307868"/>
            <a:chOff x="705723" y="1217921"/>
            <a:chExt cx="1106922" cy="1307868"/>
          </a:xfrm>
        </p:grpSpPr>
        <p:sp>
          <p:nvSpPr>
            <p:cNvPr id="12" name="object 20">
              <a:extLst>
                <a:ext uri="{FF2B5EF4-FFF2-40B4-BE49-F238E27FC236}">
                  <a16:creationId xmlns:a16="http://schemas.microsoft.com/office/drawing/2014/main" id="{9D2EBCC8-9B32-A4AF-9405-BE39510DA3CC}"/>
                </a:ext>
              </a:extLst>
            </p:cNvPr>
            <p:cNvSpPr txBox="1"/>
            <p:nvPr/>
          </p:nvSpPr>
          <p:spPr>
            <a:xfrm>
              <a:off x="762796" y="2266744"/>
              <a:ext cx="992777" cy="259045"/>
            </a:xfrm>
            <a:prstGeom prst="rect">
              <a:avLst/>
            </a:prstGeom>
          </p:spPr>
          <p:txBody>
            <a:bodyPr vert="horz" wrap="square" lIns="0" tIns="12700" rIns="0" bIns="0" rtlCol="0">
              <a:spAutoFit/>
            </a:bodyPr>
            <a:lstStyle/>
            <a:p>
              <a:pPr marL="12700">
                <a:lnSpc>
                  <a:spcPct val="100000"/>
                </a:lnSpc>
                <a:spcBef>
                  <a:spcPts val="100"/>
                </a:spcBef>
              </a:pPr>
              <a:r>
                <a:rPr lang="fr-FR" sz="1600" spc="15">
                  <a:solidFill>
                    <a:srgbClr val="20BE60"/>
                  </a:solidFill>
                  <a:latin typeface="Microsoft Sans Serif"/>
                  <a:cs typeface="Microsoft Sans Serif"/>
                </a:rPr>
                <a:t>Marketing</a:t>
              </a:r>
              <a:endParaRPr sz="1600">
                <a:latin typeface="Microsoft Sans Serif"/>
                <a:cs typeface="Microsoft Sans Serif"/>
              </a:endParaRPr>
            </a:p>
          </p:txBody>
        </p:sp>
        <p:pic>
          <p:nvPicPr>
            <p:cNvPr id="21" name="Image 20">
              <a:extLst>
                <a:ext uri="{FF2B5EF4-FFF2-40B4-BE49-F238E27FC236}">
                  <a16:creationId xmlns:a16="http://schemas.microsoft.com/office/drawing/2014/main" id="{CEDA1A99-D2AC-1144-4746-EC39C70A6E95}"/>
                </a:ext>
              </a:extLst>
            </p:cNvPr>
            <p:cNvPicPr>
              <a:picLocks noChangeAspect="1"/>
            </p:cNvPicPr>
            <p:nvPr/>
          </p:nvPicPr>
          <p:blipFill>
            <a:blip r:embed="rId14">
              <a:extLst>
                <a:ext uri="{BEBA8EAE-BF5A-486C-A8C5-ECC9F3942E4B}">
                  <a14:imgProps xmlns:a14="http://schemas.microsoft.com/office/drawing/2010/main">
                    <a14:imgLayer r:embed="rId15">
                      <a14:imgEffect>
                        <a14:backgroundRemoval t="9814" b="89920" l="8356" r="89757">
                          <a14:foregroundMark x1="8356" y1="46419" x2="8356" y2="46419"/>
                          <a14:foregroundMark x1="15364" y1="47745" x2="15364" y2="47745"/>
                          <a14:foregroundMark x1="77358" y1="38196" x2="77358" y2="38196"/>
                          <a14:foregroundMark x1="80593" y1="48541" x2="80593" y2="48541"/>
                          <a14:foregroundMark x1="78167" y1="60477" x2="78167" y2="60477"/>
                        </a14:backgroundRemoval>
                      </a14:imgEffect>
                    </a14:imgLayer>
                  </a14:imgProps>
                </a:ext>
              </a:extLst>
            </a:blip>
            <a:stretch>
              <a:fillRect/>
            </a:stretch>
          </p:blipFill>
          <p:spPr>
            <a:xfrm>
              <a:off x="705723" y="1217921"/>
              <a:ext cx="1106922" cy="1124824"/>
            </a:xfrm>
            <a:prstGeom prst="rect">
              <a:avLst/>
            </a:prstGeom>
          </p:spPr>
        </p:pic>
      </p:grpSp>
      <p:sp>
        <p:nvSpPr>
          <p:cNvPr id="22" name="object 34">
            <a:extLst>
              <a:ext uri="{FF2B5EF4-FFF2-40B4-BE49-F238E27FC236}">
                <a16:creationId xmlns:a16="http://schemas.microsoft.com/office/drawing/2014/main" id="{7FCE14DD-050C-7FA2-74BA-9C7BABD2CE58}"/>
              </a:ext>
            </a:extLst>
          </p:cNvPr>
          <p:cNvSpPr/>
          <p:nvPr/>
        </p:nvSpPr>
        <p:spPr>
          <a:xfrm>
            <a:off x="2261236" y="3868870"/>
            <a:ext cx="9302114" cy="45719"/>
          </a:xfrm>
          <a:custGeom>
            <a:avLst/>
            <a:gdLst/>
            <a:ahLst/>
            <a:cxnLst/>
            <a:rect l="l" t="t" r="r" b="b"/>
            <a:pathLst>
              <a:path w="9930765">
                <a:moveTo>
                  <a:pt x="0" y="0"/>
                </a:moveTo>
                <a:lnTo>
                  <a:pt x="9930384" y="0"/>
                </a:lnTo>
              </a:path>
            </a:pathLst>
          </a:custGeom>
          <a:ln w="9525">
            <a:solidFill>
              <a:srgbClr val="9A9A9A"/>
            </a:solidFill>
            <a:prstDash val="dash"/>
          </a:ln>
        </p:spPr>
        <p:txBody>
          <a:bodyPr wrap="square" lIns="0" tIns="0" rIns="0" bIns="0" rtlCol="0"/>
          <a:lstStyle/>
          <a:p>
            <a:endParaRPr/>
          </a:p>
        </p:txBody>
      </p:sp>
    </p:spTree>
    <p:extLst>
      <p:ext uri="{BB962C8B-B14F-4D97-AF65-F5344CB8AC3E}">
        <p14:creationId xmlns:p14="http://schemas.microsoft.com/office/powerpoint/2010/main" val="17981199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2" name="object 2"/>
          <p:cNvSpPr txBox="1">
            <a:spLocks noGrp="1"/>
          </p:cNvSpPr>
          <p:nvPr>
            <p:ph type="title"/>
          </p:nvPr>
        </p:nvSpPr>
        <p:spPr>
          <a:xfrm>
            <a:off x="617856" y="107430"/>
            <a:ext cx="5478144" cy="1438214"/>
          </a:xfrm>
          <a:prstGeom prst="rect">
            <a:avLst/>
          </a:prstGeom>
          <a:noFill/>
        </p:spPr>
        <p:txBody>
          <a:bodyPr vert="horz" wrap="square" lIns="0" tIns="0" rIns="0" bIns="0" rtlCol="0" anchor="b" anchorCtr="0">
            <a:noAutofit/>
          </a:bodyPr>
          <a:lstStyle/>
          <a:p>
            <a:br>
              <a:rPr lang="fr-FR" sz="3200">
                <a:solidFill>
                  <a:srgbClr val="00B050"/>
                </a:solidFill>
                <a:latin typeface="+mj-lt"/>
                <a:cs typeface="+mj-cs"/>
              </a:rPr>
            </a:br>
            <a:r>
              <a:rPr lang="fr-FR" sz="3200">
                <a:solidFill>
                  <a:srgbClr val="00B050"/>
                </a:solidFill>
                <a:latin typeface="+mj-lt"/>
                <a:cs typeface="+mj-cs"/>
              </a:rPr>
              <a:t>Annex 4a : </a:t>
            </a:r>
            <a:br>
              <a:rPr lang="fr-FR" sz="3200">
                <a:solidFill>
                  <a:srgbClr val="00B050"/>
                </a:solidFill>
                <a:latin typeface="+mj-lt"/>
                <a:cs typeface="+mj-cs"/>
              </a:rPr>
            </a:br>
            <a:r>
              <a:rPr lang="en-US" sz="3200">
                <a:solidFill>
                  <a:srgbClr val="00B050"/>
                </a:solidFill>
                <a:latin typeface="+mj-lt"/>
                <a:cs typeface="+mj-cs"/>
              </a:rPr>
              <a:t>Our methodology of prioritization</a:t>
            </a:r>
          </a:p>
        </p:txBody>
      </p:sp>
      <p:graphicFrame>
        <p:nvGraphicFramePr>
          <p:cNvPr id="3" name="Diagramme 2">
            <a:extLst>
              <a:ext uri="{FF2B5EF4-FFF2-40B4-BE49-F238E27FC236}">
                <a16:creationId xmlns:a16="http://schemas.microsoft.com/office/drawing/2014/main" id="{8CAFE477-FFBD-F1D2-A101-B1DA771C80DF}"/>
              </a:ext>
            </a:extLst>
          </p:cNvPr>
          <p:cNvGraphicFramePr/>
          <p:nvPr>
            <p:extLst>
              <p:ext uri="{D42A27DB-BD31-4B8C-83A1-F6EECF244321}">
                <p14:modId xmlns:p14="http://schemas.microsoft.com/office/powerpoint/2010/main" val="1051465176"/>
              </p:ext>
            </p:extLst>
          </p:nvPr>
        </p:nvGraphicFramePr>
        <p:xfrm>
          <a:off x="989565" y="673646"/>
          <a:ext cx="8588828" cy="594904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13" name="Image 12">
            <a:extLst>
              <a:ext uri="{FF2B5EF4-FFF2-40B4-BE49-F238E27FC236}">
                <a16:creationId xmlns:a16="http://schemas.microsoft.com/office/drawing/2014/main" id="{37A46EFC-2B28-0902-6CDD-5CB64A4B7A3F}"/>
              </a:ext>
            </a:extLst>
          </p:cNvPr>
          <p:cNvPicPr>
            <a:picLocks noChangeAspect="1"/>
          </p:cNvPicPr>
          <p:nvPr/>
        </p:nvPicPr>
        <p:blipFill>
          <a:blip r:embed="rId7">
            <a:extLst>
              <a:ext uri="{BEBA8EAE-BF5A-486C-A8C5-ECC9F3942E4B}">
                <a14:imgProps xmlns:a14="http://schemas.microsoft.com/office/drawing/2010/main">
                  <a14:imgLayer r:embed="rId8">
                    <a14:imgEffect>
                      <a14:backgroundRemoval t="10000" b="90000" l="10000" r="90000">
                        <a14:foregroundMark x1="25664" y1="56364" x2="25664" y2="56364"/>
                        <a14:foregroundMark x1="75752" y1="52727" x2="75752" y2="52727"/>
                      </a14:backgroundRemoval>
                    </a14:imgEffect>
                  </a14:imgLayer>
                </a14:imgProps>
              </a:ext>
            </a:extLst>
          </a:blip>
          <a:stretch>
            <a:fillRect/>
          </a:stretch>
        </p:blipFill>
        <p:spPr>
          <a:xfrm>
            <a:off x="8480024" y="1229173"/>
            <a:ext cx="2196738" cy="427684"/>
          </a:xfrm>
          <a:prstGeom prst="rect">
            <a:avLst/>
          </a:prstGeom>
        </p:spPr>
      </p:pic>
      <p:pic>
        <p:nvPicPr>
          <p:cNvPr id="18" name="Image 17">
            <a:extLst>
              <a:ext uri="{FF2B5EF4-FFF2-40B4-BE49-F238E27FC236}">
                <a16:creationId xmlns:a16="http://schemas.microsoft.com/office/drawing/2014/main" id="{E37F56F5-234F-731F-CCBA-8B9FC592F28C}"/>
              </a:ext>
            </a:extLst>
          </p:cNvPr>
          <p:cNvPicPr>
            <a:picLocks noChangeAspect="1"/>
          </p:cNvPicPr>
          <p:nvPr/>
        </p:nvPicPr>
        <p:blipFill>
          <a:blip r:embed="rId7">
            <a:extLst>
              <a:ext uri="{BEBA8EAE-BF5A-486C-A8C5-ECC9F3942E4B}">
                <a14:imgProps xmlns:a14="http://schemas.microsoft.com/office/drawing/2010/main">
                  <a14:imgLayer r:embed="rId8">
                    <a14:imgEffect>
                      <a14:backgroundRemoval t="10000" b="90000" l="10000" r="90000">
                        <a14:foregroundMark x1="25664" y1="56364" x2="25664" y2="56364"/>
                        <a14:foregroundMark x1="75752" y1="52727" x2="75752" y2="52727"/>
                      </a14:backgroundRemoval>
                    </a14:imgEffect>
                  </a14:imgLayer>
                </a14:imgProps>
              </a:ext>
            </a:extLst>
          </a:blip>
          <a:stretch>
            <a:fillRect/>
          </a:stretch>
        </p:blipFill>
        <p:spPr>
          <a:xfrm>
            <a:off x="8480024" y="3368768"/>
            <a:ext cx="2196738" cy="427684"/>
          </a:xfrm>
          <a:prstGeom prst="rect">
            <a:avLst/>
          </a:prstGeom>
        </p:spPr>
      </p:pic>
      <p:pic>
        <p:nvPicPr>
          <p:cNvPr id="19" name="Image 18">
            <a:extLst>
              <a:ext uri="{FF2B5EF4-FFF2-40B4-BE49-F238E27FC236}">
                <a16:creationId xmlns:a16="http://schemas.microsoft.com/office/drawing/2014/main" id="{C6528322-1335-E008-AFC6-4D358CB6BD90}"/>
              </a:ext>
            </a:extLst>
          </p:cNvPr>
          <p:cNvPicPr>
            <a:picLocks noChangeAspect="1"/>
          </p:cNvPicPr>
          <p:nvPr/>
        </p:nvPicPr>
        <p:blipFill rotWithShape="1">
          <a:blip r:embed="rId7">
            <a:extLst>
              <a:ext uri="{BEBA8EAE-BF5A-486C-A8C5-ECC9F3942E4B}">
                <a14:imgProps xmlns:a14="http://schemas.microsoft.com/office/drawing/2010/main">
                  <a14:imgLayer r:embed="rId8">
                    <a14:imgEffect>
                      <a14:backgroundRemoval t="10000" b="90000" l="10000" r="90000">
                        <a14:foregroundMark x1="25664" y1="56364" x2="25664" y2="56364"/>
                        <a14:foregroundMark x1="75752" y1="52727" x2="75752" y2="52727"/>
                      </a14:backgroundRemoval>
                    </a14:imgEffect>
                  </a14:imgLayer>
                </a14:imgProps>
              </a:ext>
            </a:extLst>
          </a:blip>
          <a:srcRect r="36354" b="-13278"/>
          <a:stretch/>
        </p:blipFill>
        <p:spPr>
          <a:xfrm>
            <a:off x="8480024" y="3968572"/>
            <a:ext cx="1398120" cy="484475"/>
          </a:xfrm>
          <a:prstGeom prst="rect">
            <a:avLst/>
          </a:prstGeom>
        </p:spPr>
      </p:pic>
      <p:pic>
        <p:nvPicPr>
          <p:cNvPr id="21" name="Image 20">
            <a:extLst>
              <a:ext uri="{FF2B5EF4-FFF2-40B4-BE49-F238E27FC236}">
                <a16:creationId xmlns:a16="http://schemas.microsoft.com/office/drawing/2014/main" id="{5AB951C8-29D8-6483-74C5-90EE1D0FCC07}"/>
              </a:ext>
            </a:extLst>
          </p:cNvPr>
          <p:cNvPicPr>
            <a:picLocks noChangeAspect="1"/>
          </p:cNvPicPr>
          <p:nvPr/>
        </p:nvPicPr>
        <p:blipFill rotWithShape="1">
          <a:blip r:embed="rId7">
            <a:extLst>
              <a:ext uri="{BEBA8EAE-BF5A-486C-A8C5-ECC9F3942E4B}">
                <a14:imgProps xmlns:a14="http://schemas.microsoft.com/office/drawing/2010/main">
                  <a14:imgLayer r:embed="rId8">
                    <a14:imgEffect>
                      <a14:backgroundRemoval t="10000" b="90000" l="10000" r="90000">
                        <a14:foregroundMark x1="25664" y1="56364" x2="25664" y2="56364"/>
                        <a14:foregroundMark x1="75752" y1="52727" x2="75752" y2="52727"/>
                      </a14:backgroundRemoval>
                    </a14:imgEffect>
                  </a14:imgLayer>
                </a14:imgProps>
              </a:ext>
            </a:extLst>
          </a:blip>
          <a:srcRect r="36354" b="-13278"/>
          <a:stretch/>
        </p:blipFill>
        <p:spPr>
          <a:xfrm>
            <a:off x="8480024" y="4486501"/>
            <a:ext cx="1398120" cy="484475"/>
          </a:xfrm>
          <a:prstGeom prst="rect">
            <a:avLst/>
          </a:prstGeom>
        </p:spPr>
      </p:pic>
      <p:pic>
        <p:nvPicPr>
          <p:cNvPr id="22" name="Image 21">
            <a:extLst>
              <a:ext uri="{FF2B5EF4-FFF2-40B4-BE49-F238E27FC236}">
                <a16:creationId xmlns:a16="http://schemas.microsoft.com/office/drawing/2014/main" id="{81B821AA-E9D5-63FD-7AAE-321F141ADD3B}"/>
              </a:ext>
            </a:extLst>
          </p:cNvPr>
          <p:cNvPicPr>
            <a:picLocks noChangeAspect="1"/>
          </p:cNvPicPr>
          <p:nvPr/>
        </p:nvPicPr>
        <p:blipFill rotWithShape="1">
          <a:blip r:embed="rId7">
            <a:extLst>
              <a:ext uri="{BEBA8EAE-BF5A-486C-A8C5-ECC9F3942E4B}">
                <a14:imgProps xmlns:a14="http://schemas.microsoft.com/office/drawing/2010/main">
                  <a14:imgLayer r:embed="rId8">
                    <a14:imgEffect>
                      <a14:backgroundRemoval t="10000" b="90000" l="10000" r="90000">
                        <a14:foregroundMark x1="25664" y1="56364" x2="25664" y2="56364"/>
                        <a14:foregroundMark x1="75752" y1="52727" x2="75752" y2="52727"/>
                      </a14:backgroundRemoval>
                    </a14:imgEffect>
                  </a14:imgLayer>
                </a14:imgProps>
              </a:ext>
            </a:extLst>
          </a:blip>
          <a:srcRect r="56937" b="-13278"/>
          <a:stretch/>
        </p:blipFill>
        <p:spPr>
          <a:xfrm>
            <a:off x="8480024" y="5052676"/>
            <a:ext cx="945969" cy="484475"/>
          </a:xfrm>
          <a:prstGeom prst="rect">
            <a:avLst/>
          </a:prstGeom>
        </p:spPr>
      </p:pic>
      <p:pic>
        <p:nvPicPr>
          <p:cNvPr id="24" name="Image 23">
            <a:extLst>
              <a:ext uri="{FF2B5EF4-FFF2-40B4-BE49-F238E27FC236}">
                <a16:creationId xmlns:a16="http://schemas.microsoft.com/office/drawing/2014/main" id="{8263759E-49BE-3A3B-9FE0-86706B97BE8A}"/>
              </a:ext>
            </a:extLst>
          </p:cNvPr>
          <p:cNvPicPr>
            <a:picLocks noChangeAspect="1"/>
          </p:cNvPicPr>
          <p:nvPr/>
        </p:nvPicPr>
        <p:blipFill rotWithShape="1">
          <a:blip r:embed="rId7">
            <a:extLst>
              <a:ext uri="{BEBA8EAE-BF5A-486C-A8C5-ECC9F3942E4B}">
                <a14:imgProps xmlns:a14="http://schemas.microsoft.com/office/drawing/2010/main">
                  <a14:imgLayer r:embed="rId8">
                    <a14:imgEffect>
                      <a14:backgroundRemoval t="10000" b="90000" l="10000" r="90000">
                        <a14:foregroundMark x1="25664" y1="56364" x2="25664" y2="56364"/>
                        <a14:foregroundMark x1="75752" y1="52727" x2="75752" y2="52727"/>
                      </a14:backgroundRemoval>
                    </a14:imgEffect>
                  </a14:imgLayer>
                </a14:imgProps>
              </a:ext>
            </a:extLst>
          </a:blip>
          <a:srcRect r="56937" b="-13278"/>
          <a:stretch/>
        </p:blipFill>
        <p:spPr>
          <a:xfrm>
            <a:off x="8480023" y="2866543"/>
            <a:ext cx="945969" cy="484475"/>
          </a:xfrm>
          <a:prstGeom prst="rect">
            <a:avLst/>
          </a:prstGeom>
        </p:spPr>
      </p:pic>
      <p:sp>
        <p:nvSpPr>
          <p:cNvPr id="4" name="ZoneTexte 3">
            <a:extLst>
              <a:ext uri="{FF2B5EF4-FFF2-40B4-BE49-F238E27FC236}">
                <a16:creationId xmlns:a16="http://schemas.microsoft.com/office/drawing/2014/main" id="{B66E7230-46E2-6107-D124-0F5847C71900}"/>
              </a:ext>
            </a:extLst>
          </p:cNvPr>
          <p:cNvSpPr txBox="1"/>
          <p:nvPr/>
        </p:nvSpPr>
        <p:spPr>
          <a:xfrm>
            <a:off x="8660448" y="265814"/>
            <a:ext cx="1531088" cy="42768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b="1">
                <a:solidFill>
                  <a:schemeClr val="bg2">
                    <a:lumMod val="50000"/>
                  </a:schemeClr>
                </a:solidFill>
              </a:rPr>
              <a:t>Impact</a:t>
            </a:r>
          </a:p>
        </p:txBody>
      </p:sp>
    </p:spTree>
    <p:extLst>
      <p:ext uri="{BB962C8B-B14F-4D97-AF65-F5344CB8AC3E}">
        <p14:creationId xmlns:p14="http://schemas.microsoft.com/office/powerpoint/2010/main" val="19976229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2" name="object 2"/>
          <p:cNvSpPr txBox="1">
            <a:spLocks noGrp="1"/>
          </p:cNvSpPr>
          <p:nvPr>
            <p:ph type="title"/>
          </p:nvPr>
        </p:nvSpPr>
        <p:spPr>
          <a:xfrm>
            <a:off x="617856" y="107430"/>
            <a:ext cx="5478144" cy="647482"/>
          </a:xfrm>
          <a:prstGeom prst="rect">
            <a:avLst/>
          </a:prstGeom>
          <a:noFill/>
        </p:spPr>
        <p:txBody>
          <a:bodyPr vert="horz" wrap="square" lIns="0" tIns="0" rIns="0" bIns="0" rtlCol="0" anchor="b" anchorCtr="0">
            <a:noAutofit/>
          </a:bodyPr>
          <a:lstStyle/>
          <a:p>
            <a:r>
              <a:rPr lang="fr-FR" sz="3200">
                <a:solidFill>
                  <a:srgbClr val="00B050"/>
                </a:solidFill>
                <a:latin typeface="+mj-lt"/>
                <a:cs typeface="+mj-cs"/>
              </a:rPr>
              <a:t>Annex 4b : </a:t>
            </a:r>
            <a:r>
              <a:rPr lang="en-US" sz="3200">
                <a:solidFill>
                  <a:srgbClr val="00B050"/>
                </a:solidFill>
                <a:latin typeface="+mj-lt"/>
                <a:cs typeface="+mj-cs"/>
              </a:rPr>
              <a:t>Calculation</a:t>
            </a:r>
          </a:p>
        </p:txBody>
      </p:sp>
      <p:graphicFrame>
        <p:nvGraphicFramePr>
          <p:cNvPr id="5" name="Tableau 4">
            <a:extLst>
              <a:ext uri="{FF2B5EF4-FFF2-40B4-BE49-F238E27FC236}">
                <a16:creationId xmlns:a16="http://schemas.microsoft.com/office/drawing/2014/main" id="{BB5E2B32-838A-3BE4-DFBB-AD0B449D69C1}"/>
              </a:ext>
            </a:extLst>
          </p:cNvPr>
          <p:cNvGraphicFramePr>
            <a:graphicFrameLocks noGrp="1"/>
          </p:cNvGraphicFramePr>
          <p:nvPr>
            <p:extLst>
              <p:ext uri="{D42A27DB-BD31-4B8C-83A1-F6EECF244321}">
                <p14:modId xmlns:p14="http://schemas.microsoft.com/office/powerpoint/2010/main" val="654683825"/>
              </p:ext>
            </p:extLst>
          </p:nvPr>
        </p:nvGraphicFramePr>
        <p:xfrm>
          <a:off x="318674" y="789547"/>
          <a:ext cx="11554651" cy="6015715"/>
        </p:xfrm>
        <a:graphic>
          <a:graphicData uri="http://schemas.openxmlformats.org/drawingml/2006/table">
            <a:tbl>
              <a:tblPr firstRow="1">
                <a:tableStyleId>{5C22544A-7EE6-4342-B048-85BDC9FD1C3A}</a:tableStyleId>
              </a:tblPr>
              <a:tblGrid>
                <a:gridCol w="125738">
                  <a:extLst>
                    <a:ext uri="{9D8B030D-6E8A-4147-A177-3AD203B41FA5}">
                      <a16:colId xmlns:a16="http://schemas.microsoft.com/office/drawing/2014/main" val="3614931051"/>
                    </a:ext>
                  </a:extLst>
                </a:gridCol>
                <a:gridCol w="838250">
                  <a:extLst>
                    <a:ext uri="{9D8B030D-6E8A-4147-A177-3AD203B41FA5}">
                      <a16:colId xmlns:a16="http://schemas.microsoft.com/office/drawing/2014/main" val="3828006727"/>
                    </a:ext>
                  </a:extLst>
                </a:gridCol>
                <a:gridCol w="2011801">
                  <a:extLst>
                    <a:ext uri="{9D8B030D-6E8A-4147-A177-3AD203B41FA5}">
                      <a16:colId xmlns:a16="http://schemas.microsoft.com/office/drawing/2014/main" val="4081100427"/>
                    </a:ext>
                  </a:extLst>
                </a:gridCol>
                <a:gridCol w="827727">
                  <a:extLst>
                    <a:ext uri="{9D8B030D-6E8A-4147-A177-3AD203B41FA5}">
                      <a16:colId xmlns:a16="http://schemas.microsoft.com/office/drawing/2014/main" val="3456665793"/>
                    </a:ext>
                  </a:extLst>
                </a:gridCol>
                <a:gridCol w="2222204">
                  <a:extLst>
                    <a:ext uri="{9D8B030D-6E8A-4147-A177-3AD203B41FA5}">
                      <a16:colId xmlns:a16="http://schemas.microsoft.com/office/drawing/2014/main" val="3349168138"/>
                    </a:ext>
                  </a:extLst>
                </a:gridCol>
                <a:gridCol w="1562986">
                  <a:extLst>
                    <a:ext uri="{9D8B030D-6E8A-4147-A177-3AD203B41FA5}">
                      <a16:colId xmlns:a16="http://schemas.microsoft.com/office/drawing/2014/main" val="3196731847"/>
                    </a:ext>
                  </a:extLst>
                </a:gridCol>
                <a:gridCol w="1169582">
                  <a:extLst>
                    <a:ext uri="{9D8B030D-6E8A-4147-A177-3AD203B41FA5}">
                      <a16:colId xmlns:a16="http://schemas.microsoft.com/office/drawing/2014/main" val="219689388"/>
                    </a:ext>
                  </a:extLst>
                </a:gridCol>
                <a:gridCol w="1244009">
                  <a:extLst>
                    <a:ext uri="{9D8B030D-6E8A-4147-A177-3AD203B41FA5}">
                      <a16:colId xmlns:a16="http://schemas.microsoft.com/office/drawing/2014/main" val="3928534076"/>
                    </a:ext>
                  </a:extLst>
                </a:gridCol>
                <a:gridCol w="1552354">
                  <a:extLst>
                    <a:ext uri="{9D8B030D-6E8A-4147-A177-3AD203B41FA5}">
                      <a16:colId xmlns:a16="http://schemas.microsoft.com/office/drawing/2014/main" val="4171081744"/>
                    </a:ext>
                  </a:extLst>
                </a:gridCol>
              </a:tblGrid>
              <a:tr h="401726">
                <a:tc>
                  <a:txBody>
                    <a:bodyPr/>
                    <a:lstStyle/>
                    <a:p>
                      <a:pPr algn="l" fontAlgn="b"/>
                      <a:r>
                        <a:rPr lang="fr-FR" sz="1100" u="none" strike="noStrike">
                          <a:effectLst/>
                        </a:rPr>
                        <a:t>#</a:t>
                      </a:r>
                      <a:endParaRPr lang="fr-FR" sz="1100" b="1" i="0" u="none" strike="noStrike">
                        <a:solidFill>
                          <a:srgbClr val="FFFFFF"/>
                        </a:solidFill>
                        <a:effectLst/>
                        <a:latin typeface="Calibri" panose="020F0502020204030204" pitchFamily="34" charset="0"/>
                      </a:endParaRPr>
                    </a:p>
                  </a:txBody>
                  <a:tcPr marL="3616" marR="3616" marT="3616" marB="0" anchor="b"/>
                </a:tc>
                <a:tc>
                  <a:txBody>
                    <a:bodyPr/>
                    <a:lstStyle/>
                    <a:p>
                      <a:pPr algn="ctr" fontAlgn="b"/>
                      <a:r>
                        <a:rPr lang="fr-FR" sz="1400" u="none" strike="noStrike">
                          <a:effectLst/>
                        </a:rPr>
                        <a:t>Function</a:t>
                      </a:r>
                      <a:endParaRPr lang="fr-FR" sz="1400" b="1" i="0" u="none" strike="noStrike">
                        <a:solidFill>
                          <a:srgbClr val="FFFFFF"/>
                        </a:solidFill>
                        <a:effectLst/>
                        <a:latin typeface="Calibri" panose="020F0502020204030204" pitchFamily="34" charset="0"/>
                      </a:endParaRPr>
                    </a:p>
                  </a:txBody>
                  <a:tcPr marL="3616" marR="3616" marT="3616" marB="0" anchor="ctr"/>
                </a:tc>
                <a:tc>
                  <a:txBody>
                    <a:bodyPr/>
                    <a:lstStyle/>
                    <a:p>
                      <a:pPr algn="ctr" fontAlgn="b"/>
                      <a:r>
                        <a:rPr lang="fr-FR" sz="1400" u="none" strike="noStrike">
                          <a:effectLst/>
                        </a:rPr>
                        <a:t>Use Case</a:t>
                      </a:r>
                      <a:endParaRPr lang="fr-FR" sz="1400" b="1" i="0" u="none" strike="noStrike">
                        <a:solidFill>
                          <a:srgbClr val="FFFFFF"/>
                        </a:solidFill>
                        <a:effectLst/>
                        <a:latin typeface="Calibri" panose="020F0502020204030204" pitchFamily="34" charset="0"/>
                      </a:endParaRPr>
                    </a:p>
                  </a:txBody>
                  <a:tcPr marL="3616" marR="3616" marT="3616" marB="0" anchor="ctr"/>
                </a:tc>
                <a:tc>
                  <a:txBody>
                    <a:bodyPr/>
                    <a:lstStyle/>
                    <a:p>
                      <a:pPr algn="ctr" fontAlgn="b"/>
                      <a:r>
                        <a:rPr lang="fr-FR" sz="1400" u="none" strike="noStrike">
                          <a:effectLst/>
                        </a:rPr>
                        <a:t># of sponsors</a:t>
                      </a:r>
                      <a:endParaRPr lang="fr-FR" sz="1400" b="1" i="0" u="none" strike="noStrike">
                        <a:solidFill>
                          <a:srgbClr val="FFFFFF"/>
                        </a:solidFill>
                        <a:effectLst/>
                        <a:latin typeface="Calibri" panose="020F0502020204030204" pitchFamily="34" charset="0"/>
                      </a:endParaRPr>
                    </a:p>
                  </a:txBody>
                  <a:tcPr marL="3616" marR="3616" marT="3616" marB="0" anchor="ctr"/>
                </a:tc>
                <a:tc>
                  <a:txBody>
                    <a:bodyPr/>
                    <a:lstStyle/>
                    <a:p>
                      <a:pPr algn="ctr" fontAlgn="b"/>
                      <a:r>
                        <a:rPr lang="fr-FR" sz="1400" u="none" strike="noStrike">
                          <a:effectLst/>
                        </a:rPr>
                        <a:t>Facilité d'implémentation</a:t>
                      </a:r>
                      <a:endParaRPr lang="fr-FR" sz="1400" b="1" i="0" u="none" strike="noStrike">
                        <a:solidFill>
                          <a:srgbClr val="FFFFFF"/>
                        </a:solidFill>
                        <a:effectLst/>
                        <a:latin typeface="Calibri" panose="020F0502020204030204" pitchFamily="34" charset="0"/>
                      </a:endParaRPr>
                    </a:p>
                  </a:txBody>
                  <a:tcPr marL="3616" marR="3616" marT="3616" marB="0" anchor="ctr"/>
                </a:tc>
                <a:tc>
                  <a:txBody>
                    <a:bodyPr/>
                    <a:lstStyle/>
                    <a:p>
                      <a:pPr algn="ctr" fontAlgn="b"/>
                      <a:r>
                        <a:rPr lang="fr-FR" sz="1400" u="none" strike="noStrike">
                          <a:effectLst/>
                        </a:rPr>
                        <a:t>Impact prévu</a:t>
                      </a:r>
                      <a:endParaRPr lang="fr-FR" sz="1400" b="1" i="0" u="none" strike="noStrike">
                        <a:solidFill>
                          <a:srgbClr val="FFFFFF"/>
                        </a:solidFill>
                        <a:effectLst/>
                        <a:latin typeface="Calibri" panose="020F0502020204030204" pitchFamily="34" charset="0"/>
                      </a:endParaRPr>
                    </a:p>
                  </a:txBody>
                  <a:tcPr marL="3616" marR="3616" marT="3616" marB="0" anchor="ctr"/>
                </a:tc>
                <a:tc>
                  <a:txBody>
                    <a:bodyPr/>
                    <a:lstStyle/>
                    <a:p>
                      <a:pPr algn="ctr" fontAlgn="b"/>
                      <a:r>
                        <a:rPr lang="fr-FR" sz="1400" u="none" strike="noStrike">
                          <a:effectLst/>
                        </a:rPr>
                        <a:t>Impact Chiffré (en million)</a:t>
                      </a:r>
                      <a:endParaRPr lang="fr-FR" sz="1400" b="1" i="0" u="none" strike="noStrike">
                        <a:solidFill>
                          <a:srgbClr val="FFFFFF"/>
                        </a:solidFill>
                        <a:effectLst/>
                        <a:latin typeface="Calibri" panose="020F0502020204030204" pitchFamily="34" charset="0"/>
                      </a:endParaRPr>
                    </a:p>
                  </a:txBody>
                  <a:tcPr marL="3616" marR="3616" marT="3616" marB="0" anchor="ctr"/>
                </a:tc>
                <a:tc>
                  <a:txBody>
                    <a:bodyPr/>
                    <a:lstStyle/>
                    <a:p>
                      <a:pPr algn="ctr" fontAlgn="b"/>
                      <a:r>
                        <a:rPr lang="en-US" sz="1400" u="none" strike="noStrike">
                          <a:effectLst/>
                        </a:rPr>
                        <a:t>Facilité (1 - easy to 6 - Hard)</a:t>
                      </a:r>
                      <a:endParaRPr lang="en-US" sz="1400" b="1" i="0" u="none" strike="noStrike">
                        <a:solidFill>
                          <a:srgbClr val="FFFFFF"/>
                        </a:solidFill>
                        <a:effectLst/>
                        <a:latin typeface="Calibri" panose="020F0502020204030204" pitchFamily="34" charset="0"/>
                      </a:endParaRPr>
                    </a:p>
                  </a:txBody>
                  <a:tcPr marL="3616" marR="3616" marT="3616" marB="0" anchor="ctr"/>
                </a:tc>
                <a:tc>
                  <a:txBody>
                    <a:bodyPr/>
                    <a:lstStyle/>
                    <a:p>
                      <a:pPr algn="ctr" fontAlgn="b"/>
                      <a:r>
                        <a:rPr lang="fr-FR" sz="1400" u="none" strike="noStrike">
                          <a:effectLst/>
                        </a:rPr>
                        <a:t>Source Impact prévu</a:t>
                      </a:r>
                      <a:endParaRPr lang="fr-FR" sz="1400" b="1" i="0" u="none" strike="noStrike">
                        <a:solidFill>
                          <a:srgbClr val="FFFFFF"/>
                        </a:solidFill>
                        <a:effectLst/>
                        <a:latin typeface="Calibri" panose="020F0502020204030204" pitchFamily="34" charset="0"/>
                      </a:endParaRPr>
                    </a:p>
                  </a:txBody>
                  <a:tcPr marL="3616" marR="3616" marT="3616" marB="0" anchor="ctr"/>
                </a:tc>
                <a:extLst>
                  <a:ext uri="{0D108BD9-81ED-4DB2-BD59-A6C34878D82A}">
                    <a16:rowId xmlns:a16="http://schemas.microsoft.com/office/drawing/2014/main" val="1812404153"/>
                  </a:ext>
                </a:extLst>
              </a:tr>
              <a:tr h="269512">
                <a:tc>
                  <a:txBody>
                    <a:bodyPr/>
                    <a:lstStyle/>
                    <a:p>
                      <a:pPr algn="r" fontAlgn="b"/>
                      <a:r>
                        <a:rPr lang="fr-FR" sz="1100" u="none" strike="noStrike">
                          <a:effectLst/>
                        </a:rPr>
                        <a:t>1</a:t>
                      </a:r>
                      <a:endParaRPr lang="fr-FR" sz="1100" b="0" i="0" u="none" strike="noStrike">
                        <a:solidFill>
                          <a:srgbClr val="000004"/>
                        </a:solidFill>
                        <a:effectLst/>
                        <a:latin typeface="Calibri" panose="020F0502020204030204" pitchFamily="34" charset="0"/>
                      </a:endParaRPr>
                    </a:p>
                  </a:txBody>
                  <a:tcPr marL="3616" marR="3616" marT="3616" marB="0" anchor="ctr"/>
                </a:tc>
                <a:tc>
                  <a:txBody>
                    <a:bodyPr/>
                    <a:lstStyle/>
                    <a:p>
                      <a:pPr algn="l" fontAlgn="b"/>
                      <a:r>
                        <a:rPr lang="fr-FR" sz="1200" u="none" strike="noStrike">
                          <a:effectLst/>
                        </a:rPr>
                        <a:t>Supply chain</a:t>
                      </a:r>
                      <a:endParaRPr lang="fr-FR" sz="1200" b="0" i="0" u="none" strike="noStrike">
                        <a:solidFill>
                          <a:srgbClr val="000004"/>
                        </a:solidFill>
                        <a:effectLst/>
                        <a:latin typeface="Calibri" panose="020F0502020204030204" pitchFamily="34" charset="0"/>
                      </a:endParaRPr>
                    </a:p>
                  </a:txBody>
                  <a:tcPr marL="3616" marR="3616" marT="3616" marB="0" anchor="ctr"/>
                </a:tc>
                <a:tc>
                  <a:txBody>
                    <a:bodyPr/>
                    <a:lstStyle/>
                    <a:p>
                      <a:pPr algn="l" fontAlgn="b"/>
                      <a:r>
                        <a:rPr lang="fr-FR" sz="1200" u="none" strike="noStrike">
                          <a:effectLst/>
                        </a:rPr>
                        <a:t>Data-based inventories</a:t>
                      </a:r>
                      <a:endParaRPr lang="fr-FR" sz="1200" b="0" i="0" u="none" strike="noStrike">
                        <a:solidFill>
                          <a:srgbClr val="000004"/>
                        </a:solidFill>
                        <a:effectLst/>
                        <a:latin typeface="Calibri" panose="020F0502020204030204" pitchFamily="34" charset="0"/>
                      </a:endParaRPr>
                    </a:p>
                  </a:txBody>
                  <a:tcPr marL="3616" marR="3616" marT="3616" marB="0" anchor="ctr"/>
                </a:tc>
                <a:tc>
                  <a:txBody>
                    <a:bodyPr/>
                    <a:lstStyle/>
                    <a:p>
                      <a:pPr algn="ctr" fontAlgn="b"/>
                      <a:r>
                        <a:rPr lang="fr-FR" sz="1200" u="none" strike="noStrike">
                          <a:effectLst/>
                        </a:rPr>
                        <a:t>4</a:t>
                      </a:r>
                      <a:endParaRPr lang="fr-FR" sz="1200" b="0" i="0" u="none" strike="noStrike">
                        <a:solidFill>
                          <a:srgbClr val="000004"/>
                        </a:solidFill>
                        <a:effectLst/>
                        <a:latin typeface="Calibri" panose="020F0502020204030204" pitchFamily="34" charset="0"/>
                      </a:endParaRPr>
                    </a:p>
                  </a:txBody>
                  <a:tcPr marL="3616" marR="3616" marT="3616" marB="0" anchor="ctr"/>
                </a:tc>
                <a:tc>
                  <a:txBody>
                    <a:bodyPr/>
                    <a:lstStyle/>
                    <a:p>
                      <a:pPr algn="l" fontAlgn="b"/>
                      <a:r>
                        <a:rPr lang="en-US" sz="1200" u="none" strike="noStrike">
                          <a:effectLst/>
                        </a:rPr>
                        <a:t>From scracth  and long Medium</a:t>
                      </a:r>
                      <a:endParaRPr lang="en-US" sz="1200" b="0" i="0" u="none" strike="noStrike">
                        <a:solidFill>
                          <a:srgbClr val="000004"/>
                        </a:solidFill>
                        <a:effectLst/>
                        <a:latin typeface="Calibri" panose="020F0502020204030204" pitchFamily="34" charset="0"/>
                      </a:endParaRPr>
                    </a:p>
                  </a:txBody>
                  <a:tcPr marL="3616" marR="3616" marT="3616" marB="0" anchor="ctr"/>
                </a:tc>
                <a:tc>
                  <a:txBody>
                    <a:bodyPr/>
                    <a:lstStyle/>
                    <a:p>
                      <a:pPr algn="l" fontAlgn="b"/>
                      <a:r>
                        <a:rPr lang="fr-FR" sz="1200" u="none" strike="noStrike">
                          <a:effectLst/>
                        </a:rPr>
                        <a:t>Haut (plus de de OUT OF STOCK) - 50M de loss</a:t>
                      </a:r>
                      <a:endParaRPr lang="fr-FR" sz="1200" b="0" i="0" u="none" strike="noStrike">
                        <a:solidFill>
                          <a:srgbClr val="000004"/>
                        </a:solidFill>
                        <a:effectLst/>
                        <a:latin typeface="Calibri" panose="020F0502020204030204" pitchFamily="34" charset="0"/>
                      </a:endParaRPr>
                    </a:p>
                  </a:txBody>
                  <a:tcPr marL="3616" marR="3616" marT="3616" marB="0" anchor="ctr"/>
                </a:tc>
                <a:tc>
                  <a:txBody>
                    <a:bodyPr/>
                    <a:lstStyle/>
                    <a:p>
                      <a:pPr algn="ctr" fontAlgn="b"/>
                      <a:r>
                        <a:rPr lang="fr-FR" sz="1200" u="none" strike="noStrike">
                          <a:effectLst/>
                        </a:rPr>
                        <a:t>20</a:t>
                      </a:r>
                      <a:endParaRPr lang="fr-FR" sz="1200" b="0" i="0" u="none" strike="noStrike">
                        <a:solidFill>
                          <a:srgbClr val="575757"/>
                        </a:solidFill>
                        <a:effectLst/>
                        <a:latin typeface="Henderson BCG Sans"/>
                      </a:endParaRPr>
                    </a:p>
                  </a:txBody>
                  <a:tcPr marL="3616" marR="3616" marT="3616" marB="0" anchor="ctr"/>
                </a:tc>
                <a:tc>
                  <a:txBody>
                    <a:bodyPr/>
                    <a:lstStyle/>
                    <a:p>
                      <a:pPr algn="ctr" fontAlgn="b"/>
                      <a:r>
                        <a:rPr lang="fr-FR" sz="1200" u="none" strike="noStrike">
                          <a:effectLst/>
                        </a:rPr>
                        <a:t>5</a:t>
                      </a:r>
                      <a:endParaRPr lang="fr-FR" sz="1200" b="0" i="0" u="none" strike="noStrike">
                        <a:solidFill>
                          <a:srgbClr val="000004"/>
                        </a:solidFill>
                        <a:effectLst/>
                        <a:latin typeface="Calibri" panose="020F0502020204030204" pitchFamily="34" charset="0"/>
                      </a:endParaRPr>
                    </a:p>
                  </a:txBody>
                  <a:tcPr marL="3616" marR="3616" marT="3616" marB="0" anchor="ctr"/>
                </a:tc>
                <a:tc>
                  <a:txBody>
                    <a:bodyPr/>
                    <a:lstStyle/>
                    <a:p>
                      <a:pPr algn="l" fontAlgn="b"/>
                      <a:r>
                        <a:rPr lang="fr-FR" sz="1200" u="none" strike="noStrike">
                          <a:effectLst/>
                        </a:rPr>
                        <a:t>interveiw</a:t>
                      </a:r>
                      <a:endParaRPr lang="fr-FR" sz="1200" b="0" i="0" u="none" strike="noStrike">
                        <a:solidFill>
                          <a:srgbClr val="575757"/>
                        </a:solidFill>
                        <a:effectLst/>
                        <a:latin typeface="Henderson BCG Sans"/>
                      </a:endParaRPr>
                    </a:p>
                  </a:txBody>
                  <a:tcPr marL="3616" marR="3616" marT="3616" marB="0" anchor="ctr"/>
                </a:tc>
                <a:extLst>
                  <a:ext uri="{0D108BD9-81ED-4DB2-BD59-A6C34878D82A}">
                    <a16:rowId xmlns:a16="http://schemas.microsoft.com/office/drawing/2014/main" val="2814890372"/>
                  </a:ext>
                </a:extLst>
              </a:tr>
              <a:tr h="676323">
                <a:tc>
                  <a:txBody>
                    <a:bodyPr/>
                    <a:lstStyle/>
                    <a:p>
                      <a:pPr algn="r" fontAlgn="b"/>
                      <a:r>
                        <a:rPr lang="fr-FR" sz="1100" u="none" strike="noStrike">
                          <a:effectLst/>
                        </a:rPr>
                        <a:t>2</a:t>
                      </a:r>
                      <a:endParaRPr lang="fr-FR" sz="1100" b="0" i="0" u="none" strike="noStrike">
                        <a:solidFill>
                          <a:srgbClr val="000004"/>
                        </a:solidFill>
                        <a:effectLst/>
                        <a:latin typeface="Calibri" panose="020F0502020204030204" pitchFamily="34" charset="0"/>
                      </a:endParaRPr>
                    </a:p>
                  </a:txBody>
                  <a:tcPr marL="3616" marR="3616" marT="3616" marB="0" anchor="ctr"/>
                </a:tc>
                <a:tc>
                  <a:txBody>
                    <a:bodyPr/>
                    <a:lstStyle/>
                    <a:p>
                      <a:pPr algn="l" fontAlgn="b"/>
                      <a:r>
                        <a:rPr lang="fr-FR" sz="1200" u="none" strike="noStrike">
                          <a:effectLst/>
                        </a:rPr>
                        <a:t>Supply chain</a:t>
                      </a:r>
                      <a:endParaRPr lang="fr-FR" sz="1200" b="0" i="0" u="none" strike="noStrike">
                        <a:solidFill>
                          <a:srgbClr val="000004"/>
                        </a:solidFill>
                        <a:effectLst/>
                        <a:latin typeface="Calibri" panose="020F0502020204030204" pitchFamily="34" charset="0"/>
                      </a:endParaRPr>
                    </a:p>
                  </a:txBody>
                  <a:tcPr marL="3616" marR="3616" marT="3616" marB="0" anchor="ctr"/>
                </a:tc>
                <a:tc>
                  <a:txBody>
                    <a:bodyPr/>
                    <a:lstStyle/>
                    <a:p>
                      <a:pPr algn="l" fontAlgn="b"/>
                      <a:r>
                        <a:rPr lang="fr-FR" sz="1200" u="none" strike="noStrike">
                          <a:effectLst/>
                        </a:rPr>
                        <a:t>Forecasted supply chain</a:t>
                      </a:r>
                      <a:endParaRPr lang="fr-FR" sz="1200" b="0" i="0" u="none" strike="noStrike">
                        <a:solidFill>
                          <a:srgbClr val="000004"/>
                        </a:solidFill>
                        <a:effectLst/>
                        <a:latin typeface="Calibri" panose="020F0502020204030204" pitchFamily="34" charset="0"/>
                      </a:endParaRPr>
                    </a:p>
                  </a:txBody>
                  <a:tcPr marL="3616" marR="3616" marT="3616" marB="0" anchor="ctr"/>
                </a:tc>
                <a:tc>
                  <a:txBody>
                    <a:bodyPr/>
                    <a:lstStyle/>
                    <a:p>
                      <a:pPr algn="ctr" fontAlgn="b"/>
                      <a:r>
                        <a:rPr lang="fr-FR" sz="1200" u="none" strike="noStrike">
                          <a:effectLst/>
                        </a:rPr>
                        <a:t>4</a:t>
                      </a:r>
                      <a:endParaRPr lang="fr-FR" sz="1200" b="0" i="0" u="none" strike="noStrike">
                        <a:solidFill>
                          <a:srgbClr val="000004"/>
                        </a:solidFill>
                        <a:effectLst/>
                        <a:latin typeface="Calibri" panose="020F0502020204030204" pitchFamily="34" charset="0"/>
                      </a:endParaRPr>
                    </a:p>
                  </a:txBody>
                  <a:tcPr marL="3616" marR="3616" marT="3616" marB="0" anchor="ctr"/>
                </a:tc>
                <a:tc>
                  <a:txBody>
                    <a:bodyPr/>
                    <a:lstStyle/>
                    <a:p>
                      <a:pPr algn="l" fontAlgn="b"/>
                      <a:r>
                        <a:rPr lang="fr-FR" sz="1200" u="none" strike="noStrike">
                          <a:effectLst/>
                        </a:rPr>
                        <a:t>Hard</a:t>
                      </a:r>
                      <a:endParaRPr lang="fr-FR" sz="1200" b="0" i="0" u="none" strike="noStrike">
                        <a:solidFill>
                          <a:srgbClr val="000004"/>
                        </a:solidFill>
                        <a:effectLst/>
                        <a:latin typeface="Calibri" panose="020F0502020204030204" pitchFamily="34" charset="0"/>
                      </a:endParaRPr>
                    </a:p>
                  </a:txBody>
                  <a:tcPr marL="3616" marR="3616" marT="3616" marB="0" anchor="ctr"/>
                </a:tc>
                <a:tc>
                  <a:txBody>
                    <a:bodyPr/>
                    <a:lstStyle/>
                    <a:p>
                      <a:pPr algn="l" fontAlgn="b"/>
                      <a:r>
                        <a:rPr lang="fr-FR" sz="1200" u="none" strike="noStrike">
                          <a:effectLst/>
                        </a:rPr>
                        <a:t>+4 à 6 % de revenue</a:t>
                      </a:r>
                      <a:br>
                        <a:rPr lang="fr-FR" sz="1200" u="none" strike="noStrike">
                          <a:effectLst/>
                        </a:rPr>
                      </a:br>
                      <a:r>
                        <a:rPr lang="fr-FR" sz="1200" u="none" strike="noStrike">
                          <a:effectLst/>
                        </a:rPr>
                        <a:t>(4% dans le calcul)</a:t>
                      </a:r>
                      <a:endParaRPr lang="fr-FR" sz="1200" b="0" i="0" u="none" strike="noStrike">
                        <a:solidFill>
                          <a:srgbClr val="000004"/>
                        </a:solidFill>
                        <a:effectLst/>
                        <a:latin typeface="Calibri" panose="020F0502020204030204" pitchFamily="34" charset="0"/>
                      </a:endParaRPr>
                    </a:p>
                  </a:txBody>
                  <a:tcPr marL="3616" marR="3616" marT="3616" marB="0" anchor="ctr"/>
                </a:tc>
                <a:tc>
                  <a:txBody>
                    <a:bodyPr/>
                    <a:lstStyle/>
                    <a:p>
                      <a:pPr algn="ctr" fontAlgn="b"/>
                      <a:r>
                        <a:rPr lang="fr-FR" sz="1200" u="none" strike="noStrike">
                          <a:effectLst/>
                        </a:rPr>
                        <a:t>105</a:t>
                      </a:r>
                      <a:endParaRPr lang="fr-FR" sz="1200" b="0" i="0" u="none" strike="noStrike">
                        <a:solidFill>
                          <a:srgbClr val="575757"/>
                        </a:solidFill>
                        <a:effectLst/>
                        <a:latin typeface="Henderson BCG Sans"/>
                      </a:endParaRPr>
                    </a:p>
                  </a:txBody>
                  <a:tcPr marL="3616" marR="3616" marT="3616" marB="0" anchor="ctr"/>
                </a:tc>
                <a:tc>
                  <a:txBody>
                    <a:bodyPr/>
                    <a:lstStyle/>
                    <a:p>
                      <a:pPr algn="ctr" fontAlgn="b"/>
                      <a:r>
                        <a:rPr lang="fr-FR" sz="1200" u="none" strike="noStrike">
                          <a:effectLst/>
                        </a:rPr>
                        <a:t>7</a:t>
                      </a:r>
                      <a:endParaRPr lang="fr-FR" sz="1200" b="0" i="0" u="none" strike="noStrike">
                        <a:solidFill>
                          <a:srgbClr val="000004"/>
                        </a:solidFill>
                        <a:effectLst/>
                        <a:latin typeface="Calibri" panose="020F0502020204030204" pitchFamily="34" charset="0"/>
                      </a:endParaRPr>
                    </a:p>
                  </a:txBody>
                  <a:tcPr marL="3616" marR="3616" marT="3616" marB="0" anchor="ctr"/>
                </a:tc>
                <a:tc>
                  <a:txBody>
                    <a:bodyPr/>
                    <a:lstStyle/>
                    <a:p>
                      <a:pPr algn="l" fontAlgn="b"/>
                      <a:r>
                        <a:rPr lang="fr-FR" sz="1200" u="sng" strike="noStrike">
                          <a:effectLst/>
                          <a:hlinkClick r:id="rId2"/>
                        </a:rPr>
                        <a:t>https://www.bcg.com/capabilities/operations/digital-supply-chain</a:t>
                      </a:r>
                      <a:endParaRPr lang="fr-FR" sz="1200" b="0" i="0" u="sng" strike="noStrike">
                        <a:solidFill>
                          <a:srgbClr val="424652"/>
                        </a:solidFill>
                        <a:effectLst/>
                        <a:latin typeface="Henderson BCG Sans"/>
                      </a:endParaRPr>
                    </a:p>
                  </a:txBody>
                  <a:tcPr marL="3616" marR="3616" marT="3616" marB="0" anchor="ctr"/>
                </a:tc>
                <a:extLst>
                  <a:ext uri="{0D108BD9-81ED-4DB2-BD59-A6C34878D82A}">
                    <a16:rowId xmlns:a16="http://schemas.microsoft.com/office/drawing/2014/main" val="2916068464"/>
                  </a:ext>
                </a:extLst>
              </a:tr>
              <a:tr h="269512">
                <a:tc>
                  <a:txBody>
                    <a:bodyPr/>
                    <a:lstStyle/>
                    <a:p>
                      <a:pPr algn="r" fontAlgn="b"/>
                      <a:r>
                        <a:rPr lang="fr-FR" sz="1100" u="none" strike="noStrike">
                          <a:effectLst/>
                        </a:rPr>
                        <a:t>3</a:t>
                      </a:r>
                      <a:endParaRPr lang="fr-FR" sz="1100" b="0" i="0" u="none" strike="noStrike">
                        <a:solidFill>
                          <a:srgbClr val="000004"/>
                        </a:solidFill>
                        <a:effectLst/>
                        <a:latin typeface="Calibri" panose="020F0502020204030204" pitchFamily="34" charset="0"/>
                      </a:endParaRPr>
                    </a:p>
                  </a:txBody>
                  <a:tcPr marL="3616" marR="3616" marT="3616" marB="0" anchor="ctr"/>
                </a:tc>
                <a:tc>
                  <a:txBody>
                    <a:bodyPr/>
                    <a:lstStyle/>
                    <a:p>
                      <a:pPr algn="l" fontAlgn="b"/>
                      <a:r>
                        <a:rPr lang="fr-FR" sz="1200" u="none" strike="noStrike">
                          <a:effectLst/>
                        </a:rPr>
                        <a:t>Sales</a:t>
                      </a:r>
                      <a:endParaRPr lang="fr-FR" sz="1200" b="0" i="0" u="none" strike="noStrike">
                        <a:solidFill>
                          <a:srgbClr val="000004"/>
                        </a:solidFill>
                        <a:effectLst/>
                        <a:latin typeface="Calibri" panose="020F0502020204030204" pitchFamily="34" charset="0"/>
                      </a:endParaRPr>
                    </a:p>
                  </a:txBody>
                  <a:tcPr marL="3616" marR="3616" marT="3616" marB="0" anchor="ctr"/>
                </a:tc>
                <a:tc>
                  <a:txBody>
                    <a:bodyPr/>
                    <a:lstStyle/>
                    <a:p>
                      <a:pPr algn="l" fontAlgn="b"/>
                      <a:r>
                        <a:rPr lang="fr-FR" sz="1200" u="none" strike="noStrike">
                          <a:effectLst/>
                        </a:rPr>
                        <a:t>Churn Prediction</a:t>
                      </a:r>
                      <a:endParaRPr lang="fr-FR" sz="1200" b="0" i="0" u="none" strike="noStrike">
                        <a:solidFill>
                          <a:srgbClr val="000004"/>
                        </a:solidFill>
                        <a:effectLst/>
                        <a:latin typeface="Calibri" panose="020F0502020204030204" pitchFamily="34" charset="0"/>
                      </a:endParaRPr>
                    </a:p>
                  </a:txBody>
                  <a:tcPr marL="3616" marR="3616" marT="3616" marB="0" anchor="ctr"/>
                </a:tc>
                <a:tc>
                  <a:txBody>
                    <a:bodyPr/>
                    <a:lstStyle/>
                    <a:p>
                      <a:pPr algn="ctr" fontAlgn="b"/>
                      <a:r>
                        <a:rPr lang="fr-FR" sz="1200" u="none" strike="noStrike">
                          <a:effectLst/>
                        </a:rPr>
                        <a:t>7</a:t>
                      </a:r>
                      <a:endParaRPr lang="fr-FR" sz="1200" b="0" i="0" u="none" strike="noStrike">
                        <a:solidFill>
                          <a:srgbClr val="000004"/>
                        </a:solidFill>
                        <a:effectLst/>
                        <a:latin typeface="Calibri" panose="020F0502020204030204" pitchFamily="34" charset="0"/>
                      </a:endParaRPr>
                    </a:p>
                  </a:txBody>
                  <a:tcPr marL="3616" marR="3616" marT="3616" marB="0" anchor="ctr"/>
                </a:tc>
                <a:tc>
                  <a:txBody>
                    <a:bodyPr/>
                    <a:lstStyle/>
                    <a:p>
                      <a:pPr algn="l" fontAlgn="b"/>
                      <a:r>
                        <a:rPr lang="en-US" sz="1200" u="none" strike="noStrike">
                          <a:effectLst/>
                        </a:rPr>
                        <a:t>Easy to Medium (lack of marketing data + fear)</a:t>
                      </a:r>
                      <a:endParaRPr lang="en-US" sz="1200" b="0" i="0" u="none" strike="noStrike">
                        <a:solidFill>
                          <a:srgbClr val="000004"/>
                        </a:solidFill>
                        <a:effectLst/>
                        <a:latin typeface="Calibri" panose="020F0502020204030204" pitchFamily="34" charset="0"/>
                      </a:endParaRPr>
                    </a:p>
                  </a:txBody>
                  <a:tcPr marL="3616" marR="3616" marT="3616" marB="0" anchor="ctr"/>
                </a:tc>
                <a:tc>
                  <a:txBody>
                    <a:bodyPr/>
                    <a:lstStyle/>
                    <a:p>
                      <a:pPr algn="l" fontAlgn="b"/>
                      <a:r>
                        <a:rPr lang="en-US" sz="1200" u="none" strike="noStrike">
                          <a:effectLst/>
                        </a:rPr>
                        <a:t>Medium (+1% of income)</a:t>
                      </a:r>
                      <a:br>
                        <a:rPr lang="en-US" sz="1200" u="none" strike="noStrike">
                          <a:effectLst/>
                        </a:rPr>
                      </a:br>
                      <a:r>
                        <a:rPr lang="en-US" sz="1200" u="none" strike="noStrike">
                          <a:effectLst/>
                        </a:rPr>
                        <a:t>Bank : attrition = -10/15%</a:t>
                      </a:r>
                      <a:endParaRPr lang="en-US" sz="1200" b="0" i="0" u="none" strike="noStrike">
                        <a:solidFill>
                          <a:srgbClr val="000004"/>
                        </a:solidFill>
                        <a:effectLst/>
                        <a:latin typeface="Calibri" panose="020F0502020204030204" pitchFamily="34" charset="0"/>
                      </a:endParaRPr>
                    </a:p>
                  </a:txBody>
                  <a:tcPr marL="3616" marR="3616" marT="3616" marB="0" anchor="ctr"/>
                </a:tc>
                <a:tc>
                  <a:txBody>
                    <a:bodyPr/>
                    <a:lstStyle/>
                    <a:p>
                      <a:pPr algn="ctr" fontAlgn="b"/>
                      <a:r>
                        <a:rPr lang="fr-FR" sz="1200" u="none" strike="noStrike">
                          <a:effectLst/>
                        </a:rPr>
                        <a:t>31</a:t>
                      </a:r>
                      <a:endParaRPr lang="fr-FR" sz="1200" b="0" i="0" u="none" strike="noStrike">
                        <a:solidFill>
                          <a:srgbClr val="000004"/>
                        </a:solidFill>
                        <a:effectLst/>
                        <a:latin typeface="Calibri" panose="020F0502020204030204" pitchFamily="34" charset="0"/>
                      </a:endParaRPr>
                    </a:p>
                  </a:txBody>
                  <a:tcPr marL="3616" marR="3616" marT="3616" marB="0" anchor="ctr"/>
                </a:tc>
                <a:tc>
                  <a:txBody>
                    <a:bodyPr/>
                    <a:lstStyle/>
                    <a:p>
                      <a:pPr algn="ctr" fontAlgn="b"/>
                      <a:r>
                        <a:rPr lang="fr-FR" sz="1200" u="none" strike="noStrike">
                          <a:effectLst/>
                        </a:rPr>
                        <a:t>2</a:t>
                      </a:r>
                      <a:endParaRPr lang="fr-FR" sz="1200" b="0" i="0" u="none" strike="noStrike">
                        <a:solidFill>
                          <a:srgbClr val="000004"/>
                        </a:solidFill>
                        <a:effectLst/>
                        <a:latin typeface="Calibri" panose="020F0502020204030204" pitchFamily="34" charset="0"/>
                      </a:endParaRPr>
                    </a:p>
                  </a:txBody>
                  <a:tcPr marL="3616" marR="3616" marT="3616" marB="0" anchor="ctr"/>
                </a:tc>
                <a:tc>
                  <a:txBody>
                    <a:bodyPr/>
                    <a:lstStyle/>
                    <a:p>
                      <a:pPr algn="l" fontAlgn="b"/>
                      <a:r>
                        <a:rPr lang="fr-FR" sz="1200" u="none" strike="noStrike">
                          <a:effectLst/>
                        </a:rPr>
                        <a:t>interview je crois</a:t>
                      </a:r>
                      <a:endParaRPr lang="fr-FR" sz="1200" b="0" i="0" u="none" strike="noStrike">
                        <a:solidFill>
                          <a:srgbClr val="000004"/>
                        </a:solidFill>
                        <a:effectLst/>
                        <a:latin typeface="Calibri" panose="020F0502020204030204" pitchFamily="34" charset="0"/>
                      </a:endParaRPr>
                    </a:p>
                  </a:txBody>
                  <a:tcPr marL="3616" marR="3616" marT="3616" marB="0" anchor="ctr"/>
                </a:tc>
                <a:extLst>
                  <a:ext uri="{0D108BD9-81ED-4DB2-BD59-A6C34878D82A}">
                    <a16:rowId xmlns:a16="http://schemas.microsoft.com/office/drawing/2014/main" val="695288861"/>
                  </a:ext>
                </a:extLst>
              </a:tr>
              <a:tr h="401726">
                <a:tc>
                  <a:txBody>
                    <a:bodyPr/>
                    <a:lstStyle/>
                    <a:p>
                      <a:pPr algn="r" fontAlgn="b"/>
                      <a:r>
                        <a:rPr lang="fr-FR" sz="1100" u="none" strike="noStrike">
                          <a:effectLst/>
                        </a:rPr>
                        <a:t>4</a:t>
                      </a:r>
                      <a:endParaRPr lang="fr-FR" sz="1100" b="0" i="0" u="none" strike="noStrike">
                        <a:solidFill>
                          <a:srgbClr val="000004"/>
                        </a:solidFill>
                        <a:effectLst/>
                        <a:latin typeface="Calibri" panose="020F0502020204030204" pitchFamily="34" charset="0"/>
                      </a:endParaRPr>
                    </a:p>
                  </a:txBody>
                  <a:tcPr marL="3616" marR="3616" marT="3616" marB="0" anchor="ctr"/>
                </a:tc>
                <a:tc>
                  <a:txBody>
                    <a:bodyPr/>
                    <a:lstStyle/>
                    <a:p>
                      <a:pPr algn="l" fontAlgn="b"/>
                      <a:r>
                        <a:rPr lang="fr-FR" sz="1200" u="none" strike="noStrike">
                          <a:effectLst/>
                        </a:rPr>
                        <a:t>Marketing</a:t>
                      </a:r>
                      <a:endParaRPr lang="fr-FR" sz="1200" b="0" i="0" u="none" strike="noStrike">
                        <a:solidFill>
                          <a:srgbClr val="000004"/>
                        </a:solidFill>
                        <a:effectLst/>
                        <a:latin typeface="Calibri" panose="020F0502020204030204" pitchFamily="34" charset="0"/>
                      </a:endParaRPr>
                    </a:p>
                  </a:txBody>
                  <a:tcPr marL="3616" marR="3616" marT="3616" marB="0" anchor="ctr"/>
                </a:tc>
                <a:tc>
                  <a:txBody>
                    <a:bodyPr/>
                    <a:lstStyle/>
                    <a:p>
                      <a:pPr algn="l" fontAlgn="b"/>
                      <a:r>
                        <a:rPr lang="fr-FR" sz="1200" u="none" strike="noStrike">
                          <a:effectLst/>
                        </a:rPr>
                        <a:t>Promotion optimization</a:t>
                      </a:r>
                      <a:endParaRPr lang="fr-FR" sz="1200" b="0" i="0" u="none" strike="noStrike">
                        <a:solidFill>
                          <a:srgbClr val="000004"/>
                        </a:solidFill>
                        <a:effectLst/>
                        <a:latin typeface="Calibri" panose="020F0502020204030204" pitchFamily="34" charset="0"/>
                      </a:endParaRPr>
                    </a:p>
                  </a:txBody>
                  <a:tcPr marL="3616" marR="3616" marT="3616" marB="0" anchor="ctr"/>
                </a:tc>
                <a:tc>
                  <a:txBody>
                    <a:bodyPr/>
                    <a:lstStyle/>
                    <a:p>
                      <a:pPr algn="ctr" fontAlgn="b"/>
                      <a:r>
                        <a:rPr lang="fr-FR" sz="1200" u="none" strike="noStrike">
                          <a:effectLst/>
                        </a:rPr>
                        <a:t>3</a:t>
                      </a:r>
                      <a:endParaRPr lang="fr-FR" sz="1200" b="0" i="0" u="none" strike="noStrike">
                        <a:solidFill>
                          <a:srgbClr val="000004"/>
                        </a:solidFill>
                        <a:effectLst/>
                        <a:latin typeface="Calibri" panose="020F0502020204030204" pitchFamily="34" charset="0"/>
                      </a:endParaRPr>
                    </a:p>
                  </a:txBody>
                  <a:tcPr marL="3616" marR="3616" marT="3616" marB="0" anchor="ctr"/>
                </a:tc>
                <a:tc>
                  <a:txBody>
                    <a:bodyPr/>
                    <a:lstStyle/>
                    <a:p>
                      <a:pPr algn="l" fontAlgn="b"/>
                      <a:r>
                        <a:rPr lang="en-US" sz="1200" u="none" strike="noStrike">
                          <a:effectLst/>
                        </a:rPr>
                        <a:t>Hard (no data and require a strong ollaboration of the commercial team)</a:t>
                      </a:r>
                      <a:endParaRPr lang="en-US" sz="1200" b="0" i="0" u="none" strike="noStrike">
                        <a:solidFill>
                          <a:srgbClr val="000004"/>
                        </a:solidFill>
                        <a:effectLst/>
                        <a:latin typeface="Calibri" panose="020F0502020204030204" pitchFamily="34" charset="0"/>
                      </a:endParaRPr>
                    </a:p>
                  </a:txBody>
                  <a:tcPr marL="3616" marR="3616" marT="3616" marB="0" anchor="ctr"/>
                </a:tc>
                <a:tc>
                  <a:txBody>
                    <a:bodyPr/>
                    <a:lstStyle/>
                    <a:p>
                      <a:pPr algn="l" fontAlgn="b"/>
                      <a:r>
                        <a:rPr lang="en-US" sz="1200" u="none" strike="noStrike">
                          <a:effectLst/>
                        </a:rPr>
                        <a:t>High (+ 2% in sales revenues)</a:t>
                      </a:r>
                      <a:endParaRPr lang="en-US" sz="1200" b="0" i="0" u="none" strike="noStrike">
                        <a:solidFill>
                          <a:srgbClr val="000004"/>
                        </a:solidFill>
                        <a:effectLst/>
                        <a:latin typeface="Calibri" panose="020F0502020204030204" pitchFamily="34" charset="0"/>
                      </a:endParaRPr>
                    </a:p>
                  </a:txBody>
                  <a:tcPr marL="3616" marR="3616" marT="3616" marB="0" anchor="ctr"/>
                </a:tc>
                <a:tc>
                  <a:txBody>
                    <a:bodyPr/>
                    <a:lstStyle/>
                    <a:p>
                      <a:pPr algn="ctr" fontAlgn="b"/>
                      <a:r>
                        <a:rPr lang="fr-FR" sz="1200" u="none" strike="noStrike">
                          <a:effectLst/>
                        </a:rPr>
                        <a:t>56</a:t>
                      </a:r>
                      <a:endParaRPr lang="fr-FR" sz="1200" b="0" i="0" u="none" strike="noStrike">
                        <a:solidFill>
                          <a:srgbClr val="000004"/>
                        </a:solidFill>
                        <a:effectLst/>
                        <a:latin typeface="Calibri" panose="020F0502020204030204" pitchFamily="34" charset="0"/>
                      </a:endParaRPr>
                    </a:p>
                  </a:txBody>
                  <a:tcPr marL="3616" marR="3616" marT="3616" marB="0" anchor="ctr"/>
                </a:tc>
                <a:tc>
                  <a:txBody>
                    <a:bodyPr/>
                    <a:lstStyle/>
                    <a:p>
                      <a:pPr algn="ctr" fontAlgn="b"/>
                      <a:r>
                        <a:rPr lang="fr-FR" sz="1200" u="none" strike="noStrike">
                          <a:effectLst/>
                        </a:rPr>
                        <a:t>5</a:t>
                      </a:r>
                      <a:endParaRPr lang="fr-FR" sz="1200" b="0" i="0" u="none" strike="noStrike">
                        <a:solidFill>
                          <a:srgbClr val="000004"/>
                        </a:solidFill>
                        <a:effectLst/>
                        <a:latin typeface="Calibri" panose="020F0502020204030204" pitchFamily="34" charset="0"/>
                      </a:endParaRPr>
                    </a:p>
                  </a:txBody>
                  <a:tcPr marL="3616" marR="3616" marT="3616" marB="0" anchor="ctr"/>
                </a:tc>
                <a:tc>
                  <a:txBody>
                    <a:bodyPr/>
                    <a:lstStyle/>
                    <a:p>
                      <a:pPr algn="l" fontAlgn="b"/>
                      <a:r>
                        <a:rPr lang="fr-FR" sz="1200" u="none" strike="noStrike">
                          <a:effectLst/>
                        </a:rPr>
                        <a:t>interview je crois</a:t>
                      </a:r>
                      <a:endParaRPr lang="fr-FR" sz="1200" b="0" i="0" u="none" strike="noStrike">
                        <a:solidFill>
                          <a:srgbClr val="000004"/>
                        </a:solidFill>
                        <a:effectLst/>
                        <a:latin typeface="Calibri" panose="020F0502020204030204" pitchFamily="34" charset="0"/>
                      </a:endParaRPr>
                    </a:p>
                  </a:txBody>
                  <a:tcPr marL="3616" marR="3616" marT="3616" marB="0" anchor="ctr"/>
                </a:tc>
                <a:extLst>
                  <a:ext uri="{0D108BD9-81ED-4DB2-BD59-A6C34878D82A}">
                    <a16:rowId xmlns:a16="http://schemas.microsoft.com/office/drawing/2014/main" val="2307993285"/>
                  </a:ext>
                </a:extLst>
              </a:tr>
              <a:tr h="273580">
                <a:tc>
                  <a:txBody>
                    <a:bodyPr/>
                    <a:lstStyle/>
                    <a:p>
                      <a:pPr algn="r" fontAlgn="b"/>
                      <a:r>
                        <a:rPr lang="fr-FR" sz="1100" u="none" strike="noStrike">
                          <a:effectLst/>
                        </a:rPr>
                        <a:t>5</a:t>
                      </a:r>
                      <a:endParaRPr lang="fr-FR" sz="1100" b="0" i="0" u="none" strike="noStrike">
                        <a:solidFill>
                          <a:srgbClr val="000004"/>
                        </a:solidFill>
                        <a:effectLst/>
                        <a:latin typeface="Calibri" panose="020F0502020204030204" pitchFamily="34" charset="0"/>
                      </a:endParaRPr>
                    </a:p>
                  </a:txBody>
                  <a:tcPr marL="3616" marR="3616" marT="3616" marB="0" anchor="ctr"/>
                </a:tc>
                <a:tc>
                  <a:txBody>
                    <a:bodyPr/>
                    <a:lstStyle/>
                    <a:p>
                      <a:pPr algn="l" fontAlgn="b"/>
                      <a:r>
                        <a:rPr lang="fr-FR" sz="1200" u="none" strike="noStrike">
                          <a:effectLst/>
                        </a:rPr>
                        <a:t>Marketing</a:t>
                      </a:r>
                      <a:endParaRPr lang="fr-FR" sz="1200" b="0" i="0" u="none" strike="noStrike">
                        <a:solidFill>
                          <a:srgbClr val="000004"/>
                        </a:solidFill>
                        <a:effectLst/>
                        <a:latin typeface="Calibri" panose="020F0502020204030204" pitchFamily="34" charset="0"/>
                      </a:endParaRPr>
                    </a:p>
                  </a:txBody>
                  <a:tcPr marL="3616" marR="3616" marT="3616" marB="0" anchor="ctr"/>
                </a:tc>
                <a:tc>
                  <a:txBody>
                    <a:bodyPr/>
                    <a:lstStyle/>
                    <a:p>
                      <a:pPr algn="l" fontAlgn="b"/>
                      <a:r>
                        <a:rPr lang="fr-FR" sz="1200" u="none" strike="noStrike">
                          <a:effectLst/>
                        </a:rPr>
                        <a:t>Recommendation tool </a:t>
                      </a:r>
                      <a:endParaRPr lang="fr-FR" sz="1200" b="0" i="0" u="none" strike="noStrike">
                        <a:solidFill>
                          <a:srgbClr val="000004"/>
                        </a:solidFill>
                        <a:effectLst/>
                        <a:latin typeface="Calibri" panose="020F0502020204030204" pitchFamily="34" charset="0"/>
                      </a:endParaRPr>
                    </a:p>
                  </a:txBody>
                  <a:tcPr marL="3616" marR="3616" marT="3616" marB="0" anchor="ctr"/>
                </a:tc>
                <a:tc>
                  <a:txBody>
                    <a:bodyPr/>
                    <a:lstStyle/>
                    <a:p>
                      <a:pPr algn="ctr" fontAlgn="b"/>
                      <a:r>
                        <a:rPr lang="fr-FR" sz="1200" u="none" strike="noStrike">
                          <a:effectLst/>
                        </a:rPr>
                        <a:t>5</a:t>
                      </a:r>
                      <a:endParaRPr lang="fr-FR" sz="1200" b="0" i="0" u="none" strike="noStrike">
                        <a:solidFill>
                          <a:srgbClr val="000004"/>
                        </a:solidFill>
                        <a:effectLst/>
                        <a:latin typeface="Calibri" panose="020F0502020204030204" pitchFamily="34" charset="0"/>
                      </a:endParaRPr>
                    </a:p>
                  </a:txBody>
                  <a:tcPr marL="3616" marR="3616" marT="3616" marB="0" anchor="ctr"/>
                </a:tc>
                <a:tc>
                  <a:txBody>
                    <a:bodyPr/>
                    <a:lstStyle/>
                    <a:p>
                      <a:pPr algn="l" fontAlgn="b"/>
                      <a:r>
                        <a:rPr lang="en-US" sz="1200" u="none" strike="noStrike">
                          <a:effectLst/>
                        </a:rPr>
                        <a:t>Medium (easy to implement but no data + not supported by employees)</a:t>
                      </a:r>
                      <a:endParaRPr lang="en-US" sz="1200" b="0" i="0" u="none" strike="noStrike">
                        <a:solidFill>
                          <a:srgbClr val="000004"/>
                        </a:solidFill>
                        <a:effectLst/>
                        <a:latin typeface="Calibri" panose="020F0502020204030204" pitchFamily="34" charset="0"/>
                      </a:endParaRPr>
                    </a:p>
                  </a:txBody>
                  <a:tcPr marL="3616" marR="3616" marT="3616" marB="0" anchor="ctr"/>
                </a:tc>
                <a:tc>
                  <a:txBody>
                    <a:bodyPr/>
                    <a:lstStyle/>
                    <a:p>
                      <a:pPr algn="l" fontAlgn="b"/>
                      <a:r>
                        <a:rPr lang="en-US" sz="1200" u="none" strike="noStrike">
                          <a:effectLst/>
                        </a:rPr>
                        <a:t>Medium to High (+1% in basket)</a:t>
                      </a:r>
                      <a:endParaRPr lang="en-US" sz="1200" b="0" i="0" u="none" strike="noStrike">
                        <a:solidFill>
                          <a:srgbClr val="000004"/>
                        </a:solidFill>
                        <a:effectLst/>
                        <a:latin typeface="Calibri" panose="020F0502020204030204" pitchFamily="34" charset="0"/>
                      </a:endParaRPr>
                    </a:p>
                  </a:txBody>
                  <a:tcPr marL="3616" marR="3616" marT="3616" marB="0" anchor="ctr"/>
                </a:tc>
                <a:tc>
                  <a:txBody>
                    <a:bodyPr/>
                    <a:lstStyle/>
                    <a:p>
                      <a:pPr algn="ctr" fontAlgn="b"/>
                      <a:r>
                        <a:rPr lang="fr-FR" sz="1200" u="none" strike="noStrike">
                          <a:effectLst/>
                        </a:rPr>
                        <a:t>30</a:t>
                      </a:r>
                      <a:endParaRPr lang="fr-FR" sz="1200" b="0" i="0" u="none" strike="noStrike">
                        <a:solidFill>
                          <a:srgbClr val="575757"/>
                        </a:solidFill>
                        <a:effectLst/>
                        <a:latin typeface="Henderson BCG Sans"/>
                      </a:endParaRPr>
                    </a:p>
                  </a:txBody>
                  <a:tcPr marL="3616" marR="3616" marT="3616" marB="0" anchor="ctr"/>
                </a:tc>
                <a:tc>
                  <a:txBody>
                    <a:bodyPr/>
                    <a:lstStyle/>
                    <a:p>
                      <a:pPr algn="ctr" fontAlgn="b"/>
                      <a:r>
                        <a:rPr lang="fr-FR" sz="1200" u="none" strike="noStrike">
                          <a:effectLst/>
                        </a:rPr>
                        <a:t>3</a:t>
                      </a:r>
                      <a:endParaRPr lang="fr-FR" sz="1200" b="0" i="0" u="none" strike="noStrike">
                        <a:solidFill>
                          <a:srgbClr val="000004"/>
                        </a:solidFill>
                        <a:effectLst/>
                        <a:latin typeface="Calibri" panose="020F0502020204030204" pitchFamily="34" charset="0"/>
                      </a:endParaRPr>
                    </a:p>
                  </a:txBody>
                  <a:tcPr marL="3616" marR="3616" marT="3616" marB="0" anchor="ctr"/>
                </a:tc>
                <a:tc>
                  <a:txBody>
                    <a:bodyPr/>
                    <a:lstStyle/>
                    <a:p>
                      <a:pPr algn="l" fontAlgn="b"/>
                      <a:r>
                        <a:rPr lang="fr-FR" sz="1200" u="none" strike="noStrike">
                          <a:effectLst/>
                        </a:rPr>
                        <a:t>interview je crois</a:t>
                      </a:r>
                      <a:endParaRPr lang="fr-FR" sz="1200" b="0" i="0" u="none" strike="noStrike">
                        <a:solidFill>
                          <a:srgbClr val="575757"/>
                        </a:solidFill>
                        <a:effectLst/>
                        <a:latin typeface="Henderson BCG Sans"/>
                      </a:endParaRPr>
                    </a:p>
                  </a:txBody>
                  <a:tcPr marL="3616" marR="3616" marT="3616" marB="0" anchor="ctr"/>
                </a:tc>
                <a:extLst>
                  <a:ext uri="{0D108BD9-81ED-4DB2-BD59-A6C34878D82A}">
                    <a16:rowId xmlns:a16="http://schemas.microsoft.com/office/drawing/2014/main" val="2926614605"/>
                  </a:ext>
                </a:extLst>
              </a:tr>
              <a:tr h="1260000">
                <a:tc>
                  <a:txBody>
                    <a:bodyPr/>
                    <a:lstStyle/>
                    <a:p>
                      <a:pPr algn="r" fontAlgn="b"/>
                      <a:r>
                        <a:rPr lang="fr-FR" sz="1100" u="none" strike="noStrike">
                          <a:effectLst/>
                        </a:rPr>
                        <a:t>6</a:t>
                      </a:r>
                      <a:endParaRPr lang="fr-FR" sz="1100" b="0" i="0" u="none" strike="noStrike">
                        <a:solidFill>
                          <a:srgbClr val="000004"/>
                        </a:solidFill>
                        <a:effectLst/>
                        <a:latin typeface="Calibri" panose="020F0502020204030204" pitchFamily="34" charset="0"/>
                      </a:endParaRPr>
                    </a:p>
                  </a:txBody>
                  <a:tcPr marL="3616" marR="3616" marT="3616" marB="0" anchor="ctr"/>
                </a:tc>
                <a:tc>
                  <a:txBody>
                    <a:bodyPr/>
                    <a:lstStyle/>
                    <a:p>
                      <a:pPr algn="l" fontAlgn="b"/>
                      <a:r>
                        <a:rPr lang="fr-FR" sz="1200" u="none" strike="noStrike">
                          <a:effectLst/>
                        </a:rPr>
                        <a:t>Sales</a:t>
                      </a:r>
                      <a:endParaRPr lang="fr-FR" sz="1200" b="0" i="0" u="none" strike="noStrike">
                        <a:solidFill>
                          <a:srgbClr val="000004"/>
                        </a:solidFill>
                        <a:effectLst/>
                        <a:latin typeface="Calibri" panose="020F0502020204030204" pitchFamily="34" charset="0"/>
                      </a:endParaRPr>
                    </a:p>
                  </a:txBody>
                  <a:tcPr marL="3616" marR="3616" marT="3616" marB="0" anchor="ctr"/>
                </a:tc>
                <a:tc>
                  <a:txBody>
                    <a:bodyPr/>
                    <a:lstStyle/>
                    <a:p>
                      <a:pPr algn="l" fontAlgn="b"/>
                      <a:r>
                        <a:rPr lang="fr-FR" sz="1200" u="none" strike="noStrike">
                          <a:effectLst/>
                        </a:rPr>
                        <a:t>Real time pricing</a:t>
                      </a:r>
                      <a:endParaRPr lang="fr-FR" sz="1200" b="0" i="0" u="none" strike="noStrike">
                        <a:solidFill>
                          <a:srgbClr val="000004"/>
                        </a:solidFill>
                        <a:effectLst/>
                        <a:latin typeface="Calibri" panose="020F0502020204030204" pitchFamily="34" charset="0"/>
                      </a:endParaRPr>
                    </a:p>
                  </a:txBody>
                  <a:tcPr marL="3616" marR="3616" marT="3616" marB="0" anchor="ctr"/>
                </a:tc>
                <a:tc>
                  <a:txBody>
                    <a:bodyPr/>
                    <a:lstStyle/>
                    <a:p>
                      <a:pPr algn="ctr" fontAlgn="b"/>
                      <a:r>
                        <a:rPr lang="fr-FR" sz="1200" u="none" strike="noStrike">
                          <a:effectLst/>
                        </a:rPr>
                        <a:t>1</a:t>
                      </a:r>
                      <a:endParaRPr lang="fr-FR" sz="1200" b="0" i="0" u="none" strike="noStrike">
                        <a:solidFill>
                          <a:srgbClr val="000004"/>
                        </a:solidFill>
                        <a:effectLst/>
                        <a:latin typeface="Calibri" panose="020F0502020204030204" pitchFamily="34" charset="0"/>
                      </a:endParaRPr>
                    </a:p>
                  </a:txBody>
                  <a:tcPr marL="3616" marR="3616" marT="3616" marB="0" anchor="ctr"/>
                </a:tc>
                <a:tc>
                  <a:txBody>
                    <a:bodyPr/>
                    <a:lstStyle/>
                    <a:p>
                      <a:pPr algn="l" fontAlgn="b"/>
                      <a:r>
                        <a:rPr lang="en-US" sz="1200" u="none" strike="noStrike">
                          <a:effectLst/>
                        </a:rPr>
                        <a:t>Hard (nos support, no data, very digital culture to be implemented)</a:t>
                      </a:r>
                      <a:endParaRPr lang="en-US" sz="1200" b="0" i="0" u="none" strike="noStrike">
                        <a:solidFill>
                          <a:srgbClr val="000004"/>
                        </a:solidFill>
                        <a:effectLst/>
                        <a:latin typeface="Calibri" panose="020F0502020204030204" pitchFamily="34" charset="0"/>
                      </a:endParaRPr>
                    </a:p>
                  </a:txBody>
                  <a:tcPr marL="3616" marR="3616" marT="3616" marB="0" anchor="ctr"/>
                </a:tc>
                <a:tc>
                  <a:txBody>
                    <a:bodyPr/>
                    <a:lstStyle/>
                    <a:p>
                      <a:pPr algn="l" fontAlgn="b"/>
                      <a:r>
                        <a:rPr lang="en-US" sz="1200" u="none" strike="noStrike">
                          <a:effectLst/>
                        </a:rPr>
                        <a:t>+2 to 5 % in sales and +1,5% in margin (3,5% dans les calculs)</a:t>
                      </a:r>
                      <a:endParaRPr lang="en-US" sz="1200" b="0" i="0" u="none" strike="noStrike">
                        <a:solidFill>
                          <a:srgbClr val="000004"/>
                        </a:solidFill>
                        <a:effectLst/>
                        <a:latin typeface="Calibri" panose="020F0502020204030204" pitchFamily="34" charset="0"/>
                      </a:endParaRPr>
                    </a:p>
                  </a:txBody>
                  <a:tcPr marL="3616" marR="3616" marT="3616" marB="0" anchor="ctr"/>
                </a:tc>
                <a:tc>
                  <a:txBody>
                    <a:bodyPr/>
                    <a:lstStyle/>
                    <a:p>
                      <a:pPr algn="ctr" fontAlgn="b"/>
                      <a:r>
                        <a:rPr lang="fr-FR" sz="1200" u="none" strike="noStrike">
                          <a:effectLst/>
                        </a:rPr>
                        <a:t>93</a:t>
                      </a:r>
                      <a:endParaRPr lang="fr-FR" sz="1200" b="0" i="0" u="none" strike="noStrike">
                        <a:solidFill>
                          <a:srgbClr val="000004"/>
                        </a:solidFill>
                        <a:effectLst/>
                        <a:latin typeface="Calibri" panose="020F0502020204030204" pitchFamily="34" charset="0"/>
                      </a:endParaRPr>
                    </a:p>
                  </a:txBody>
                  <a:tcPr marL="3616" marR="3616" marT="3616" marB="0" anchor="ctr"/>
                </a:tc>
                <a:tc>
                  <a:txBody>
                    <a:bodyPr/>
                    <a:lstStyle/>
                    <a:p>
                      <a:pPr algn="ctr" fontAlgn="b"/>
                      <a:r>
                        <a:rPr lang="fr-FR" sz="1200" u="none" strike="noStrike">
                          <a:effectLst/>
                        </a:rPr>
                        <a:t>6</a:t>
                      </a:r>
                      <a:endParaRPr lang="fr-FR" sz="1200" b="0" i="0" u="none" strike="noStrike">
                        <a:solidFill>
                          <a:srgbClr val="000004"/>
                        </a:solidFill>
                        <a:effectLst/>
                        <a:latin typeface="Calibri" panose="020F0502020204030204" pitchFamily="34" charset="0"/>
                      </a:endParaRPr>
                    </a:p>
                  </a:txBody>
                  <a:tcPr marL="3616" marR="3616" marT="3616" marB="0" anchor="ctr"/>
                </a:tc>
                <a:tc>
                  <a:txBody>
                    <a:bodyPr/>
                    <a:lstStyle/>
                    <a:p>
                      <a:pPr algn="l" fontAlgn="b"/>
                      <a:r>
                        <a:rPr lang="fr-FR" sz="1200" u="sng" strike="noStrike">
                          <a:effectLst/>
                          <a:hlinkClick r:id="rId3"/>
                        </a:rPr>
                        <a:t>https://www.mckinsey.com/capabilities/growth-marketing-and-sales/solutions/periscope/solutions/b2b-pricing-solutions/b2b-price-optimization</a:t>
                      </a:r>
                      <a:endParaRPr lang="fr-FR" sz="1200" b="0" i="0" u="sng" strike="noStrike">
                        <a:solidFill>
                          <a:srgbClr val="424652"/>
                        </a:solidFill>
                        <a:effectLst/>
                        <a:latin typeface="Henderson BCG Sans"/>
                      </a:endParaRPr>
                    </a:p>
                  </a:txBody>
                  <a:tcPr marL="3616" marR="3616" marT="3616" marB="0" anchor="ctr"/>
                </a:tc>
                <a:extLst>
                  <a:ext uri="{0D108BD9-81ED-4DB2-BD59-A6C34878D82A}">
                    <a16:rowId xmlns:a16="http://schemas.microsoft.com/office/drawing/2014/main" val="304723976"/>
                  </a:ext>
                </a:extLst>
              </a:tr>
              <a:tr h="864000">
                <a:tc>
                  <a:txBody>
                    <a:bodyPr/>
                    <a:lstStyle/>
                    <a:p>
                      <a:pPr algn="r" fontAlgn="b"/>
                      <a:r>
                        <a:rPr lang="fr-FR" sz="1100" u="none" strike="noStrike">
                          <a:effectLst/>
                        </a:rPr>
                        <a:t>7</a:t>
                      </a:r>
                      <a:endParaRPr lang="fr-FR" sz="1100" b="0" i="0" u="none" strike="noStrike">
                        <a:solidFill>
                          <a:srgbClr val="000004"/>
                        </a:solidFill>
                        <a:effectLst/>
                        <a:latin typeface="Calibri" panose="020F0502020204030204" pitchFamily="34" charset="0"/>
                      </a:endParaRPr>
                    </a:p>
                  </a:txBody>
                  <a:tcPr marL="3616" marR="3616" marT="3616" marB="0" anchor="ctr"/>
                </a:tc>
                <a:tc>
                  <a:txBody>
                    <a:bodyPr/>
                    <a:lstStyle/>
                    <a:p>
                      <a:pPr algn="l" fontAlgn="b"/>
                      <a:r>
                        <a:rPr lang="fr-FR" sz="1200" u="none" strike="noStrike">
                          <a:effectLst/>
                        </a:rPr>
                        <a:t>Sales</a:t>
                      </a:r>
                      <a:endParaRPr lang="fr-FR" sz="1200" b="0" i="0" u="none" strike="noStrike">
                        <a:solidFill>
                          <a:srgbClr val="000004"/>
                        </a:solidFill>
                        <a:effectLst/>
                        <a:latin typeface="Calibri" panose="020F0502020204030204" pitchFamily="34" charset="0"/>
                      </a:endParaRPr>
                    </a:p>
                  </a:txBody>
                  <a:tcPr marL="3616" marR="3616" marT="3616" marB="0" anchor="ctr"/>
                </a:tc>
                <a:tc>
                  <a:txBody>
                    <a:bodyPr/>
                    <a:lstStyle/>
                    <a:p>
                      <a:pPr algn="l" fontAlgn="b"/>
                      <a:r>
                        <a:rPr lang="fr-FR" sz="1200" u="none" strike="noStrike">
                          <a:effectLst/>
                        </a:rPr>
                        <a:t>Digitalization of customer relationship</a:t>
                      </a:r>
                      <a:endParaRPr lang="fr-FR" sz="1200" b="0" i="0" u="none" strike="noStrike">
                        <a:solidFill>
                          <a:srgbClr val="000004"/>
                        </a:solidFill>
                        <a:effectLst/>
                        <a:latin typeface="Calibri" panose="020F0502020204030204" pitchFamily="34" charset="0"/>
                      </a:endParaRPr>
                    </a:p>
                  </a:txBody>
                  <a:tcPr marL="3616" marR="3616" marT="3616" marB="0" anchor="ctr"/>
                </a:tc>
                <a:tc>
                  <a:txBody>
                    <a:bodyPr/>
                    <a:lstStyle/>
                    <a:p>
                      <a:pPr algn="ctr" fontAlgn="b"/>
                      <a:r>
                        <a:rPr lang="fr-FR" sz="1200" u="none" strike="noStrike">
                          <a:effectLst/>
                        </a:rPr>
                        <a:t>1</a:t>
                      </a:r>
                      <a:endParaRPr lang="fr-FR" sz="1200" b="0" i="0" u="none" strike="noStrike">
                        <a:solidFill>
                          <a:srgbClr val="000004"/>
                        </a:solidFill>
                        <a:effectLst/>
                        <a:latin typeface="Calibri" panose="020F0502020204030204" pitchFamily="34" charset="0"/>
                      </a:endParaRPr>
                    </a:p>
                  </a:txBody>
                  <a:tcPr marL="3616" marR="3616" marT="3616" marB="0" anchor="ctr"/>
                </a:tc>
                <a:tc>
                  <a:txBody>
                    <a:bodyPr/>
                    <a:lstStyle/>
                    <a:p>
                      <a:pPr algn="l" fontAlgn="b"/>
                      <a:r>
                        <a:rPr lang="en-US" sz="1200" u="none" strike="noStrike">
                          <a:effectLst/>
                        </a:rPr>
                        <a:t>Medium/Hard (limitation by current CRM) + poorly supported</a:t>
                      </a:r>
                      <a:endParaRPr lang="en-US" sz="1200" b="0" i="0" u="none" strike="noStrike">
                        <a:solidFill>
                          <a:srgbClr val="000004"/>
                        </a:solidFill>
                        <a:effectLst/>
                        <a:latin typeface="Calibri" panose="020F0502020204030204" pitchFamily="34" charset="0"/>
                      </a:endParaRPr>
                    </a:p>
                  </a:txBody>
                  <a:tcPr marL="3616" marR="3616" marT="3616" marB="0" anchor="ctr"/>
                </a:tc>
                <a:tc>
                  <a:txBody>
                    <a:bodyPr/>
                    <a:lstStyle/>
                    <a:p>
                      <a:pPr algn="r" fontAlgn="b"/>
                      <a:r>
                        <a:rPr lang="fr-FR" sz="1200" u="none" strike="noStrike">
                          <a:effectLst/>
                        </a:rPr>
                        <a:t>3%</a:t>
                      </a:r>
                      <a:endParaRPr lang="fr-FR" sz="1200" b="0" i="0" u="none" strike="noStrike">
                        <a:solidFill>
                          <a:srgbClr val="000004"/>
                        </a:solidFill>
                        <a:effectLst/>
                        <a:latin typeface="Calibri" panose="020F0502020204030204" pitchFamily="34" charset="0"/>
                      </a:endParaRPr>
                    </a:p>
                  </a:txBody>
                  <a:tcPr marL="3616" marR="3616" marT="3616" marB="0" anchor="ctr"/>
                </a:tc>
                <a:tc>
                  <a:txBody>
                    <a:bodyPr/>
                    <a:lstStyle/>
                    <a:p>
                      <a:pPr algn="ctr" fontAlgn="b"/>
                      <a:r>
                        <a:rPr lang="fr-FR" sz="1200" u="none" strike="noStrike">
                          <a:effectLst/>
                        </a:rPr>
                        <a:t>81</a:t>
                      </a:r>
                      <a:endParaRPr lang="fr-FR" sz="1200" b="0" i="0" u="none" strike="noStrike">
                        <a:solidFill>
                          <a:srgbClr val="000004"/>
                        </a:solidFill>
                        <a:effectLst/>
                        <a:latin typeface="Calibri" panose="020F0502020204030204" pitchFamily="34" charset="0"/>
                      </a:endParaRPr>
                    </a:p>
                  </a:txBody>
                  <a:tcPr marL="3616" marR="3616" marT="3616" marB="0" anchor="ctr"/>
                </a:tc>
                <a:tc>
                  <a:txBody>
                    <a:bodyPr/>
                    <a:lstStyle/>
                    <a:p>
                      <a:pPr algn="ctr" fontAlgn="b"/>
                      <a:r>
                        <a:rPr lang="fr-FR" sz="1200" u="none" strike="noStrike">
                          <a:effectLst/>
                        </a:rPr>
                        <a:t>3</a:t>
                      </a:r>
                      <a:endParaRPr lang="fr-FR" sz="1200" b="0" i="0" u="none" strike="noStrike">
                        <a:solidFill>
                          <a:srgbClr val="000004"/>
                        </a:solidFill>
                        <a:effectLst/>
                        <a:latin typeface="Calibri" panose="020F0502020204030204" pitchFamily="34" charset="0"/>
                      </a:endParaRPr>
                    </a:p>
                  </a:txBody>
                  <a:tcPr marL="3616" marR="3616" marT="3616" marB="0" anchor="ctr"/>
                </a:tc>
                <a:tc>
                  <a:txBody>
                    <a:bodyPr/>
                    <a:lstStyle/>
                    <a:p>
                      <a:pPr algn="l" fontAlgn="b"/>
                      <a:r>
                        <a:rPr lang="fr-FR" sz="1200" u="sng" strike="noStrike">
                          <a:effectLst/>
                          <a:hlinkClick r:id="rId4"/>
                        </a:rPr>
                        <a:t>https://www.bcg.com/publications/2019/capturing-offline-impact-online-marketing-b2b</a:t>
                      </a:r>
                      <a:endParaRPr lang="fr-FR" sz="1200" b="0" i="0" u="sng" strike="noStrike">
                        <a:solidFill>
                          <a:srgbClr val="424652"/>
                        </a:solidFill>
                        <a:effectLst/>
                        <a:latin typeface="Henderson BCG Sans"/>
                      </a:endParaRPr>
                    </a:p>
                  </a:txBody>
                  <a:tcPr marL="3616" marR="3616" marT="3616" marB="0" anchor="ctr"/>
                </a:tc>
                <a:extLst>
                  <a:ext uri="{0D108BD9-81ED-4DB2-BD59-A6C34878D82A}">
                    <a16:rowId xmlns:a16="http://schemas.microsoft.com/office/drawing/2014/main" val="1062179476"/>
                  </a:ext>
                </a:extLst>
              </a:tr>
              <a:tr h="401726">
                <a:tc>
                  <a:txBody>
                    <a:bodyPr/>
                    <a:lstStyle/>
                    <a:p>
                      <a:pPr algn="r" fontAlgn="b"/>
                      <a:r>
                        <a:rPr lang="fr-FR" sz="1100" u="none" strike="noStrike">
                          <a:effectLst/>
                        </a:rPr>
                        <a:t>8</a:t>
                      </a:r>
                      <a:endParaRPr lang="fr-FR" sz="1100" b="0" i="0" u="none" strike="noStrike">
                        <a:solidFill>
                          <a:srgbClr val="000004"/>
                        </a:solidFill>
                        <a:effectLst/>
                        <a:latin typeface="Calibri" panose="020F0502020204030204" pitchFamily="34" charset="0"/>
                      </a:endParaRPr>
                    </a:p>
                  </a:txBody>
                  <a:tcPr marL="3616" marR="3616" marT="3616" marB="0" anchor="ctr"/>
                </a:tc>
                <a:tc>
                  <a:txBody>
                    <a:bodyPr/>
                    <a:lstStyle/>
                    <a:p>
                      <a:pPr algn="l" fontAlgn="b"/>
                      <a:r>
                        <a:rPr lang="fr-FR" sz="1200" u="none" strike="noStrike">
                          <a:effectLst/>
                        </a:rPr>
                        <a:t>Management</a:t>
                      </a:r>
                      <a:endParaRPr lang="fr-FR" sz="1200" b="0" i="0" u="none" strike="noStrike">
                        <a:solidFill>
                          <a:srgbClr val="000004"/>
                        </a:solidFill>
                        <a:effectLst/>
                        <a:latin typeface="Calibri" panose="020F0502020204030204" pitchFamily="34" charset="0"/>
                      </a:endParaRPr>
                    </a:p>
                  </a:txBody>
                  <a:tcPr marL="3616" marR="3616" marT="3616" marB="0" anchor="ctr"/>
                </a:tc>
                <a:tc>
                  <a:txBody>
                    <a:bodyPr/>
                    <a:lstStyle/>
                    <a:p>
                      <a:pPr algn="l" fontAlgn="b"/>
                      <a:r>
                        <a:rPr lang="fr-FR" sz="1200" u="none" strike="noStrike">
                          <a:effectLst/>
                        </a:rPr>
                        <a:t>Digital management</a:t>
                      </a:r>
                      <a:endParaRPr lang="fr-FR" sz="1200" b="0" i="0" u="none" strike="noStrike">
                        <a:solidFill>
                          <a:srgbClr val="000004"/>
                        </a:solidFill>
                        <a:effectLst/>
                        <a:latin typeface="Calibri" panose="020F0502020204030204" pitchFamily="34" charset="0"/>
                      </a:endParaRPr>
                    </a:p>
                  </a:txBody>
                  <a:tcPr marL="3616" marR="3616" marT="3616" marB="0" anchor="ctr"/>
                </a:tc>
                <a:tc>
                  <a:txBody>
                    <a:bodyPr/>
                    <a:lstStyle/>
                    <a:p>
                      <a:pPr algn="ctr" fontAlgn="b"/>
                      <a:r>
                        <a:rPr lang="fr-FR" sz="1200" u="none" strike="noStrike">
                          <a:effectLst/>
                        </a:rPr>
                        <a:t>1</a:t>
                      </a:r>
                      <a:endParaRPr lang="fr-FR" sz="1200" b="0" i="0" u="none" strike="noStrike">
                        <a:solidFill>
                          <a:srgbClr val="000004"/>
                        </a:solidFill>
                        <a:effectLst/>
                        <a:latin typeface="Calibri" panose="020F0502020204030204" pitchFamily="34" charset="0"/>
                      </a:endParaRPr>
                    </a:p>
                  </a:txBody>
                  <a:tcPr marL="3616" marR="3616" marT="3616" marB="0" anchor="ctr"/>
                </a:tc>
                <a:tc>
                  <a:txBody>
                    <a:bodyPr/>
                    <a:lstStyle/>
                    <a:p>
                      <a:pPr algn="l" fontAlgn="b"/>
                      <a:r>
                        <a:rPr lang="en-US" sz="1200" u="none" strike="noStrike">
                          <a:effectLst/>
                        </a:rPr>
                        <a:t>Medium because poorly supported and will need a digital culture to be adopted but not hard technically</a:t>
                      </a:r>
                      <a:endParaRPr lang="en-US" sz="1200" b="0" i="0" u="none" strike="noStrike">
                        <a:solidFill>
                          <a:srgbClr val="000004"/>
                        </a:solidFill>
                        <a:effectLst/>
                        <a:latin typeface="Calibri" panose="020F0502020204030204" pitchFamily="34" charset="0"/>
                      </a:endParaRPr>
                    </a:p>
                  </a:txBody>
                  <a:tcPr marL="3616" marR="3616" marT="3616" marB="0" anchor="ctr"/>
                </a:tc>
                <a:tc>
                  <a:txBody>
                    <a:bodyPr/>
                    <a:lstStyle/>
                    <a:p>
                      <a:pPr algn="l" fontAlgn="b"/>
                      <a:r>
                        <a:rPr lang="en-US" sz="1200" u="none" strike="noStrike">
                          <a:effectLst/>
                        </a:rPr>
                        <a:t>up to +2% of sales</a:t>
                      </a:r>
                      <a:endParaRPr lang="en-US" sz="1200" b="0" i="0" u="none" strike="noStrike">
                        <a:solidFill>
                          <a:srgbClr val="000004"/>
                        </a:solidFill>
                        <a:effectLst/>
                        <a:latin typeface="Calibri" panose="020F0502020204030204" pitchFamily="34" charset="0"/>
                      </a:endParaRPr>
                    </a:p>
                  </a:txBody>
                  <a:tcPr marL="3616" marR="3616" marT="3616" marB="0" anchor="ctr"/>
                </a:tc>
                <a:tc>
                  <a:txBody>
                    <a:bodyPr/>
                    <a:lstStyle/>
                    <a:p>
                      <a:pPr algn="ctr" fontAlgn="b"/>
                      <a:r>
                        <a:rPr lang="fr-FR" sz="1200" u="none" strike="noStrike">
                          <a:effectLst/>
                        </a:rPr>
                        <a:t>18</a:t>
                      </a:r>
                      <a:endParaRPr lang="fr-FR" sz="1200" b="0" i="0" u="none" strike="noStrike">
                        <a:solidFill>
                          <a:srgbClr val="000004"/>
                        </a:solidFill>
                        <a:effectLst/>
                        <a:latin typeface="Calibri" panose="020F0502020204030204" pitchFamily="34" charset="0"/>
                      </a:endParaRPr>
                    </a:p>
                  </a:txBody>
                  <a:tcPr marL="3616" marR="3616" marT="3616" marB="0" anchor="ctr"/>
                </a:tc>
                <a:tc>
                  <a:txBody>
                    <a:bodyPr/>
                    <a:lstStyle/>
                    <a:p>
                      <a:pPr algn="ctr" fontAlgn="b"/>
                      <a:r>
                        <a:rPr lang="fr-FR" sz="1200" u="none" strike="noStrike">
                          <a:effectLst/>
                        </a:rPr>
                        <a:t>2</a:t>
                      </a:r>
                      <a:endParaRPr lang="fr-FR" sz="1200" b="0" i="0" u="none" strike="noStrike">
                        <a:solidFill>
                          <a:srgbClr val="000004"/>
                        </a:solidFill>
                        <a:effectLst/>
                        <a:latin typeface="Calibri" panose="020F0502020204030204" pitchFamily="34" charset="0"/>
                      </a:endParaRPr>
                    </a:p>
                  </a:txBody>
                  <a:tcPr marL="3616" marR="3616" marT="3616" marB="0" anchor="ctr"/>
                </a:tc>
                <a:tc>
                  <a:txBody>
                    <a:bodyPr/>
                    <a:lstStyle/>
                    <a:p>
                      <a:pPr algn="l" fontAlgn="b"/>
                      <a:r>
                        <a:rPr lang="fr-FR" sz="1200" u="none" strike="noStrike">
                          <a:effectLst/>
                        </a:rPr>
                        <a:t>pdf</a:t>
                      </a:r>
                      <a:endParaRPr lang="fr-FR" sz="1200" b="0" i="0" u="none" strike="noStrike">
                        <a:solidFill>
                          <a:srgbClr val="000004"/>
                        </a:solidFill>
                        <a:effectLst/>
                        <a:latin typeface="Calibri" panose="020F0502020204030204" pitchFamily="34" charset="0"/>
                      </a:endParaRPr>
                    </a:p>
                  </a:txBody>
                  <a:tcPr marL="3616" marR="3616" marT="3616" marB="0" anchor="ctr"/>
                </a:tc>
                <a:extLst>
                  <a:ext uri="{0D108BD9-81ED-4DB2-BD59-A6C34878D82A}">
                    <a16:rowId xmlns:a16="http://schemas.microsoft.com/office/drawing/2014/main" val="3601961098"/>
                  </a:ext>
                </a:extLst>
              </a:tr>
            </a:tbl>
          </a:graphicData>
        </a:graphic>
      </p:graphicFrame>
    </p:spTree>
    <p:extLst>
      <p:ext uri="{BB962C8B-B14F-4D97-AF65-F5344CB8AC3E}">
        <p14:creationId xmlns:p14="http://schemas.microsoft.com/office/powerpoint/2010/main" val="382632418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3057" name="Diapositive think-cell" r:id="rId6" imgW="473" imgH="473" progId="TCLayout.ActiveDocument.1">
                  <p:embed/>
                </p:oleObj>
              </mc:Choice>
              <mc:Fallback>
                <p:oleObj name="Diapositive think-cell" r:id="rId6" imgW="473" imgH="473"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a:xfrm>
            <a:off x="630000" y="622800"/>
            <a:ext cx="10933350" cy="443198"/>
          </a:xfrm>
        </p:spPr>
        <p:txBody>
          <a:bodyPr vert="horz"/>
          <a:lstStyle/>
          <a:p>
            <a:r>
              <a:rPr lang="fr-FR" sz="3200" spc="-5">
                <a:solidFill>
                  <a:srgbClr val="20BE60"/>
                </a:solidFill>
              </a:rPr>
              <a:t>Annex 5a : </a:t>
            </a:r>
            <a:br>
              <a:rPr lang="fr-FR" sz="3200" spc="-5">
                <a:solidFill>
                  <a:srgbClr val="20BE60"/>
                </a:solidFill>
              </a:rPr>
            </a:br>
            <a:r>
              <a:rPr lang="fr-FR" sz="3200" spc="-5" err="1">
                <a:solidFill>
                  <a:srgbClr val="20BE60"/>
                </a:solidFill>
              </a:rPr>
              <a:t>Churn</a:t>
            </a:r>
            <a:r>
              <a:rPr lang="fr-FR" sz="3200" spc="-5">
                <a:solidFill>
                  <a:srgbClr val="20BE60"/>
                </a:solidFill>
              </a:rPr>
              <a:t> </a:t>
            </a:r>
            <a:r>
              <a:rPr lang="fr-FR" sz="3200" spc="-5" err="1">
                <a:solidFill>
                  <a:srgbClr val="20BE60"/>
                </a:solidFill>
              </a:rPr>
              <a:t>Prediction</a:t>
            </a:r>
            <a:r>
              <a:rPr lang="fr-FR" sz="3200" spc="-5">
                <a:solidFill>
                  <a:srgbClr val="20BE60"/>
                </a:solidFill>
              </a:rPr>
              <a:t> : </a:t>
            </a:r>
            <a:r>
              <a:rPr lang="fr-FR" sz="3200" spc="-5" err="1">
                <a:solidFill>
                  <a:srgbClr val="20BE60"/>
                </a:solidFill>
              </a:rPr>
              <a:t>enabling</a:t>
            </a:r>
            <a:r>
              <a:rPr lang="fr-FR" sz="3200" spc="-5">
                <a:solidFill>
                  <a:srgbClr val="20BE60"/>
                </a:solidFill>
              </a:rPr>
              <a:t> </a:t>
            </a:r>
            <a:r>
              <a:rPr lang="fr-FR" sz="3200" spc="-5" err="1">
                <a:solidFill>
                  <a:srgbClr val="20BE60"/>
                </a:solidFill>
              </a:rPr>
              <a:t>preventive</a:t>
            </a:r>
            <a:r>
              <a:rPr lang="fr-FR" sz="3200" spc="-5">
                <a:solidFill>
                  <a:srgbClr val="20BE60"/>
                </a:solidFill>
              </a:rPr>
              <a:t> </a:t>
            </a:r>
            <a:r>
              <a:rPr lang="fr-FR" sz="3200" spc="-5" err="1">
                <a:solidFill>
                  <a:srgbClr val="20BE60"/>
                </a:solidFill>
              </a:rPr>
              <a:t>fidelisation</a:t>
            </a:r>
            <a:r>
              <a:rPr lang="fr-FR" sz="3200" spc="-5">
                <a:solidFill>
                  <a:srgbClr val="20BE60"/>
                </a:solidFill>
              </a:rPr>
              <a:t> actions</a:t>
            </a:r>
            <a:endParaRPr lang="en-US" sz="3200">
              <a:solidFill>
                <a:srgbClr val="00B050"/>
              </a:solidFill>
            </a:endParaRPr>
          </a:p>
        </p:txBody>
      </p:sp>
      <p:sp>
        <p:nvSpPr>
          <p:cNvPr id="7" name="ee4pFootnotes"/>
          <p:cNvSpPr>
            <a:spLocks noChangeArrowheads="1"/>
          </p:cNvSpPr>
          <p:nvPr/>
        </p:nvSpPr>
        <p:spPr bwMode="auto">
          <a:xfrm>
            <a:off x="628650" y="6438811"/>
            <a:ext cx="903091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a:solidFill>
                  <a:schemeClr val="bg1">
                    <a:lumMod val="50000"/>
                  </a:schemeClr>
                </a:solidFill>
                <a:latin typeface="Trebuchet MS" panose="020B0603020202020204" pitchFamily="34" charset="0"/>
                <a:cs typeface="Arial" pitchFamily="34" charset="0"/>
              </a:rPr>
              <a:t>Source : </a:t>
            </a:r>
            <a:r>
              <a:rPr lang="en-US" sz="1000" err="1">
                <a:solidFill>
                  <a:schemeClr val="bg1">
                    <a:lumMod val="50000"/>
                  </a:schemeClr>
                </a:solidFill>
                <a:latin typeface="Trebuchet MS" panose="020B0603020202020204" pitchFamily="34" charset="0"/>
                <a:cs typeface="Arial" pitchFamily="34" charset="0"/>
              </a:rPr>
              <a:t>ClientCo’s</a:t>
            </a:r>
            <a:r>
              <a:rPr lang="en-US" sz="1000">
                <a:solidFill>
                  <a:schemeClr val="bg1">
                    <a:lumMod val="50000"/>
                  </a:schemeClr>
                </a:solidFill>
                <a:latin typeface="Trebuchet MS" panose="020B0603020202020204" pitchFamily="34" charset="0"/>
                <a:cs typeface="Arial" pitchFamily="34" charset="0"/>
              </a:rPr>
              <a:t> Data, BCG studies</a:t>
            </a:r>
          </a:p>
        </p:txBody>
      </p:sp>
      <p:sp>
        <p:nvSpPr>
          <p:cNvPr id="43" name="object 34">
            <a:extLst>
              <a:ext uri="{FF2B5EF4-FFF2-40B4-BE49-F238E27FC236}">
                <a16:creationId xmlns:a16="http://schemas.microsoft.com/office/drawing/2014/main" id="{CA3F97C3-F0BA-D6BA-E5DC-19121E864BFE}"/>
              </a:ext>
            </a:extLst>
          </p:cNvPr>
          <p:cNvSpPr/>
          <p:nvPr/>
        </p:nvSpPr>
        <p:spPr>
          <a:xfrm rot="5400000">
            <a:off x="3982718" y="4139718"/>
            <a:ext cx="4130527" cy="45719"/>
          </a:xfrm>
          <a:custGeom>
            <a:avLst/>
            <a:gdLst/>
            <a:ahLst/>
            <a:cxnLst/>
            <a:rect l="l" t="t" r="r" b="b"/>
            <a:pathLst>
              <a:path w="9930765">
                <a:moveTo>
                  <a:pt x="0" y="0"/>
                </a:moveTo>
                <a:lnTo>
                  <a:pt x="9930384" y="0"/>
                </a:lnTo>
              </a:path>
            </a:pathLst>
          </a:custGeom>
          <a:ln w="9525">
            <a:solidFill>
              <a:srgbClr val="9A9A9A"/>
            </a:solidFill>
            <a:prstDash val="dash"/>
          </a:ln>
        </p:spPr>
        <p:txBody>
          <a:bodyPr wrap="square" lIns="0" tIns="0" rIns="0" bIns="0" rtlCol="0"/>
          <a:lstStyle/>
          <a:p>
            <a:endParaRPr/>
          </a:p>
        </p:txBody>
      </p:sp>
      <p:sp>
        <p:nvSpPr>
          <p:cNvPr id="11" name="object 20">
            <a:extLst>
              <a:ext uri="{FF2B5EF4-FFF2-40B4-BE49-F238E27FC236}">
                <a16:creationId xmlns:a16="http://schemas.microsoft.com/office/drawing/2014/main" id="{FA651644-BAA6-188E-5350-DF3EFD5F84EF}"/>
              </a:ext>
            </a:extLst>
          </p:cNvPr>
          <p:cNvSpPr txBox="1"/>
          <p:nvPr/>
        </p:nvSpPr>
        <p:spPr>
          <a:xfrm>
            <a:off x="628650" y="2081213"/>
            <a:ext cx="1963721" cy="259045"/>
          </a:xfrm>
          <a:prstGeom prst="rect">
            <a:avLst/>
          </a:prstGeom>
        </p:spPr>
        <p:txBody>
          <a:bodyPr vert="horz" wrap="square" lIns="0" tIns="12700" rIns="0" bIns="0" rtlCol="0">
            <a:spAutoFit/>
          </a:bodyPr>
          <a:lstStyle/>
          <a:p>
            <a:pPr marL="12700">
              <a:lnSpc>
                <a:spcPct val="100000"/>
              </a:lnSpc>
              <a:spcBef>
                <a:spcPts val="100"/>
              </a:spcBef>
            </a:pPr>
            <a:r>
              <a:rPr lang="fr-FR" sz="1600" spc="15">
                <a:solidFill>
                  <a:srgbClr val="20BE60"/>
                </a:solidFill>
                <a:latin typeface="Trebuchet MS" panose="020B0703020202090204" pitchFamily="34" charset="0"/>
                <a:cs typeface="Microsoft Sans Serif"/>
              </a:rPr>
              <a:t>Description</a:t>
            </a:r>
            <a:endParaRPr lang="fr-FR" sz="1600">
              <a:latin typeface="Trebuchet MS" panose="020B0703020202090204" pitchFamily="34" charset="0"/>
              <a:cs typeface="Microsoft Sans Serif"/>
            </a:endParaRPr>
          </a:p>
        </p:txBody>
      </p:sp>
      <p:sp>
        <p:nvSpPr>
          <p:cNvPr id="12" name="object 20">
            <a:extLst>
              <a:ext uri="{FF2B5EF4-FFF2-40B4-BE49-F238E27FC236}">
                <a16:creationId xmlns:a16="http://schemas.microsoft.com/office/drawing/2014/main" id="{FDB60F84-2869-354D-9BF1-3E609C000C50}"/>
              </a:ext>
            </a:extLst>
          </p:cNvPr>
          <p:cNvSpPr txBox="1"/>
          <p:nvPr/>
        </p:nvSpPr>
        <p:spPr>
          <a:xfrm>
            <a:off x="667240" y="3471864"/>
            <a:ext cx="2933210" cy="259045"/>
          </a:xfrm>
          <a:prstGeom prst="rect">
            <a:avLst/>
          </a:prstGeom>
        </p:spPr>
        <p:txBody>
          <a:bodyPr vert="horz" wrap="square" lIns="0" tIns="12700" rIns="0" bIns="0" rtlCol="0">
            <a:spAutoFit/>
          </a:bodyPr>
          <a:lstStyle>
            <a:defPPr>
              <a:defRPr lang="en-US"/>
            </a:defPPr>
            <a:lvl1pPr marL="12700">
              <a:lnSpc>
                <a:spcPct val="100000"/>
              </a:lnSpc>
              <a:spcBef>
                <a:spcPts val="100"/>
              </a:spcBef>
              <a:defRPr sz="1600" spc="15">
                <a:solidFill>
                  <a:srgbClr val="20BE60"/>
                </a:solidFill>
                <a:latin typeface="Microsoft Sans Serif"/>
                <a:cs typeface="Microsoft Sans Serif"/>
              </a:defRPr>
            </a:lvl1pPr>
          </a:lstStyle>
          <a:p>
            <a:r>
              <a:rPr lang="fr-FR" err="1">
                <a:latin typeface="Trebuchet MS" panose="020B0703020202090204" pitchFamily="34" charset="0"/>
              </a:rPr>
              <a:t>Required</a:t>
            </a:r>
            <a:r>
              <a:rPr lang="fr-FR">
                <a:latin typeface="Trebuchet MS" panose="020B0703020202090204" pitchFamily="34" charset="0"/>
              </a:rPr>
              <a:t> Ressources</a:t>
            </a:r>
          </a:p>
        </p:txBody>
      </p:sp>
      <p:sp>
        <p:nvSpPr>
          <p:cNvPr id="13" name="object 20">
            <a:extLst>
              <a:ext uri="{FF2B5EF4-FFF2-40B4-BE49-F238E27FC236}">
                <a16:creationId xmlns:a16="http://schemas.microsoft.com/office/drawing/2014/main" id="{81C670D0-C25C-9C7C-B784-09CB882E8002}"/>
              </a:ext>
            </a:extLst>
          </p:cNvPr>
          <p:cNvSpPr txBox="1"/>
          <p:nvPr/>
        </p:nvSpPr>
        <p:spPr>
          <a:xfrm>
            <a:off x="6208533" y="2104674"/>
            <a:ext cx="1963721" cy="259045"/>
          </a:xfrm>
          <a:prstGeom prst="rect">
            <a:avLst/>
          </a:prstGeom>
        </p:spPr>
        <p:txBody>
          <a:bodyPr vert="horz" wrap="square" lIns="0" tIns="12700" rIns="0" bIns="0" rtlCol="0">
            <a:spAutoFit/>
          </a:bodyPr>
          <a:lstStyle/>
          <a:p>
            <a:pPr marL="12700">
              <a:lnSpc>
                <a:spcPct val="100000"/>
              </a:lnSpc>
              <a:spcBef>
                <a:spcPts val="100"/>
              </a:spcBef>
            </a:pPr>
            <a:r>
              <a:rPr lang="fr-FR" sz="1600" spc="15" err="1">
                <a:solidFill>
                  <a:srgbClr val="20BE60"/>
                </a:solidFill>
                <a:latin typeface="Trebuchet MS" panose="020B0703020202090204" pitchFamily="34" charset="0"/>
                <a:cs typeface="Microsoft Sans Serif"/>
              </a:rPr>
              <a:t>Estimated</a:t>
            </a:r>
            <a:r>
              <a:rPr lang="fr-FR" sz="1600" spc="15">
                <a:solidFill>
                  <a:srgbClr val="20BE60"/>
                </a:solidFill>
                <a:latin typeface="Trebuchet MS" panose="020B0703020202090204" pitchFamily="34" charset="0"/>
                <a:cs typeface="Microsoft Sans Serif"/>
              </a:rPr>
              <a:t> Impact</a:t>
            </a:r>
            <a:endParaRPr lang="fr-FR" sz="1600">
              <a:latin typeface="Trebuchet MS" panose="020B0703020202090204" pitchFamily="34" charset="0"/>
              <a:cs typeface="Microsoft Sans Serif"/>
            </a:endParaRPr>
          </a:p>
        </p:txBody>
      </p:sp>
      <p:sp>
        <p:nvSpPr>
          <p:cNvPr id="14" name="object 20">
            <a:extLst>
              <a:ext uri="{FF2B5EF4-FFF2-40B4-BE49-F238E27FC236}">
                <a16:creationId xmlns:a16="http://schemas.microsoft.com/office/drawing/2014/main" id="{86EA0AB6-9792-3681-F7D3-03A87C515B0F}"/>
              </a:ext>
            </a:extLst>
          </p:cNvPr>
          <p:cNvSpPr txBox="1"/>
          <p:nvPr/>
        </p:nvSpPr>
        <p:spPr>
          <a:xfrm>
            <a:off x="6208532" y="3471864"/>
            <a:ext cx="4334367" cy="259045"/>
          </a:xfrm>
          <a:prstGeom prst="rect">
            <a:avLst/>
          </a:prstGeom>
        </p:spPr>
        <p:txBody>
          <a:bodyPr vert="horz" wrap="square" lIns="0" tIns="12700" rIns="0" bIns="0" rtlCol="0">
            <a:spAutoFit/>
          </a:bodyPr>
          <a:lstStyle/>
          <a:p>
            <a:pPr marL="12700">
              <a:lnSpc>
                <a:spcPct val="100000"/>
              </a:lnSpc>
              <a:spcBef>
                <a:spcPts val="100"/>
              </a:spcBef>
            </a:pPr>
            <a:r>
              <a:rPr lang="fr-FR" sz="1600" spc="15" err="1">
                <a:solidFill>
                  <a:srgbClr val="20BE60"/>
                </a:solidFill>
                <a:latin typeface="Trebuchet MS" panose="020B0703020202090204" pitchFamily="34" charset="0"/>
                <a:cs typeface="Microsoft Sans Serif"/>
              </a:rPr>
              <a:t>They</a:t>
            </a:r>
            <a:r>
              <a:rPr lang="fr-FR" sz="1600" spc="15">
                <a:solidFill>
                  <a:srgbClr val="20BE60"/>
                </a:solidFill>
                <a:latin typeface="Trebuchet MS" panose="020B0703020202090204" pitchFamily="34" charset="0"/>
                <a:cs typeface="Microsoft Sans Serif"/>
              </a:rPr>
              <a:t> support </a:t>
            </a:r>
            <a:r>
              <a:rPr lang="fr-FR" sz="1600" spc="15" err="1">
                <a:solidFill>
                  <a:srgbClr val="20BE60"/>
                </a:solidFill>
                <a:latin typeface="Trebuchet MS" panose="020B0703020202090204" pitchFamily="34" charset="0"/>
                <a:cs typeface="Microsoft Sans Serif"/>
              </a:rPr>
              <a:t>it</a:t>
            </a:r>
            <a:endParaRPr lang="fr-FR" sz="1600">
              <a:latin typeface="Trebuchet MS" panose="020B0703020202090204" pitchFamily="34" charset="0"/>
              <a:cs typeface="Microsoft Sans Serif"/>
            </a:endParaRPr>
          </a:p>
        </p:txBody>
      </p:sp>
      <p:sp>
        <p:nvSpPr>
          <p:cNvPr id="15" name="object 3">
            <a:extLst>
              <a:ext uri="{FF2B5EF4-FFF2-40B4-BE49-F238E27FC236}">
                <a16:creationId xmlns:a16="http://schemas.microsoft.com/office/drawing/2014/main" id="{855D29FA-982C-D0B8-360C-25AB00A4957B}"/>
              </a:ext>
            </a:extLst>
          </p:cNvPr>
          <p:cNvSpPr txBox="1"/>
          <p:nvPr/>
        </p:nvSpPr>
        <p:spPr>
          <a:xfrm>
            <a:off x="652912" y="2454809"/>
            <a:ext cx="5311693" cy="887422"/>
          </a:xfrm>
          <a:prstGeom prst="rect">
            <a:avLst/>
          </a:prstGeom>
        </p:spPr>
        <p:txBody>
          <a:bodyPr vert="horz" wrap="square" lIns="0" tIns="12700" rIns="0" bIns="0" rtlCol="0">
            <a:spAutoFit/>
          </a:bodyPr>
          <a:lstStyle/>
          <a:p>
            <a:pPr marL="12700" algn="just">
              <a:lnSpc>
                <a:spcPct val="100000"/>
              </a:lnSpc>
              <a:spcBef>
                <a:spcPts val="100"/>
              </a:spcBef>
              <a:buClr>
                <a:srgbClr val="9A9CA1"/>
              </a:buClr>
              <a:tabLst>
                <a:tab pos="226060" algn="l"/>
              </a:tabLst>
            </a:pPr>
            <a:r>
              <a:rPr lang="en-US" sz="1400" spc="-5">
                <a:solidFill>
                  <a:srgbClr val="373739"/>
                </a:solidFill>
                <a:latin typeface="Trebuchet MS" panose="020B0703020202090204" pitchFamily="34" charset="0"/>
              </a:rPr>
              <a:t>Use of available data (sales and transactions) to predict potential customer churn and enable preventive measures.</a:t>
            </a:r>
          </a:p>
          <a:p>
            <a:pPr marL="12700" algn="just">
              <a:lnSpc>
                <a:spcPct val="100000"/>
              </a:lnSpc>
              <a:spcBef>
                <a:spcPts val="100"/>
              </a:spcBef>
              <a:buClr>
                <a:srgbClr val="9A9CA1"/>
              </a:buClr>
              <a:tabLst>
                <a:tab pos="226060" algn="l"/>
              </a:tabLst>
            </a:pPr>
            <a:r>
              <a:rPr lang="en-US" sz="1400" spc="-5">
                <a:solidFill>
                  <a:srgbClr val="373739"/>
                </a:solidFill>
                <a:latin typeface="Trebuchet MS" panose="020B0703020202090204" pitchFamily="34" charset="0"/>
              </a:rPr>
              <a:t>This use case require a small task force and a pilot can be easily deployed without disturbing ongoing operations.</a:t>
            </a:r>
          </a:p>
        </p:txBody>
      </p:sp>
      <p:sp>
        <p:nvSpPr>
          <p:cNvPr id="17" name="object 3">
            <a:extLst>
              <a:ext uri="{FF2B5EF4-FFF2-40B4-BE49-F238E27FC236}">
                <a16:creationId xmlns:a16="http://schemas.microsoft.com/office/drawing/2014/main" id="{CDCBE93F-C0AE-E463-56F2-135B0AF94CF3}"/>
              </a:ext>
            </a:extLst>
          </p:cNvPr>
          <p:cNvSpPr txBox="1"/>
          <p:nvPr/>
        </p:nvSpPr>
        <p:spPr>
          <a:xfrm>
            <a:off x="6200626" y="2475306"/>
            <a:ext cx="4334367" cy="456535"/>
          </a:xfrm>
          <a:prstGeom prst="rect">
            <a:avLst/>
          </a:prstGeom>
        </p:spPr>
        <p:txBody>
          <a:bodyPr vert="horz" wrap="square" lIns="0" tIns="12700" rIns="0" bIns="0" rtlCol="0">
            <a:spAutoFit/>
          </a:bodyPr>
          <a:lstStyle/>
          <a:p>
            <a:pPr marL="12700">
              <a:lnSpc>
                <a:spcPct val="100000"/>
              </a:lnSpc>
              <a:spcBef>
                <a:spcPts val="100"/>
              </a:spcBef>
              <a:buClr>
                <a:srgbClr val="9A9CA1"/>
              </a:buClr>
              <a:tabLst>
                <a:tab pos="226060" algn="l"/>
              </a:tabLst>
            </a:pPr>
            <a:r>
              <a:rPr lang="en-US" sz="1400" b="1" spc="-5">
                <a:solidFill>
                  <a:schemeClr val="bg2">
                    <a:lumMod val="25000"/>
                  </a:schemeClr>
                </a:solidFill>
                <a:latin typeface="Trebuchet MS" panose="020B0703020202090204" pitchFamily="34" charset="0"/>
              </a:rPr>
              <a:t>+1% income </a:t>
            </a:r>
            <a:r>
              <a:rPr lang="en-US" sz="1400" spc="-5">
                <a:solidFill>
                  <a:srgbClr val="373739"/>
                </a:solidFill>
                <a:latin typeface="Trebuchet MS" panose="020B0703020202090204" pitchFamily="34" charset="0"/>
              </a:rPr>
              <a:t>growth</a:t>
            </a:r>
            <a:r>
              <a:rPr lang="en-US" sz="1400" spc="-5">
                <a:solidFill>
                  <a:schemeClr val="bg2">
                    <a:lumMod val="25000"/>
                  </a:schemeClr>
                </a:solidFill>
                <a:latin typeface="Trebuchet MS" panose="020B0703020202090204" pitchFamily="34" charset="0"/>
              </a:rPr>
              <a:t> – 31 M€</a:t>
            </a:r>
          </a:p>
          <a:p>
            <a:pPr marL="12700">
              <a:spcBef>
                <a:spcPts val="100"/>
              </a:spcBef>
              <a:buClr>
                <a:srgbClr val="9A9CA1"/>
              </a:buClr>
              <a:tabLst>
                <a:tab pos="226060" algn="l"/>
              </a:tabLst>
            </a:pPr>
            <a:r>
              <a:rPr lang="en-US" sz="1400" b="1" spc="-5">
                <a:solidFill>
                  <a:schemeClr val="bg2">
                    <a:lumMod val="25000"/>
                  </a:schemeClr>
                </a:solidFill>
                <a:latin typeface="Trebuchet MS" panose="020B0703020202090204" pitchFamily="34" charset="0"/>
              </a:rPr>
              <a:t>Up to -20% client attrition</a:t>
            </a:r>
          </a:p>
        </p:txBody>
      </p:sp>
      <p:pic>
        <p:nvPicPr>
          <p:cNvPr id="21" name="Image 20">
            <a:extLst>
              <a:ext uri="{FF2B5EF4-FFF2-40B4-BE49-F238E27FC236}">
                <a16:creationId xmlns:a16="http://schemas.microsoft.com/office/drawing/2014/main" id="{BA7F5D4A-7F50-1051-C645-F55311AD4320}"/>
              </a:ext>
            </a:extLst>
          </p:cNvPr>
          <p:cNvPicPr>
            <a:picLocks noChangeAspect="1"/>
          </p:cNvPicPr>
          <p:nvPr/>
        </p:nvPicPr>
        <p:blipFill>
          <a:blip r:embed="rId8">
            <a:extLst>
              <a:ext uri="{BEBA8EAE-BF5A-486C-A8C5-ECC9F3942E4B}">
                <a14:imgProps xmlns:a14="http://schemas.microsoft.com/office/drawing/2010/main">
                  <a14:imgLayer r:embed="rId9">
                    <a14:imgEffect>
                      <a14:backgroundRemoval t="10000" b="90000" l="10000" r="90000"/>
                    </a14:imgEffect>
                  </a14:imgLayer>
                </a14:imgProps>
              </a:ext>
            </a:extLst>
          </a:blip>
          <a:stretch>
            <a:fillRect/>
          </a:stretch>
        </p:blipFill>
        <p:spPr>
          <a:xfrm>
            <a:off x="3491143" y="4087116"/>
            <a:ext cx="849207" cy="796689"/>
          </a:xfrm>
          <a:prstGeom prst="rect">
            <a:avLst/>
          </a:prstGeom>
        </p:spPr>
      </p:pic>
      <p:pic>
        <p:nvPicPr>
          <p:cNvPr id="22" name="Image 21">
            <a:extLst>
              <a:ext uri="{FF2B5EF4-FFF2-40B4-BE49-F238E27FC236}">
                <a16:creationId xmlns:a16="http://schemas.microsoft.com/office/drawing/2014/main" id="{FA93E450-E223-4942-4E13-2E3EB108CBC8}"/>
              </a:ext>
            </a:extLst>
          </p:cNvPr>
          <p:cNvPicPr>
            <a:picLocks noChangeAspect="1"/>
          </p:cNvPicPr>
          <p:nvPr/>
        </p:nvPicPr>
        <p:blipFill>
          <a:blip r:embed="rId10">
            <a:extLst>
              <a:ext uri="{96DAC541-7B7A-43D3-8B79-37D633B846F1}">
                <asvg:svgBlip xmlns:asvg="http://schemas.microsoft.com/office/drawing/2016/SVG/main" r:embed="rId11"/>
              </a:ext>
            </a:extLst>
          </a:blip>
          <a:srcRect/>
          <a:stretch/>
        </p:blipFill>
        <p:spPr>
          <a:xfrm>
            <a:off x="628650" y="5295853"/>
            <a:ext cx="796689" cy="796689"/>
          </a:xfrm>
          <a:prstGeom prst="rect">
            <a:avLst/>
          </a:prstGeom>
        </p:spPr>
      </p:pic>
      <p:pic>
        <p:nvPicPr>
          <p:cNvPr id="23" name="Image 22" descr="Base de données contour">
            <a:extLst>
              <a:ext uri="{FF2B5EF4-FFF2-40B4-BE49-F238E27FC236}">
                <a16:creationId xmlns:a16="http://schemas.microsoft.com/office/drawing/2014/main" id="{F32F55C5-70C5-A2BC-7D1D-16335B5C585C}"/>
              </a:ext>
            </a:extLst>
          </p:cNvPr>
          <p:cNvPicPr>
            <a:picLocks noChangeAspect="1"/>
          </p:cNvPicPr>
          <p:nvPr/>
        </p:nvPicPr>
        <p:blipFill>
          <a:blip r:embed="rId12">
            <a:extLst>
              <a:ext uri="{96DAC541-7B7A-43D3-8B79-37D633B846F1}">
                <asvg:svgBlip xmlns:asvg="http://schemas.microsoft.com/office/drawing/2016/SVG/main" r:embed="rId13"/>
              </a:ext>
            </a:extLst>
          </a:blip>
          <a:srcRect/>
          <a:stretch/>
        </p:blipFill>
        <p:spPr>
          <a:xfrm>
            <a:off x="645960" y="4043261"/>
            <a:ext cx="796689" cy="796689"/>
          </a:xfrm>
          <a:prstGeom prst="rect">
            <a:avLst/>
          </a:prstGeom>
        </p:spPr>
      </p:pic>
      <p:sp>
        <p:nvSpPr>
          <p:cNvPr id="24" name="object 3">
            <a:extLst>
              <a:ext uri="{FF2B5EF4-FFF2-40B4-BE49-F238E27FC236}">
                <a16:creationId xmlns:a16="http://schemas.microsoft.com/office/drawing/2014/main" id="{20FEB8CD-2DDC-ABD8-5524-90F7752516D6}"/>
              </a:ext>
            </a:extLst>
          </p:cNvPr>
          <p:cNvSpPr txBox="1"/>
          <p:nvPr/>
        </p:nvSpPr>
        <p:spPr>
          <a:xfrm>
            <a:off x="1526026" y="4216835"/>
            <a:ext cx="1932822" cy="456535"/>
          </a:xfrm>
          <a:prstGeom prst="rect">
            <a:avLst/>
          </a:prstGeom>
        </p:spPr>
        <p:txBody>
          <a:bodyPr vert="horz" wrap="square" lIns="0" tIns="12700" rIns="0" bIns="0" rtlCol="0">
            <a:spAutoFit/>
          </a:bodyPr>
          <a:lstStyle/>
          <a:p>
            <a:pPr marL="12700" algn="just">
              <a:lnSpc>
                <a:spcPct val="100000"/>
              </a:lnSpc>
              <a:spcBef>
                <a:spcPts val="100"/>
              </a:spcBef>
              <a:buClr>
                <a:srgbClr val="9A9CA1"/>
              </a:buClr>
              <a:tabLst>
                <a:tab pos="226060" algn="l"/>
              </a:tabLst>
            </a:pPr>
            <a:r>
              <a:rPr lang="en-US" sz="1400" spc="-5">
                <a:solidFill>
                  <a:srgbClr val="373739"/>
                </a:solidFill>
                <a:latin typeface="Trebuchet MS" panose="020B0703020202090204" pitchFamily="34" charset="0"/>
              </a:rPr>
              <a:t>Sales – Transactions</a:t>
            </a:r>
          </a:p>
          <a:p>
            <a:pPr marL="12700" algn="just">
              <a:lnSpc>
                <a:spcPct val="100000"/>
              </a:lnSpc>
              <a:spcBef>
                <a:spcPts val="100"/>
              </a:spcBef>
              <a:buClr>
                <a:srgbClr val="9A9CA1"/>
              </a:buClr>
              <a:tabLst>
                <a:tab pos="226060" algn="l"/>
              </a:tabLst>
            </a:pPr>
            <a:r>
              <a:rPr lang="en-US" sz="1400" i="1" spc="-5">
                <a:solidFill>
                  <a:srgbClr val="373739"/>
                </a:solidFill>
                <a:latin typeface="Trebuchet MS" panose="020B0703020202090204" pitchFamily="34" charset="0"/>
              </a:rPr>
              <a:t>Already Available</a:t>
            </a:r>
          </a:p>
        </p:txBody>
      </p:sp>
      <p:sp>
        <p:nvSpPr>
          <p:cNvPr id="26" name="object 3">
            <a:extLst>
              <a:ext uri="{FF2B5EF4-FFF2-40B4-BE49-F238E27FC236}">
                <a16:creationId xmlns:a16="http://schemas.microsoft.com/office/drawing/2014/main" id="{C3FEAF3C-C598-E5BE-C8A4-38D18B828D4A}"/>
              </a:ext>
            </a:extLst>
          </p:cNvPr>
          <p:cNvSpPr txBox="1"/>
          <p:nvPr/>
        </p:nvSpPr>
        <p:spPr>
          <a:xfrm>
            <a:off x="6200430" y="4054623"/>
            <a:ext cx="3082494" cy="610424"/>
          </a:xfrm>
          <a:prstGeom prst="rect">
            <a:avLst/>
          </a:prstGeom>
        </p:spPr>
        <p:txBody>
          <a:bodyPr vert="horz" wrap="square" lIns="0" tIns="12700" rIns="0" bIns="0" rtlCol="0">
            <a:spAutoFit/>
          </a:bodyPr>
          <a:lstStyle>
            <a:defPPr>
              <a:defRPr lang="en-US"/>
            </a:defPPr>
            <a:lvl1pPr marL="12700">
              <a:lnSpc>
                <a:spcPct val="100000"/>
              </a:lnSpc>
              <a:spcBef>
                <a:spcPts val="100"/>
              </a:spcBef>
              <a:buClr>
                <a:srgbClr val="9A9CA1"/>
              </a:buClr>
              <a:tabLst>
                <a:tab pos="226060" algn="l"/>
              </a:tabLst>
              <a:defRPr sz="1400" spc="-5">
                <a:solidFill>
                  <a:srgbClr val="373739"/>
                </a:solidFill>
                <a:latin typeface="Trebuchet MS"/>
              </a:defRPr>
            </a:lvl1pPr>
          </a:lstStyle>
          <a:p>
            <a:pPr algn="just"/>
            <a:r>
              <a:rPr lang="en-US">
                <a:latin typeface="Trebuchet MS" panose="020B0703020202090204" pitchFamily="34" charset="0"/>
              </a:rPr>
              <a:t>“I’m not sure an algorithm could help predict it, but would be willing to try</a:t>
            </a:r>
            <a:r>
              <a:rPr lang="fr-FR">
                <a:latin typeface="Trebuchet MS" panose="020B0703020202090204" pitchFamily="34" charset="0"/>
              </a:rPr>
              <a:t>"</a:t>
            </a:r>
          </a:p>
          <a:p>
            <a:pPr algn="just"/>
            <a:r>
              <a:rPr lang="en-US" sz="900" i="1">
                <a:latin typeface="Trebuchet MS" panose="020B0703020202090204" pitchFamily="34" charset="0"/>
              </a:rPr>
              <a:t>- </a:t>
            </a:r>
            <a:r>
              <a:rPr lang="en-US" sz="900" i="1" err="1">
                <a:latin typeface="Trebuchet MS" panose="020B0703020202090204" pitchFamily="34" charset="0"/>
              </a:rPr>
              <a:t>Mr</a:t>
            </a:r>
            <a:r>
              <a:rPr lang="en-US" sz="900" i="1">
                <a:latin typeface="Trebuchet MS" panose="020B0703020202090204" pitchFamily="34" charset="0"/>
              </a:rPr>
              <a:t> Dubois, Sales Manager</a:t>
            </a:r>
          </a:p>
        </p:txBody>
      </p:sp>
      <p:sp>
        <p:nvSpPr>
          <p:cNvPr id="50" name="object 3">
            <a:extLst>
              <a:ext uri="{FF2B5EF4-FFF2-40B4-BE49-F238E27FC236}">
                <a16:creationId xmlns:a16="http://schemas.microsoft.com/office/drawing/2014/main" id="{120AD733-638B-8137-79AD-65197CA930DE}"/>
              </a:ext>
            </a:extLst>
          </p:cNvPr>
          <p:cNvSpPr txBox="1"/>
          <p:nvPr/>
        </p:nvSpPr>
        <p:spPr>
          <a:xfrm>
            <a:off x="6208532" y="4902062"/>
            <a:ext cx="3082494" cy="443711"/>
          </a:xfrm>
          <a:prstGeom prst="rect">
            <a:avLst/>
          </a:prstGeom>
        </p:spPr>
        <p:txBody>
          <a:bodyPr vert="horz" wrap="square" lIns="0" tIns="12700" rIns="0" bIns="0" rtlCol="0">
            <a:spAutoFit/>
          </a:bodyPr>
          <a:lstStyle>
            <a:defPPr>
              <a:defRPr lang="en-US"/>
            </a:defPPr>
            <a:lvl1pPr marL="12700">
              <a:lnSpc>
                <a:spcPct val="100000"/>
              </a:lnSpc>
              <a:spcBef>
                <a:spcPts val="100"/>
              </a:spcBef>
              <a:buClr>
                <a:srgbClr val="9A9CA1"/>
              </a:buClr>
              <a:tabLst>
                <a:tab pos="226060" algn="l"/>
              </a:tabLst>
              <a:defRPr sz="1400" spc="-5">
                <a:solidFill>
                  <a:srgbClr val="373739"/>
                </a:solidFill>
                <a:latin typeface="Trebuchet MS"/>
              </a:defRPr>
            </a:lvl1pPr>
          </a:lstStyle>
          <a:p>
            <a:pPr algn="just"/>
            <a:r>
              <a:rPr lang="en-US">
                <a:latin typeface="Trebuchet MS" panose="020B0703020202090204" pitchFamily="34" charset="0"/>
              </a:rPr>
              <a:t>“This is a great use case to deploy at the beginning” </a:t>
            </a:r>
            <a:r>
              <a:rPr lang="en-US" sz="900" i="1">
                <a:latin typeface="Trebuchet MS" panose="020B0703020202090204" pitchFamily="34" charset="0"/>
              </a:rPr>
              <a:t>– BCG former client</a:t>
            </a:r>
          </a:p>
        </p:txBody>
      </p:sp>
      <p:sp>
        <p:nvSpPr>
          <p:cNvPr id="51" name="object 3">
            <a:extLst>
              <a:ext uri="{FF2B5EF4-FFF2-40B4-BE49-F238E27FC236}">
                <a16:creationId xmlns:a16="http://schemas.microsoft.com/office/drawing/2014/main" id="{009A8190-D539-D102-6EE9-CBA4EFE04F5D}"/>
              </a:ext>
            </a:extLst>
          </p:cNvPr>
          <p:cNvSpPr txBox="1"/>
          <p:nvPr/>
        </p:nvSpPr>
        <p:spPr>
          <a:xfrm>
            <a:off x="6208532" y="5582788"/>
            <a:ext cx="3082494" cy="610424"/>
          </a:xfrm>
          <a:prstGeom prst="rect">
            <a:avLst/>
          </a:prstGeom>
        </p:spPr>
        <p:txBody>
          <a:bodyPr vert="horz" wrap="square" lIns="0" tIns="12700" rIns="0" bIns="0" rtlCol="0">
            <a:spAutoFit/>
          </a:bodyPr>
          <a:lstStyle>
            <a:defPPr>
              <a:defRPr lang="en-US"/>
            </a:defPPr>
            <a:lvl1pPr marL="12700">
              <a:lnSpc>
                <a:spcPct val="100000"/>
              </a:lnSpc>
              <a:spcBef>
                <a:spcPts val="100"/>
              </a:spcBef>
              <a:buClr>
                <a:srgbClr val="9A9CA1"/>
              </a:buClr>
              <a:tabLst>
                <a:tab pos="226060" algn="l"/>
              </a:tabLst>
              <a:defRPr sz="1400" spc="-5">
                <a:solidFill>
                  <a:srgbClr val="373739"/>
                </a:solidFill>
                <a:latin typeface="Trebuchet MS"/>
              </a:defRPr>
            </a:lvl1pPr>
          </a:lstStyle>
          <a:p>
            <a:pPr algn="just"/>
            <a:r>
              <a:rPr lang="en-US">
                <a:latin typeface="Trebuchet MS" panose="020B0703020202090204" pitchFamily="34" charset="0"/>
              </a:rPr>
              <a:t>“Churn prevention is very important; it’s been a hot topic for years </a:t>
            </a:r>
            <a:r>
              <a:rPr lang="fr-FR">
                <a:latin typeface="Trebuchet MS" panose="020B0703020202090204" pitchFamily="34" charset="0"/>
              </a:rPr>
              <a:t> »</a:t>
            </a:r>
          </a:p>
          <a:p>
            <a:pPr algn="just"/>
            <a:r>
              <a:rPr lang="fr-FR" sz="900" i="1">
                <a:latin typeface="Trebuchet MS" panose="020B0703020202090204" pitchFamily="34" charset="0"/>
              </a:rPr>
              <a:t>- Mr Alfredo, Head of Sales</a:t>
            </a:r>
            <a:endParaRPr lang="en-US" sz="900" i="1">
              <a:latin typeface="Trebuchet MS" panose="020B0703020202090204" pitchFamily="34" charset="0"/>
            </a:endParaRPr>
          </a:p>
        </p:txBody>
      </p:sp>
      <p:sp>
        <p:nvSpPr>
          <p:cNvPr id="53" name="object 3">
            <a:extLst>
              <a:ext uri="{FF2B5EF4-FFF2-40B4-BE49-F238E27FC236}">
                <a16:creationId xmlns:a16="http://schemas.microsoft.com/office/drawing/2014/main" id="{40EB201C-6A09-CEF2-1B77-0D7A8CDF7C54}"/>
              </a:ext>
            </a:extLst>
          </p:cNvPr>
          <p:cNvSpPr txBox="1"/>
          <p:nvPr/>
        </p:nvSpPr>
        <p:spPr>
          <a:xfrm>
            <a:off x="4340350" y="4255902"/>
            <a:ext cx="1730491" cy="456535"/>
          </a:xfrm>
          <a:prstGeom prst="rect">
            <a:avLst/>
          </a:prstGeom>
        </p:spPr>
        <p:txBody>
          <a:bodyPr vert="horz" wrap="square" lIns="0" tIns="12700" rIns="0" bIns="0" rtlCol="0">
            <a:spAutoFit/>
          </a:bodyPr>
          <a:lstStyle/>
          <a:p>
            <a:pPr marL="12700" algn="just">
              <a:lnSpc>
                <a:spcPct val="100000"/>
              </a:lnSpc>
              <a:spcBef>
                <a:spcPts val="100"/>
              </a:spcBef>
              <a:buClr>
                <a:srgbClr val="9A9CA1"/>
              </a:buClr>
              <a:tabLst>
                <a:tab pos="226060" algn="l"/>
              </a:tabLst>
            </a:pPr>
            <a:r>
              <a:rPr lang="en-US" sz="1400" spc="-5">
                <a:solidFill>
                  <a:srgbClr val="373739"/>
                </a:solidFill>
                <a:latin typeface="Trebuchet MS" panose="020B0703020202090204" pitchFamily="34" charset="0"/>
              </a:rPr>
              <a:t>“Run” Task Force</a:t>
            </a:r>
          </a:p>
          <a:p>
            <a:pPr marL="12700" algn="just">
              <a:lnSpc>
                <a:spcPct val="100000"/>
              </a:lnSpc>
              <a:spcBef>
                <a:spcPts val="100"/>
              </a:spcBef>
              <a:buClr>
                <a:srgbClr val="9A9CA1"/>
              </a:buClr>
              <a:tabLst>
                <a:tab pos="226060" algn="l"/>
              </a:tabLst>
            </a:pPr>
            <a:r>
              <a:rPr lang="en-US" sz="1400" i="1" spc="-5">
                <a:solidFill>
                  <a:srgbClr val="373739"/>
                </a:solidFill>
                <a:latin typeface="Trebuchet MS" panose="020B0703020202090204" pitchFamily="34" charset="0"/>
              </a:rPr>
              <a:t>Already Available</a:t>
            </a:r>
          </a:p>
        </p:txBody>
      </p:sp>
      <p:sp>
        <p:nvSpPr>
          <p:cNvPr id="54" name="object 3">
            <a:extLst>
              <a:ext uri="{FF2B5EF4-FFF2-40B4-BE49-F238E27FC236}">
                <a16:creationId xmlns:a16="http://schemas.microsoft.com/office/drawing/2014/main" id="{2B95FBD2-C9DA-2804-361C-AC7B56B88A6D}"/>
              </a:ext>
            </a:extLst>
          </p:cNvPr>
          <p:cNvSpPr txBox="1"/>
          <p:nvPr/>
        </p:nvSpPr>
        <p:spPr>
          <a:xfrm>
            <a:off x="1563337" y="5496350"/>
            <a:ext cx="4331999" cy="443711"/>
          </a:xfrm>
          <a:prstGeom prst="rect">
            <a:avLst/>
          </a:prstGeom>
        </p:spPr>
        <p:txBody>
          <a:bodyPr vert="horz" wrap="square" lIns="0" tIns="12700" rIns="0" bIns="0" rtlCol="0">
            <a:spAutoFit/>
          </a:bodyPr>
          <a:lstStyle/>
          <a:p>
            <a:pPr marL="12700" algn="just">
              <a:lnSpc>
                <a:spcPct val="100000"/>
              </a:lnSpc>
              <a:spcBef>
                <a:spcPts val="100"/>
              </a:spcBef>
              <a:buClr>
                <a:srgbClr val="9A9CA1"/>
              </a:buClr>
              <a:tabLst>
                <a:tab pos="226060" algn="l"/>
              </a:tabLst>
            </a:pPr>
            <a:r>
              <a:rPr lang="en-US" sz="1400" spc="-5">
                <a:solidFill>
                  <a:srgbClr val="373739"/>
                </a:solidFill>
                <a:latin typeface="Trebuchet MS" panose="020B0703020202090204" pitchFamily="34" charset="0"/>
              </a:rPr>
              <a:t>Scaling the program into other geographies and teaching all the local sales teams will be a challenge. </a:t>
            </a:r>
          </a:p>
        </p:txBody>
      </p:sp>
      <p:sp>
        <p:nvSpPr>
          <p:cNvPr id="55" name="object 3">
            <a:extLst>
              <a:ext uri="{FF2B5EF4-FFF2-40B4-BE49-F238E27FC236}">
                <a16:creationId xmlns:a16="http://schemas.microsoft.com/office/drawing/2014/main" id="{B2EE1A2A-1D6F-C50D-E585-65CF27466285}"/>
              </a:ext>
            </a:extLst>
          </p:cNvPr>
          <p:cNvSpPr txBox="1"/>
          <p:nvPr/>
        </p:nvSpPr>
        <p:spPr>
          <a:xfrm>
            <a:off x="9043988" y="2471076"/>
            <a:ext cx="2519362" cy="443711"/>
          </a:xfrm>
          <a:prstGeom prst="rect">
            <a:avLst/>
          </a:prstGeom>
        </p:spPr>
        <p:txBody>
          <a:bodyPr vert="horz" wrap="square" lIns="0" tIns="12700" rIns="0" bIns="0" rtlCol="0">
            <a:spAutoFit/>
          </a:bodyPr>
          <a:lstStyle>
            <a:defPPr>
              <a:defRPr lang="en-US"/>
            </a:defPPr>
            <a:lvl1pPr marL="12700">
              <a:lnSpc>
                <a:spcPct val="100000"/>
              </a:lnSpc>
              <a:spcBef>
                <a:spcPts val="100"/>
              </a:spcBef>
              <a:buClr>
                <a:srgbClr val="9A9CA1"/>
              </a:buClr>
              <a:tabLst>
                <a:tab pos="226060" algn="l"/>
              </a:tabLst>
              <a:defRPr sz="1600" b="1" spc="-5">
                <a:solidFill>
                  <a:schemeClr val="bg2">
                    <a:lumMod val="25000"/>
                  </a:schemeClr>
                </a:solidFill>
                <a:latin typeface="Trebuchet MS"/>
              </a:defRPr>
            </a:lvl1pPr>
          </a:lstStyle>
          <a:p>
            <a:pPr algn="just"/>
            <a:r>
              <a:rPr lang="en-US" sz="1400">
                <a:latin typeface="Trebuchet MS" panose="020B0703020202090204" pitchFamily="34" charset="0"/>
              </a:rPr>
              <a:t>Mid-term ROI </a:t>
            </a:r>
            <a:r>
              <a:rPr lang="en-US" sz="1400" b="0">
                <a:latin typeface="Trebuchet MS" panose="020B0703020202090204" pitchFamily="34" charset="0"/>
              </a:rPr>
              <a:t>enabling the funding of </a:t>
            </a:r>
            <a:r>
              <a:rPr lang="en-US" sz="1400" b="0" err="1">
                <a:latin typeface="Trebuchet MS" panose="020B0703020202090204" pitchFamily="34" charset="0"/>
              </a:rPr>
              <a:t>addtionnal</a:t>
            </a:r>
            <a:r>
              <a:rPr lang="en-US" sz="1400" b="0">
                <a:latin typeface="Trebuchet MS" panose="020B0703020202090204" pitchFamily="34" charset="0"/>
              </a:rPr>
              <a:t> projects.</a:t>
            </a:r>
          </a:p>
        </p:txBody>
      </p:sp>
      <p:graphicFrame>
        <p:nvGraphicFramePr>
          <p:cNvPr id="56" name="Diagramme 55">
            <a:extLst>
              <a:ext uri="{FF2B5EF4-FFF2-40B4-BE49-F238E27FC236}">
                <a16:creationId xmlns:a16="http://schemas.microsoft.com/office/drawing/2014/main" id="{CB3826BF-D2B0-2A94-65A4-9FC6FD4C973A}"/>
              </a:ext>
            </a:extLst>
          </p:cNvPr>
          <p:cNvGraphicFramePr/>
          <p:nvPr/>
        </p:nvGraphicFramePr>
        <p:xfrm>
          <a:off x="9151652" y="3793303"/>
          <a:ext cx="2810380" cy="2399409"/>
        </p:xfrm>
        <a:graphic>
          <a:graphicData uri="http://schemas.openxmlformats.org/drawingml/2006/diagram">
            <dgm:relIds xmlns:dgm="http://schemas.openxmlformats.org/drawingml/2006/diagram" xmlns:r="http://schemas.openxmlformats.org/officeDocument/2006/relationships" r:dm="rId14" r:lo="rId15" r:qs="rId16" r:cs="rId17"/>
          </a:graphicData>
        </a:graphic>
      </p:graphicFrame>
    </p:spTree>
    <p:extLst>
      <p:ext uri="{BB962C8B-B14F-4D97-AF65-F5344CB8AC3E}">
        <p14:creationId xmlns:p14="http://schemas.microsoft.com/office/powerpoint/2010/main" val="427381553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5105" name="Diapositive think-cell" r:id="rId6" imgW="473" imgH="473" progId="TCLayout.ActiveDocument.1">
                  <p:embed/>
                </p:oleObj>
              </mc:Choice>
              <mc:Fallback>
                <p:oleObj name="Diapositive think-cell" r:id="rId6" imgW="473" imgH="473"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a:xfrm>
            <a:off x="630000" y="622800"/>
            <a:ext cx="10933350" cy="443198"/>
          </a:xfrm>
        </p:spPr>
        <p:txBody>
          <a:bodyPr vert="horz"/>
          <a:lstStyle/>
          <a:p>
            <a:r>
              <a:rPr lang="fr-FR" sz="3200" spc="-5">
                <a:solidFill>
                  <a:srgbClr val="20BE60"/>
                </a:solidFill>
              </a:rPr>
              <a:t>Annex 5b:</a:t>
            </a:r>
            <a:br>
              <a:rPr lang="fr-FR" sz="3200" spc="-5">
                <a:solidFill>
                  <a:srgbClr val="20BE60"/>
                </a:solidFill>
              </a:rPr>
            </a:br>
            <a:r>
              <a:rPr lang="fr-FR" sz="3200" spc="-5" err="1">
                <a:solidFill>
                  <a:srgbClr val="20BE60"/>
                </a:solidFill>
              </a:rPr>
              <a:t>Recommendation</a:t>
            </a:r>
            <a:r>
              <a:rPr lang="fr-FR" sz="3200" spc="-5">
                <a:solidFill>
                  <a:srgbClr val="20BE60"/>
                </a:solidFill>
              </a:rPr>
              <a:t> Tool : a </a:t>
            </a:r>
            <a:r>
              <a:rPr lang="fr-FR" sz="3200" spc="-5" err="1">
                <a:solidFill>
                  <a:srgbClr val="20BE60"/>
                </a:solidFill>
              </a:rPr>
              <a:t>tailor</a:t>
            </a:r>
            <a:r>
              <a:rPr lang="fr-FR" sz="3200" spc="-5">
                <a:solidFill>
                  <a:srgbClr val="20BE60"/>
                </a:solidFill>
              </a:rPr>
              <a:t> made </a:t>
            </a:r>
            <a:r>
              <a:rPr lang="fr-FR" sz="3200" spc="-5" err="1">
                <a:solidFill>
                  <a:srgbClr val="20BE60"/>
                </a:solidFill>
              </a:rPr>
              <a:t>offer</a:t>
            </a:r>
            <a:r>
              <a:rPr lang="fr-FR" sz="3200" spc="-5">
                <a:solidFill>
                  <a:srgbClr val="20BE60"/>
                </a:solidFill>
              </a:rPr>
              <a:t>, for </a:t>
            </a:r>
            <a:r>
              <a:rPr lang="fr-FR" sz="3200" spc="-5" err="1">
                <a:solidFill>
                  <a:srgbClr val="20BE60"/>
                </a:solidFill>
              </a:rPr>
              <a:t>each</a:t>
            </a:r>
            <a:r>
              <a:rPr lang="fr-FR" sz="3200" spc="-5">
                <a:solidFill>
                  <a:srgbClr val="20BE60"/>
                </a:solidFill>
              </a:rPr>
              <a:t> client</a:t>
            </a:r>
            <a:endParaRPr lang="en-US" sz="3200">
              <a:solidFill>
                <a:srgbClr val="00B050"/>
              </a:solidFill>
            </a:endParaRPr>
          </a:p>
        </p:txBody>
      </p:sp>
      <p:sp>
        <p:nvSpPr>
          <p:cNvPr id="7" name="ee4pFootnotes"/>
          <p:cNvSpPr>
            <a:spLocks noChangeArrowheads="1"/>
          </p:cNvSpPr>
          <p:nvPr/>
        </p:nvSpPr>
        <p:spPr bwMode="auto">
          <a:xfrm>
            <a:off x="628650" y="6438811"/>
            <a:ext cx="903091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a:solidFill>
                  <a:schemeClr val="bg1">
                    <a:lumMod val="50000"/>
                  </a:schemeClr>
                </a:solidFill>
                <a:latin typeface="Trebuchet MS" panose="020B0603020202020204" pitchFamily="34" charset="0"/>
                <a:cs typeface="Arial" pitchFamily="34" charset="0"/>
              </a:rPr>
              <a:t>Source : </a:t>
            </a:r>
            <a:r>
              <a:rPr lang="en-US" sz="1000" err="1">
                <a:solidFill>
                  <a:schemeClr val="bg1">
                    <a:lumMod val="50000"/>
                  </a:schemeClr>
                </a:solidFill>
                <a:latin typeface="Trebuchet MS" panose="020B0603020202020204" pitchFamily="34" charset="0"/>
                <a:cs typeface="Arial" pitchFamily="34" charset="0"/>
              </a:rPr>
              <a:t>ClientCo’s</a:t>
            </a:r>
            <a:r>
              <a:rPr lang="en-US" sz="1000">
                <a:solidFill>
                  <a:schemeClr val="bg1">
                    <a:lumMod val="50000"/>
                  </a:schemeClr>
                </a:solidFill>
                <a:latin typeface="Trebuchet MS" panose="020B0603020202020204" pitchFamily="34" charset="0"/>
                <a:cs typeface="Arial" pitchFamily="34" charset="0"/>
              </a:rPr>
              <a:t> Data, BCG studies</a:t>
            </a:r>
          </a:p>
        </p:txBody>
      </p:sp>
      <p:sp>
        <p:nvSpPr>
          <p:cNvPr id="43" name="object 34">
            <a:extLst>
              <a:ext uri="{FF2B5EF4-FFF2-40B4-BE49-F238E27FC236}">
                <a16:creationId xmlns:a16="http://schemas.microsoft.com/office/drawing/2014/main" id="{CA3F97C3-F0BA-D6BA-E5DC-19121E864BFE}"/>
              </a:ext>
            </a:extLst>
          </p:cNvPr>
          <p:cNvSpPr/>
          <p:nvPr/>
        </p:nvSpPr>
        <p:spPr>
          <a:xfrm rot="5400000">
            <a:off x="3982718" y="4139718"/>
            <a:ext cx="4130527" cy="45719"/>
          </a:xfrm>
          <a:custGeom>
            <a:avLst/>
            <a:gdLst/>
            <a:ahLst/>
            <a:cxnLst/>
            <a:rect l="l" t="t" r="r" b="b"/>
            <a:pathLst>
              <a:path w="9930765">
                <a:moveTo>
                  <a:pt x="0" y="0"/>
                </a:moveTo>
                <a:lnTo>
                  <a:pt x="9930384" y="0"/>
                </a:lnTo>
              </a:path>
            </a:pathLst>
          </a:custGeom>
          <a:ln w="9525">
            <a:solidFill>
              <a:srgbClr val="9A9A9A"/>
            </a:solidFill>
            <a:prstDash val="dash"/>
          </a:ln>
        </p:spPr>
        <p:txBody>
          <a:bodyPr wrap="square" lIns="0" tIns="0" rIns="0" bIns="0" rtlCol="0"/>
          <a:lstStyle/>
          <a:p>
            <a:endParaRPr/>
          </a:p>
        </p:txBody>
      </p:sp>
      <p:sp>
        <p:nvSpPr>
          <p:cNvPr id="11" name="object 20">
            <a:extLst>
              <a:ext uri="{FF2B5EF4-FFF2-40B4-BE49-F238E27FC236}">
                <a16:creationId xmlns:a16="http://schemas.microsoft.com/office/drawing/2014/main" id="{FA651644-BAA6-188E-5350-DF3EFD5F84EF}"/>
              </a:ext>
            </a:extLst>
          </p:cNvPr>
          <p:cNvSpPr txBox="1"/>
          <p:nvPr/>
        </p:nvSpPr>
        <p:spPr>
          <a:xfrm>
            <a:off x="628650" y="2081213"/>
            <a:ext cx="1963721" cy="259045"/>
          </a:xfrm>
          <a:prstGeom prst="rect">
            <a:avLst/>
          </a:prstGeom>
        </p:spPr>
        <p:txBody>
          <a:bodyPr vert="horz" wrap="square" lIns="0" tIns="12700" rIns="0" bIns="0" rtlCol="0">
            <a:spAutoFit/>
          </a:bodyPr>
          <a:lstStyle/>
          <a:p>
            <a:pPr marL="12700">
              <a:lnSpc>
                <a:spcPct val="100000"/>
              </a:lnSpc>
              <a:spcBef>
                <a:spcPts val="100"/>
              </a:spcBef>
            </a:pPr>
            <a:r>
              <a:rPr lang="fr-FR" sz="1600" spc="15">
                <a:solidFill>
                  <a:srgbClr val="20BE60"/>
                </a:solidFill>
                <a:latin typeface="Microsoft Sans Serif"/>
                <a:cs typeface="Microsoft Sans Serif"/>
              </a:rPr>
              <a:t>Description</a:t>
            </a:r>
            <a:endParaRPr sz="1600">
              <a:latin typeface="Microsoft Sans Serif"/>
              <a:cs typeface="Microsoft Sans Serif"/>
            </a:endParaRPr>
          </a:p>
        </p:txBody>
      </p:sp>
      <p:sp>
        <p:nvSpPr>
          <p:cNvPr id="12" name="object 20">
            <a:extLst>
              <a:ext uri="{FF2B5EF4-FFF2-40B4-BE49-F238E27FC236}">
                <a16:creationId xmlns:a16="http://schemas.microsoft.com/office/drawing/2014/main" id="{FDB60F84-2869-354D-9BF1-3E609C000C50}"/>
              </a:ext>
            </a:extLst>
          </p:cNvPr>
          <p:cNvSpPr txBox="1"/>
          <p:nvPr/>
        </p:nvSpPr>
        <p:spPr>
          <a:xfrm>
            <a:off x="667240" y="3471864"/>
            <a:ext cx="2933210" cy="259045"/>
          </a:xfrm>
          <a:prstGeom prst="rect">
            <a:avLst/>
          </a:prstGeom>
        </p:spPr>
        <p:txBody>
          <a:bodyPr vert="horz" wrap="square" lIns="0" tIns="12700" rIns="0" bIns="0" rtlCol="0">
            <a:spAutoFit/>
          </a:bodyPr>
          <a:lstStyle>
            <a:defPPr>
              <a:defRPr lang="en-US"/>
            </a:defPPr>
            <a:lvl1pPr marL="12700">
              <a:lnSpc>
                <a:spcPct val="100000"/>
              </a:lnSpc>
              <a:spcBef>
                <a:spcPts val="100"/>
              </a:spcBef>
              <a:defRPr sz="1600" spc="15">
                <a:solidFill>
                  <a:srgbClr val="20BE60"/>
                </a:solidFill>
                <a:latin typeface="Microsoft Sans Serif"/>
                <a:cs typeface="Microsoft Sans Serif"/>
              </a:defRPr>
            </a:lvl1pPr>
          </a:lstStyle>
          <a:p>
            <a:r>
              <a:rPr lang="fr-FR" err="1"/>
              <a:t>Required</a:t>
            </a:r>
            <a:r>
              <a:rPr lang="fr-FR"/>
              <a:t> Ressources</a:t>
            </a:r>
          </a:p>
        </p:txBody>
      </p:sp>
      <p:sp>
        <p:nvSpPr>
          <p:cNvPr id="13" name="object 20">
            <a:extLst>
              <a:ext uri="{FF2B5EF4-FFF2-40B4-BE49-F238E27FC236}">
                <a16:creationId xmlns:a16="http://schemas.microsoft.com/office/drawing/2014/main" id="{81C670D0-C25C-9C7C-B784-09CB882E8002}"/>
              </a:ext>
            </a:extLst>
          </p:cNvPr>
          <p:cNvSpPr txBox="1"/>
          <p:nvPr/>
        </p:nvSpPr>
        <p:spPr>
          <a:xfrm>
            <a:off x="6208533" y="2104674"/>
            <a:ext cx="1963721" cy="259045"/>
          </a:xfrm>
          <a:prstGeom prst="rect">
            <a:avLst/>
          </a:prstGeom>
        </p:spPr>
        <p:txBody>
          <a:bodyPr vert="horz" wrap="square" lIns="0" tIns="12700" rIns="0" bIns="0" rtlCol="0">
            <a:spAutoFit/>
          </a:bodyPr>
          <a:lstStyle/>
          <a:p>
            <a:pPr marL="12700">
              <a:lnSpc>
                <a:spcPct val="100000"/>
              </a:lnSpc>
              <a:spcBef>
                <a:spcPts val="100"/>
              </a:spcBef>
            </a:pPr>
            <a:r>
              <a:rPr lang="fr-FR" sz="1600" spc="15" err="1">
                <a:solidFill>
                  <a:srgbClr val="20BE60"/>
                </a:solidFill>
                <a:latin typeface="Microsoft Sans Serif"/>
                <a:cs typeface="Microsoft Sans Serif"/>
              </a:rPr>
              <a:t>Estimated</a:t>
            </a:r>
            <a:r>
              <a:rPr lang="fr-FR" sz="1600" spc="15">
                <a:solidFill>
                  <a:srgbClr val="20BE60"/>
                </a:solidFill>
                <a:latin typeface="Microsoft Sans Serif"/>
                <a:cs typeface="Microsoft Sans Serif"/>
              </a:rPr>
              <a:t> Impact</a:t>
            </a:r>
            <a:endParaRPr sz="1600">
              <a:latin typeface="Microsoft Sans Serif"/>
              <a:cs typeface="Microsoft Sans Serif"/>
            </a:endParaRPr>
          </a:p>
        </p:txBody>
      </p:sp>
      <p:sp>
        <p:nvSpPr>
          <p:cNvPr id="14" name="object 20">
            <a:extLst>
              <a:ext uri="{FF2B5EF4-FFF2-40B4-BE49-F238E27FC236}">
                <a16:creationId xmlns:a16="http://schemas.microsoft.com/office/drawing/2014/main" id="{86EA0AB6-9792-3681-F7D3-03A87C515B0F}"/>
              </a:ext>
            </a:extLst>
          </p:cNvPr>
          <p:cNvSpPr txBox="1"/>
          <p:nvPr/>
        </p:nvSpPr>
        <p:spPr>
          <a:xfrm>
            <a:off x="6208532" y="3471864"/>
            <a:ext cx="4334367" cy="259045"/>
          </a:xfrm>
          <a:prstGeom prst="rect">
            <a:avLst/>
          </a:prstGeom>
        </p:spPr>
        <p:txBody>
          <a:bodyPr vert="horz" wrap="square" lIns="0" tIns="12700" rIns="0" bIns="0" rtlCol="0">
            <a:spAutoFit/>
          </a:bodyPr>
          <a:lstStyle/>
          <a:p>
            <a:pPr marL="12700">
              <a:lnSpc>
                <a:spcPct val="100000"/>
              </a:lnSpc>
              <a:spcBef>
                <a:spcPts val="100"/>
              </a:spcBef>
            </a:pPr>
            <a:r>
              <a:rPr lang="fr-FR" sz="1600" spc="15" err="1">
                <a:solidFill>
                  <a:srgbClr val="20BE60"/>
                </a:solidFill>
                <a:latin typeface="Microsoft Sans Serif"/>
                <a:cs typeface="Microsoft Sans Serif"/>
              </a:rPr>
              <a:t>They</a:t>
            </a:r>
            <a:r>
              <a:rPr lang="fr-FR" sz="1600" spc="15">
                <a:solidFill>
                  <a:srgbClr val="20BE60"/>
                </a:solidFill>
                <a:latin typeface="Microsoft Sans Serif"/>
                <a:cs typeface="Microsoft Sans Serif"/>
              </a:rPr>
              <a:t> support </a:t>
            </a:r>
            <a:r>
              <a:rPr lang="fr-FR" sz="1600" spc="15" err="1">
                <a:solidFill>
                  <a:srgbClr val="20BE60"/>
                </a:solidFill>
                <a:latin typeface="Microsoft Sans Serif"/>
                <a:cs typeface="Microsoft Sans Serif"/>
              </a:rPr>
              <a:t>it</a:t>
            </a:r>
            <a:endParaRPr sz="1600">
              <a:latin typeface="Microsoft Sans Serif"/>
              <a:cs typeface="Microsoft Sans Serif"/>
            </a:endParaRPr>
          </a:p>
        </p:txBody>
      </p:sp>
      <p:sp>
        <p:nvSpPr>
          <p:cNvPr id="15" name="object 3">
            <a:extLst>
              <a:ext uri="{FF2B5EF4-FFF2-40B4-BE49-F238E27FC236}">
                <a16:creationId xmlns:a16="http://schemas.microsoft.com/office/drawing/2014/main" id="{855D29FA-982C-D0B8-360C-25AB00A4957B}"/>
              </a:ext>
            </a:extLst>
          </p:cNvPr>
          <p:cNvSpPr txBox="1"/>
          <p:nvPr/>
        </p:nvSpPr>
        <p:spPr>
          <a:xfrm>
            <a:off x="652912" y="2454809"/>
            <a:ext cx="5311693" cy="874598"/>
          </a:xfrm>
          <a:prstGeom prst="rect">
            <a:avLst/>
          </a:prstGeom>
        </p:spPr>
        <p:txBody>
          <a:bodyPr vert="horz" wrap="square" lIns="0" tIns="12700" rIns="0" bIns="0" rtlCol="0">
            <a:spAutoFit/>
          </a:bodyPr>
          <a:lstStyle/>
          <a:p>
            <a:pPr marL="12700" algn="just">
              <a:lnSpc>
                <a:spcPct val="100000"/>
              </a:lnSpc>
              <a:spcBef>
                <a:spcPts val="100"/>
              </a:spcBef>
              <a:buClr>
                <a:srgbClr val="9A9CA1"/>
              </a:buClr>
              <a:tabLst>
                <a:tab pos="226060" algn="l"/>
              </a:tabLst>
            </a:pPr>
            <a:r>
              <a:rPr lang="en-US" sz="1400" spc="-5">
                <a:solidFill>
                  <a:srgbClr val="373739"/>
                </a:solidFill>
                <a:latin typeface="Trebuchet MS"/>
              </a:rPr>
              <a:t>Use the available data (previous and current purchases) on each client to suggest products to the vendors that would potentially trigger another purchase from the customer. A pilot can be easily deployed by a small team without disturbing operations.</a:t>
            </a:r>
          </a:p>
        </p:txBody>
      </p:sp>
      <p:sp>
        <p:nvSpPr>
          <p:cNvPr id="17" name="object 3">
            <a:extLst>
              <a:ext uri="{FF2B5EF4-FFF2-40B4-BE49-F238E27FC236}">
                <a16:creationId xmlns:a16="http://schemas.microsoft.com/office/drawing/2014/main" id="{CDCBE93F-C0AE-E463-56F2-135B0AF94CF3}"/>
              </a:ext>
            </a:extLst>
          </p:cNvPr>
          <p:cNvSpPr txBox="1"/>
          <p:nvPr/>
        </p:nvSpPr>
        <p:spPr>
          <a:xfrm>
            <a:off x="6200430" y="2471076"/>
            <a:ext cx="2583330" cy="443711"/>
          </a:xfrm>
          <a:prstGeom prst="rect">
            <a:avLst/>
          </a:prstGeom>
        </p:spPr>
        <p:txBody>
          <a:bodyPr vert="horz" wrap="square" lIns="0" tIns="12700" rIns="0" bIns="0" rtlCol="0">
            <a:spAutoFit/>
          </a:bodyPr>
          <a:lstStyle/>
          <a:p>
            <a:pPr marL="12700">
              <a:lnSpc>
                <a:spcPct val="100000"/>
              </a:lnSpc>
              <a:spcBef>
                <a:spcPts val="100"/>
              </a:spcBef>
              <a:buClr>
                <a:srgbClr val="9A9CA1"/>
              </a:buClr>
              <a:tabLst>
                <a:tab pos="226060" algn="l"/>
              </a:tabLst>
            </a:pPr>
            <a:r>
              <a:rPr lang="en-US" sz="1400" b="1" spc="-5">
                <a:solidFill>
                  <a:schemeClr val="bg2">
                    <a:lumMod val="25000"/>
                  </a:schemeClr>
                </a:solidFill>
                <a:latin typeface="Trebuchet MS"/>
              </a:rPr>
              <a:t>+1% basket </a:t>
            </a:r>
            <a:r>
              <a:rPr lang="en-US" sz="1400" spc="-5">
                <a:solidFill>
                  <a:srgbClr val="373739"/>
                </a:solidFill>
                <a:latin typeface="Trebuchet MS"/>
              </a:rPr>
              <a:t>growth</a:t>
            </a:r>
            <a:r>
              <a:rPr lang="en-US" sz="1400" spc="-5">
                <a:solidFill>
                  <a:schemeClr val="bg2">
                    <a:lumMod val="25000"/>
                  </a:schemeClr>
                </a:solidFill>
                <a:latin typeface="Trebuchet MS"/>
              </a:rPr>
              <a:t> or a 31 M€ additional profit.</a:t>
            </a:r>
          </a:p>
        </p:txBody>
      </p:sp>
      <p:graphicFrame>
        <p:nvGraphicFramePr>
          <p:cNvPr id="18" name="Diagramme 17">
            <a:extLst>
              <a:ext uri="{FF2B5EF4-FFF2-40B4-BE49-F238E27FC236}">
                <a16:creationId xmlns:a16="http://schemas.microsoft.com/office/drawing/2014/main" id="{A3B9BF40-E842-026D-D3F2-F646246CA0D4}"/>
              </a:ext>
            </a:extLst>
          </p:cNvPr>
          <p:cNvGraphicFramePr/>
          <p:nvPr/>
        </p:nvGraphicFramePr>
        <p:xfrm>
          <a:off x="9151652" y="3793303"/>
          <a:ext cx="2810380" cy="2399409"/>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26" name="object 3">
            <a:extLst>
              <a:ext uri="{FF2B5EF4-FFF2-40B4-BE49-F238E27FC236}">
                <a16:creationId xmlns:a16="http://schemas.microsoft.com/office/drawing/2014/main" id="{C3FEAF3C-C598-E5BE-C8A4-38D18B828D4A}"/>
              </a:ext>
            </a:extLst>
          </p:cNvPr>
          <p:cNvSpPr txBox="1"/>
          <p:nvPr/>
        </p:nvSpPr>
        <p:spPr>
          <a:xfrm>
            <a:off x="6200430" y="4054623"/>
            <a:ext cx="3082494" cy="595035"/>
          </a:xfrm>
          <a:prstGeom prst="rect">
            <a:avLst/>
          </a:prstGeom>
        </p:spPr>
        <p:txBody>
          <a:bodyPr vert="horz" wrap="square" lIns="0" tIns="12700" rIns="0" bIns="0" rtlCol="0">
            <a:spAutoFit/>
          </a:bodyPr>
          <a:lstStyle>
            <a:defPPr>
              <a:defRPr lang="en-US"/>
            </a:defPPr>
            <a:lvl1pPr marL="12700">
              <a:lnSpc>
                <a:spcPct val="100000"/>
              </a:lnSpc>
              <a:spcBef>
                <a:spcPts val="100"/>
              </a:spcBef>
              <a:buClr>
                <a:srgbClr val="9A9CA1"/>
              </a:buClr>
              <a:tabLst>
                <a:tab pos="226060" algn="l"/>
              </a:tabLst>
              <a:defRPr sz="1400" spc="-5">
                <a:solidFill>
                  <a:srgbClr val="373739"/>
                </a:solidFill>
                <a:latin typeface="Trebuchet MS"/>
              </a:defRPr>
            </a:lvl1pPr>
          </a:lstStyle>
          <a:p>
            <a:pPr algn="just"/>
            <a:r>
              <a:rPr lang="en-US"/>
              <a:t>“I’m convinced such a tool would be efficient and the team will use it”</a:t>
            </a:r>
            <a:endParaRPr lang="fr-FR"/>
          </a:p>
          <a:p>
            <a:pPr algn="just"/>
            <a:r>
              <a:rPr lang="en-US" sz="900" i="1"/>
              <a:t>- </a:t>
            </a:r>
            <a:r>
              <a:rPr lang="en-US" sz="900" i="1" err="1"/>
              <a:t>Mr</a:t>
            </a:r>
            <a:r>
              <a:rPr lang="en-US" sz="900" i="1"/>
              <a:t> Dubois, Sales Manager</a:t>
            </a:r>
          </a:p>
        </p:txBody>
      </p:sp>
      <p:sp>
        <p:nvSpPr>
          <p:cNvPr id="50" name="object 3">
            <a:extLst>
              <a:ext uri="{FF2B5EF4-FFF2-40B4-BE49-F238E27FC236}">
                <a16:creationId xmlns:a16="http://schemas.microsoft.com/office/drawing/2014/main" id="{120AD733-638B-8137-79AD-65197CA930DE}"/>
              </a:ext>
            </a:extLst>
          </p:cNvPr>
          <p:cNvSpPr txBox="1"/>
          <p:nvPr/>
        </p:nvSpPr>
        <p:spPr>
          <a:xfrm>
            <a:off x="6208532" y="4818705"/>
            <a:ext cx="3082494" cy="595035"/>
          </a:xfrm>
          <a:prstGeom prst="rect">
            <a:avLst/>
          </a:prstGeom>
        </p:spPr>
        <p:txBody>
          <a:bodyPr vert="horz" wrap="square" lIns="0" tIns="12700" rIns="0" bIns="0" rtlCol="0">
            <a:spAutoFit/>
          </a:bodyPr>
          <a:lstStyle>
            <a:defPPr>
              <a:defRPr lang="en-US"/>
            </a:defPPr>
            <a:lvl1pPr marL="12700">
              <a:lnSpc>
                <a:spcPct val="100000"/>
              </a:lnSpc>
              <a:spcBef>
                <a:spcPts val="100"/>
              </a:spcBef>
              <a:buClr>
                <a:srgbClr val="9A9CA1"/>
              </a:buClr>
              <a:tabLst>
                <a:tab pos="226060" algn="l"/>
              </a:tabLst>
              <a:defRPr sz="1400" spc="-5">
                <a:solidFill>
                  <a:srgbClr val="373739"/>
                </a:solidFill>
                <a:latin typeface="Trebuchet MS"/>
              </a:defRPr>
            </a:lvl1pPr>
          </a:lstStyle>
          <a:p>
            <a:pPr algn="just"/>
            <a:r>
              <a:rPr lang="en-US"/>
              <a:t>“Sales team support has been acknowledged as a great success” </a:t>
            </a:r>
          </a:p>
          <a:p>
            <a:pPr algn="just"/>
            <a:r>
              <a:rPr lang="en-US" sz="900" i="1"/>
              <a:t>– BCG former client</a:t>
            </a:r>
          </a:p>
        </p:txBody>
      </p:sp>
      <p:sp>
        <p:nvSpPr>
          <p:cNvPr id="51" name="object 3">
            <a:extLst>
              <a:ext uri="{FF2B5EF4-FFF2-40B4-BE49-F238E27FC236}">
                <a16:creationId xmlns:a16="http://schemas.microsoft.com/office/drawing/2014/main" id="{009A8190-D539-D102-6EE9-CBA4EFE04F5D}"/>
              </a:ext>
            </a:extLst>
          </p:cNvPr>
          <p:cNvSpPr txBox="1"/>
          <p:nvPr/>
        </p:nvSpPr>
        <p:spPr>
          <a:xfrm>
            <a:off x="6208532" y="5582788"/>
            <a:ext cx="3082494" cy="659155"/>
          </a:xfrm>
          <a:prstGeom prst="rect">
            <a:avLst/>
          </a:prstGeom>
        </p:spPr>
        <p:txBody>
          <a:bodyPr vert="horz" wrap="square" lIns="0" tIns="12700" rIns="0" bIns="0" rtlCol="0">
            <a:spAutoFit/>
          </a:bodyPr>
          <a:lstStyle>
            <a:defPPr>
              <a:defRPr lang="en-US"/>
            </a:defPPr>
            <a:lvl1pPr marL="12700">
              <a:lnSpc>
                <a:spcPct val="100000"/>
              </a:lnSpc>
              <a:spcBef>
                <a:spcPts val="100"/>
              </a:spcBef>
              <a:buClr>
                <a:srgbClr val="9A9CA1"/>
              </a:buClr>
              <a:tabLst>
                <a:tab pos="226060" algn="l"/>
              </a:tabLst>
              <a:defRPr sz="1400" spc="-5">
                <a:solidFill>
                  <a:srgbClr val="373739"/>
                </a:solidFill>
                <a:latin typeface="Trebuchet MS"/>
              </a:defRPr>
            </a:lvl1pPr>
          </a:lstStyle>
          <a:p>
            <a:pPr algn="just"/>
            <a:r>
              <a:rPr lang="en-US"/>
              <a:t>“9/10 B2B decision makers say that marketing and sales need to work more closely” </a:t>
            </a:r>
            <a:r>
              <a:rPr lang="fr-FR" sz="900" i="1"/>
              <a:t>-  BCG </a:t>
            </a:r>
            <a:r>
              <a:rPr lang="fr-FR" sz="900" i="1" err="1"/>
              <a:t>Study</a:t>
            </a:r>
            <a:r>
              <a:rPr lang="fr-FR" sz="900" i="1"/>
              <a:t>, The futur of B2B Sales</a:t>
            </a:r>
            <a:endParaRPr lang="en-US" sz="900" i="1"/>
          </a:p>
        </p:txBody>
      </p:sp>
      <p:sp>
        <p:nvSpPr>
          <p:cNvPr id="55" name="object 3">
            <a:extLst>
              <a:ext uri="{FF2B5EF4-FFF2-40B4-BE49-F238E27FC236}">
                <a16:creationId xmlns:a16="http://schemas.microsoft.com/office/drawing/2014/main" id="{B2EE1A2A-1D6F-C50D-E585-65CF27466285}"/>
              </a:ext>
            </a:extLst>
          </p:cNvPr>
          <p:cNvSpPr txBox="1"/>
          <p:nvPr/>
        </p:nvSpPr>
        <p:spPr>
          <a:xfrm>
            <a:off x="8913743" y="2471076"/>
            <a:ext cx="2649607" cy="659155"/>
          </a:xfrm>
          <a:prstGeom prst="rect">
            <a:avLst/>
          </a:prstGeom>
        </p:spPr>
        <p:txBody>
          <a:bodyPr vert="horz" wrap="square" lIns="0" tIns="12700" rIns="0" bIns="0" rtlCol="0">
            <a:spAutoFit/>
          </a:bodyPr>
          <a:lstStyle>
            <a:defPPr>
              <a:defRPr lang="en-US"/>
            </a:defPPr>
            <a:lvl1pPr marL="12700">
              <a:lnSpc>
                <a:spcPct val="100000"/>
              </a:lnSpc>
              <a:spcBef>
                <a:spcPts val="100"/>
              </a:spcBef>
              <a:buClr>
                <a:srgbClr val="9A9CA1"/>
              </a:buClr>
              <a:tabLst>
                <a:tab pos="226060" algn="l"/>
              </a:tabLst>
              <a:defRPr sz="1600" b="1" spc="-5">
                <a:solidFill>
                  <a:schemeClr val="bg2">
                    <a:lumMod val="25000"/>
                  </a:schemeClr>
                </a:solidFill>
                <a:latin typeface="Trebuchet MS"/>
              </a:defRPr>
            </a:lvl1pPr>
          </a:lstStyle>
          <a:p>
            <a:pPr algn="just"/>
            <a:r>
              <a:rPr lang="en-US" sz="1400"/>
              <a:t>Short-term value creation </a:t>
            </a:r>
            <a:r>
              <a:rPr lang="en-US" sz="1400" b="0"/>
              <a:t>to convince stakeholders and set a precedent for other programs.</a:t>
            </a:r>
          </a:p>
        </p:txBody>
      </p:sp>
      <p:pic>
        <p:nvPicPr>
          <p:cNvPr id="2" name="Image 1">
            <a:extLst>
              <a:ext uri="{FF2B5EF4-FFF2-40B4-BE49-F238E27FC236}">
                <a16:creationId xmlns:a16="http://schemas.microsoft.com/office/drawing/2014/main" id="{56FB36AD-F3B8-1DCC-862D-3840D939F372}"/>
              </a:ext>
            </a:extLst>
          </p:cNvPr>
          <p:cNvPicPr>
            <a:picLocks noChangeAspect="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Lst>
          </a:blip>
          <a:stretch>
            <a:fillRect/>
          </a:stretch>
        </p:blipFill>
        <p:spPr>
          <a:xfrm>
            <a:off x="3491143" y="4087116"/>
            <a:ext cx="849207" cy="796689"/>
          </a:xfrm>
          <a:prstGeom prst="rect">
            <a:avLst/>
          </a:prstGeom>
        </p:spPr>
      </p:pic>
      <p:pic>
        <p:nvPicPr>
          <p:cNvPr id="6" name="Image 21">
            <a:extLst>
              <a:ext uri="{FF2B5EF4-FFF2-40B4-BE49-F238E27FC236}">
                <a16:creationId xmlns:a16="http://schemas.microsoft.com/office/drawing/2014/main" id="{BAA5113D-799F-3F92-7677-156C065FFDD8}"/>
              </a:ext>
            </a:extLst>
          </p:cNvPr>
          <p:cNvPicPr>
            <a:picLocks noChangeAspect="1"/>
          </p:cNvPicPr>
          <p:nvPr/>
        </p:nvPicPr>
        <p:blipFill>
          <a:blip r:embed="rId15">
            <a:extLst>
              <a:ext uri="{96DAC541-7B7A-43D3-8B79-37D633B846F1}">
                <asvg:svgBlip xmlns:asvg="http://schemas.microsoft.com/office/drawing/2016/SVG/main" r:embed="rId16"/>
              </a:ext>
            </a:extLst>
          </a:blip>
          <a:srcRect/>
          <a:stretch/>
        </p:blipFill>
        <p:spPr>
          <a:xfrm>
            <a:off x="628650" y="5295853"/>
            <a:ext cx="796689" cy="796689"/>
          </a:xfrm>
          <a:prstGeom prst="rect">
            <a:avLst/>
          </a:prstGeom>
        </p:spPr>
      </p:pic>
      <p:pic>
        <p:nvPicPr>
          <p:cNvPr id="8" name="Image 22" descr="Base de données contour">
            <a:extLst>
              <a:ext uri="{FF2B5EF4-FFF2-40B4-BE49-F238E27FC236}">
                <a16:creationId xmlns:a16="http://schemas.microsoft.com/office/drawing/2014/main" id="{D88610E1-AE6F-6414-39AD-54126FA83A82}"/>
              </a:ext>
            </a:extLst>
          </p:cNvPr>
          <p:cNvPicPr>
            <a:picLocks noChangeAspect="1"/>
          </p:cNvPicPr>
          <p:nvPr/>
        </p:nvPicPr>
        <p:blipFill>
          <a:blip r:embed="rId17">
            <a:extLst>
              <a:ext uri="{96DAC541-7B7A-43D3-8B79-37D633B846F1}">
                <asvg:svgBlip xmlns:asvg="http://schemas.microsoft.com/office/drawing/2016/SVG/main" r:embed="rId18"/>
              </a:ext>
            </a:extLst>
          </a:blip>
          <a:srcRect/>
          <a:stretch/>
        </p:blipFill>
        <p:spPr>
          <a:xfrm>
            <a:off x="645960" y="4053405"/>
            <a:ext cx="796689" cy="796689"/>
          </a:xfrm>
          <a:prstGeom prst="rect">
            <a:avLst/>
          </a:prstGeom>
        </p:spPr>
      </p:pic>
      <p:sp>
        <p:nvSpPr>
          <p:cNvPr id="9" name="object 3">
            <a:extLst>
              <a:ext uri="{FF2B5EF4-FFF2-40B4-BE49-F238E27FC236}">
                <a16:creationId xmlns:a16="http://schemas.microsoft.com/office/drawing/2014/main" id="{90DE7488-4A37-589A-518B-E3C87EC5CA35}"/>
              </a:ext>
            </a:extLst>
          </p:cNvPr>
          <p:cNvSpPr txBox="1"/>
          <p:nvPr/>
        </p:nvSpPr>
        <p:spPr>
          <a:xfrm>
            <a:off x="1526026" y="4115760"/>
            <a:ext cx="1932822" cy="671979"/>
          </a:xfrm>
          <a:prstGeom prst="rect">
            <a:avLst/>
          </a:prstGeom>
        </p:spPr>
        <p:txBody>
          <a:bodyPr vert="horz" wrap="square" lIns="0" tIns="12700" rIns="0" bIns="0" rtlCol="0">
            <a:spAutoFit/>
          </a:bodyPr>
          <a:lstStyle/>
          <a:p>
            <a:pPr marL="12700" algn="just">
              <a:lnSpc>
                <a:spcPct val="100000"/>
              </a:lnSpc>
              <a:spcBef>
                <a:spcPts val="100"/>
              </a:spcBef>
              <a:buClr>
                <a:srgbClr val="9A9CA1"/>
              </a:buClr>
              <a:tabLst>
                <a:tab pos="226060" algn="l"/>
              </a:tabLst>
            </a:pPr>
            <a:r>
              <a:rPr lang="en-US" sz="1400" spc="-5">
                <a:solidFill>
                  <a:srgbClr val="373739"/>
                </a:solidFill>
                <a:latin typeface="Trebuchet MS"/>
              </a:rPr>
              <a:t>Transactions - </a:t>
            </a:r>
            <a:r>
              <a:rPr lang="en-US" sz="1400" i="1" spc="-5">
                <a:solidFill>
                  <a:srgbClr val="373739"/>
                </a:solidFill>
                <a:latin typeface="Trebuchet MS"/>
              </a:rPr>
              <a:t>Available</a:t>
            </a:r>
          </a:p>
          <a:p>
            <a:pPr marL="12700" algn="just">
              <a:lnSpc>
                <a:spcPct val="100000"/>
              </a:lnSpc>
              <a:spcBef>
                <a:spcPts val="100"/>
              </a:spcBef>
              <a:buClr>
                <a:srgbClr val="9A9CA1"/>
              </a:buClr>
              <a:tabLst>
                <a:tab pos="226060" algn="l"/>
              </a:tabLst>
            </a:pPr>
            <a:r>
              <a:rPr lang="en-US" sz="1400" spc="-5">
                <a:solidFill>
                  <a:srgbClr val="373739"/>
                </a:solidFill>
                <a:latin typeface="Trebuchet MS"/>
              </a:rPr>
              <a:t>Behavioral/qualitative data – </a:t>
            </a:r>
            <a:r>
              <a:rPr lang="en-US" sz="1400" i="1" spc="-5">
                <a:solidFill>
                  <a:srgbClr val="373739"/>
                </a:solidFill>
                <a:latin typeface="Trebuchet MS"/>
              </a:rPr>
              <a:t>Not available</a:t>
            </a:r>
          </a:p>
        </p:txBody>
      </p:sp>
      <p:sp>
        <p:nvSpPr>
          <p:cNvPr id="10" name="object 3">
            <a:extLst>
              <a:ext uri="{FF2B5EF4-FFF2-40B4-BE49-F238E27FC236}">
                <a16:creationId xmlns:a16="http://schemas.microsoft.com/office/drawing/2014/main" id="{3C24362B-8BB2-869E-970A-D70E21781422}"/>
              </a:ext>
            </a:extLst>
          </p:cNvPr>
          <p:cNvSpPr txBox="1"/>
          <p:nvPr/>
        </p:nvSpPr>
        <p:spPr>
          <a:xfrm>
            <a:off x="4340350" y="4255902"/>
            <a:ext cx="1730491" cy="456535"/>
          </a:xfrm>
          <a:prstGeom prst="rect">
            <a:avLst/>
          </a:prstGeom>
        </p:spPr>
        <p:txBody>
          <a:bodyPr vert="horz" wrap="square" lIns="0" tIns="12700" rIns="0" bIns="0" rtlCol="0">
            <a:spAutoFit/>
          </a:bodyPr>
          <a:lstStyle/>
          <a:p>
            <a:pPr marL="12700" algn="just">
              <a:lnSpc>
                <a:spcPct val="100000"/>
              </a:lnSpc>
              <a:spcBef>
                <a:spcPts val="100"/>
              </a:spcBef>
              <a:buClr>
                <a:srgbClr val="9A9CA1"/>
              </a:buClr>
              <a:tabLst>
                <a:tab pos="226060" algn="l"/>
              </a:tabLst>
            </a:pPr>
            <a:r>
              <a:rPr lang="en-US" sz="1400" spc="-5">
                <a:solidFill>
                  <a:srgbClr val="373739"/>
                </a:solidFill>
                <a:latin typeface="Trebuchet MS"/>
              </a:rPr>
              <a:t>“Run” Task Force</a:t>
            </a:r>
          </a:p>
          <a:p>
            <a:pPr marL="12700" algn="just">
              <a:lnSpc>
                <a:spcPct val="100000"/>
              </a:lnSpc>
              <a:spcBef>
                <a:spcPts val="100"/>
              </a:spcBef>
              <a:buClr>
                <a:srgbClr val="9A9CA1"/>
              </a:buClr>
              <a:tabLst>
                <a:tab pos="226060" algn="l"/>
              </a:tabLst>
            </a:pPr>
            <a:r>
              <a:rPr lang="en-US" sz="1400" i="1" spc="-5">
                <a:solidFill>
                  <a:srgbClr val="373739"/>
                </a:solidFill>
                <a:latin typeface="Trebuchet MS"/>
              </a:rPr>
              <a:t>Already Available</a:t>
            </a:r>
          </a:p>
        </p:txBody>
      </p:sp>
      <p:sp>
        <p:nvSpPr>
          <p:cNvPr id="16" name="object 3">
            <a:extLst>
              <a:ext uri="{FF2B5EF4-FFF2-40B4-BE49-F238E27FC236}">
                <a16:creationId xmlns:a16="http://schemas.microsoft.com/office/drawing/2014/main" id="{47FEE8D1-DC67-1CCB-33E5-299564E9CE33}"/>
              </a:ext>
            </a:extLst>
          </p:cNvPr>
          <p:cNvSpPr txBox="1"/>
          <p:nvPr/>
        </p:nvSpPr>
        <p:spPr>
          <a:xfrm>
            <a:off x="1442649" y="5364619"/>
            <a:ext cx="4461784" cy="659155"/>
          </a:xfrm>
          <a:prstGeom prst="rect">
            <a:avLst/>
          </a:prstGeom>
        </p:spPr>
        <p:txBody>
          <a:bodyPr vert="horz" wrap="square" lIns="0" tIns="12700" rIns="0" bIns="0" rtlCol="0">
            <a:spAutoFit/>
          </a:bodyPr>
          <a:lstStyle/>
          <a:p>
            <a:pPr marL="12700" algn="just">
              <a:lnSpc>
                <a:spcPct val="100000"/>
              </a:lnSpc>
              <a:spcBef>
                <a:spcPts val="100"/>
              </a:spcBef>
              <a:buClr>
                <a:srgbClr val="9A9CA1"/>
              </a:buClr>
              <a:tabLst>
                <a:tab pos="226060" algn="l"/>
              </a:tabLst>
            </a:pPr>
            <a:r>
              <a:rPr lang="en-US" sz="1400" spc="-5">
                <a:solidFill>
                  <a:srgbClr val="373739"/>
                </a:solidFill>
                <a:latin typeface="Trebuchet MS"/>
              </a:rPr>
              <a:t>Marketing team don’t regularly input qualitative data. This project will require the team to gather digitally information on customers. Scaling will be challenging.</a:t>
            </a:r>
          </a:p>
        </p:txBody>
      </p:sp>
    </p:spTree>
    <p:extLst>
      <p:ext uri="{BB962C8B-B14F-4D97-AF65-F5344CB8AC3E}">
        <p14:creationId xmlns:p14="http://schemas.microsoft.com/office/powerpoint/2010/main" val="403213929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object 2"/>
          <p:cNvGrpSpPr/>
          <p:nvPr/>
        </p:nvGrpSpPr>
        <p:grpSpPr>
          <a:xfrm>
            <a:off x="0" y="0"/>
            <a:ext cx="4321810" cy="6858000"/>
            <a:chOff x="0" y="0"/>
            <a:chExt cx="4321810" cy="6858000"/>
          </a:xfrm>
        </p:grpSpPr>
        <p:pic>
          <p:nvPicPr>
            <p:cNvPr id="3" name="object 3"/>
            <p:cNvPicPr/>
            <p:nvPr/>
          </p:nvPicPr>
          <p:blipFill>
            <a:blip r:embed="rId2" cstate="print"/>
            <a:stretch>
              <a:fillRect/>
            </a:stretch>
          </p:blipFill>
          <p:spPr>
            <a:xfrm>
              <a:off x="4064000" y="0"/>
              <a:ext cx="257287" cy="6857999"/>
            </a:xfrm>
            <a:prstGeom prst="rect">
              <a:avLst/>
            </a:prstGeom>
          </p:spPr>
        </p:pic>
        <p:pic>
          <p:nvPicPr>
            <p:cNvPr id="4" name="object 4"/>
            <p:cNvPicPr/>
            <p:nvPr/>
          </p:nvPicPr>
          <p:blipFill>
            <a:blip r:embed="rId3" cstate="print"/>
            <a:stretch>
              <a:fillRect/>
            </a:stretch>
          </p:blipFill>
          <p:spPr>
            <a:xfrm>
              <a:off x="0" y="0"/>
              <a:ext cx="4084320" cy="6858000"/>
            </a:xfrm>
            <a:prstGeom prst="rect">
              <a:avLst/>
            </a:prstGeom>
          </p:spPr>
        </p:pic>
      </p:grpSp>
      <p:sp>
        <p:nvSpPr>
          <p:cNvPr id="5" name="object 5"/>
          <p:cNvSpPr txBox="1"/>
          <p:nvPr/>
        </p:nvSpPr>
        <p:spPr>
          <a:xfrm>
            <a:off x="611962" y="3147184"/>
            <a:ext cx="2840077" cy="505908"/>
          </a:xfrm>
          <a:prstGeom prst="rect">
            <a:avLst/>
          </a:prstGeom>
        </p:spPr>
        <p:txBody>
          <a:bodyPr vert="horz" wrap="square" lIns="0" tIns="13335" rIns="0" bIns="0" rtlCol="0">
            <a:spAutoFit/>
          </a:bodyPr>
          <a:lstStyle/>
          <a:p>
            <a:pPr marL="12700">
              <a:lnSpc>
                <a:spcPct val="100000"/>
              </a:lnSpc>
              <a:spcBef>
                <a:spcPts val="105"/>
              </a:spcBef>
            </a:pPr>
            <a:r>
              <a:rPr lang="fr-FR" sz="3200" spc="-215">
                <a:solidFill>
                  <a:srgbClr val="FFFFFF"/>
                </a:solidFill>
                <a:latin typeface="Microsoft Sans Serif"/>
                <a:cs typeface="Microsoft Sans Serif"/>
              </a:rPr>
              <a:t>Table of contents</a:t>
            </a:r>
            <a:endParaRPr sz="3200">
              <a:latin typeface="Microsoft Sans Serif"/>
              <a:cs typeface="Microsoft Sans Serif"/>
            </a:endParaRPr>
          </a:p>
        </p:txBody>
      </p:sp>
      <p:sp>
        <p:nvSpPr>
          <p:cNvPr id="6" name="object 6"/>
          <p:cNvSpPr txBox="1">
            <a:spLocks noGrp="1"/>
          </p:cNvSpPr>
          <p:nvPr>
            <p:ph type="title"/>
          </p:nvPr>
        </p:nvSpPr>
        <p:spPr>
          <a:xfrm>
            <a:off x="5673819" y="1484046"/>
            <a:ext cx="5750560" cy="3891450"/>
          </a:xfrm>
          <a:prstGeom prst="rect">
            <a:avLst/>
          </a:prstGeom>
        </p:spPr>
        <p:txBody>
          <a:bodyPr vert="horz" wrap="square" lIns="0" tIns="13335" rIns="0" bIns="0" rtlCol="0">
            <a:spAutoFit/>
          </a:bodyPr>
          <a:lstStyle/>
          <a:p>
            <a:pPr marL="180000">
              <a:lnSpc>
                <a:spcPct val="100000"/>
              </a:lnSpc>
              <a:spcBef>
                <a:spcPts val="105"/>
              </a:spcBef>
            </a:pPr>
            <a:r>
              <a:rPr lang="en-GB" spc="-15" err="1">
                <a:solidFill>
                  <a:srgbClr val="212121"/>
                </a:solidFill>
              </a:rPr>
              <a:t>ClientCo</a:t>
            </a:r>
            <a:r>
              <a:rPr lang="en-GB" spc="-15">
                <a:solidFill>
                  <a:srgbClr val="212121"/>
                </a:solidFill>
              </a:rPr>
              <a:t> state of the art</a:t>
            </a:r>
            <a:br>
              <a:rPr lang="en-GB" spc="-15">
                <a:solidFill>
                  <a:srgbClr val="212121"/>
                </a:solidFill>
              </a:rPr>
            </a:br>
            <a:br>
              <a:rPr lang="en-GB" spc="-15">
                <a:solidFill>
                  <a:srgbClr val="212121"/>
                </a:solidFill>
              </a:rPr>
            </a:br>
            <a:r>
              <a:rPr lang="en-GB" spc="-15">
                <a:solidFill>
                  <a:srgbClr val="212121"/>
                </a:solidFill>
              </a:rPr>
              <a:t>Executive summary</a:t>
            </a:r>
            <a:br>
              <a:rPr lang="en-GB" spc="-15">
                <a:solidFill>
                  <a:srgbClr val="212121"/>
                </a:solidFill>
              </a:rPr>
            </a:br>
            <a:br>
              <a:rPr lang="en-GB" spc="-15">
                <a:solidFill>
                  <a:srgbClr val="212121"/>
                </a:solidFill>
              </a:rPr>
            </a:br>
            <a:r>
              <a:rPr lang="en-GB" spc="-15" err="1">
                <a:solidFill>
                  <a:srgbClr val="212121"/>
                </a:solidFill>
              </a:rPr>
              <a:t>Usecases</a:t>
            </a:r>
            <a:r>
              <a:rPr lang="en-GB" spc="-15">
                <a:solidFill>
                  <a:srgbClr val="212121"/>
                </a:solidFill>
              </a:rPr>
              <a:t> </a:t>
            </a:r>
            <a:r>
              <a:rPr lang="en-GB" spc="-15" err="1">
                <a:solidFill>
                  <a:srgbClr val="212121"/>
                </a:solidFill>
              </a:rPr>
              <a:t>priorisation</a:t>
            </a:r>
            <a:br>
              <a:rPr lang="en-GB" spc="-15">
                <a:solidFill>
                  <a:srgbClr val="212121"/>
                </a:solidFill>
              </a:rPr>
            </a:br>
            <a:br>
              <a:rPr lang="en-GB" spc="-15">
                <a:solidFill>
                  <a:srgbClr val="212121"/>
                </a:solidFill>
              </a:rPr>
            </a:br>
            <a:r>
              <a:rPr lang="en-GB" spc="-15">
                <a:solidFill>
                  <a:srgbClr val="212121"/>
                </a:solidFill>
              </a:rPr>
              <a:t>Three main </a:t>
            </a:r>
            <a:r>
              <a:rPr lang="en-GB" spc="-15" err="1">
                <a:solidFill>
                  <a:srgbClr val="212121"/>
                </a:solidFill>
              </a:rPr>
              <a:t>usecases</a:t>
            </a:r>
            <a:r>
              <a:rPr lang="en-GB" spc="-15">
                <a:solidFill>
                  <a:srgbClr val="212121"/>
                </a:solidFill>
              </a:rPr>
              <a:t> and roadmap</a:t>
            </a:r>
            <a:br>
              <a:rPr lang="en-GB" spc="-15">
                <a:solidFill>
                  <a:srgbClr val="212121"/>
                </a:solidFill>
              </a:rPr>
            </a:br>
            <a:br>
              <a:rPr lang="en-GB" spc="-15">
                <a:solidFill>
                  <a:srgbClr val="212121"/>
                </a:solidFill>
              </a:rPr>
            </a:br>
            <a:r>
              <a:rPr lang="en-GB" spc="-15">
                <a:solidFill>
                  <a:srgbClr val="212121"/>
                </a:solidFill>
              </a:rPr>
              <a:t>Churn Prediction model</a:t>
            </a:r>
            <a:endParaRPr lang="en-GB" spc="-20">
              <a:solidFill>
                <a:srgbClr val="212121"/>
              </a:solidFill>
            </a:endParaRPr>
          </a:p>
        </p:txBody>
      </p:sp>
      <p:sp>
        <p:nvSpPr>
          <p:cNvPr id="12" name="object 12"/>
          <p:cNvSpPr txBox="1">
            <a:spLocks noGrp="1"/>
          </p:cNvSpPr>
          <p:nvPr>
            <p:ph type="sldNum" sz="quarter" idx="7"/>
          </p:nvPr>
        </p:nvSpPr>
        <p:spPr>
          <a:prstGeom prst="rect">
            <a:avLst/>
          </a:prstGeom>
        </p:spPr>
        <p:txBody>
          <a:bodyPr vert="horz" wrap="square" lIns="0" tIns="0" rIns="0" bIns="0" rtlCol="0">
            <a:spAutoFit/>
          </a:bodyPr>
          <a:lstStyle/>
          <a:p>
            <a:pPr marL="38100">
              <a:lnSpc>
                <a:spcPts val="1255"/>
              </a:lnSpc>
            </a:pPr>
            <a:r>
              <a:rPr spc="-45"/>
              <a:t>2</a:t>
            </a:r>
          </a:p>
        </p:txBody>
      </p:sp>
      <p:grpSp>
        <p:nvGrpSpPr>
          <p:cNvPr id="8" name="object 8"/>
          <p:cNvGrpSpPr/>
          <p:nvPr/>
        </p:nvGrpSpPr>
        <p:grpSpPr>
          <a:xfrm>
            <a:off x="5245606" y="1631707"/>
            <a:ext cx="314960" cy="304800"/>
            <a:chOff x="5146040" y="2534920"/>
            <a:chExt cx="314960" cy="304800"/>
          </a:xfrm>
        </p:grpSpPr>
        <p:sp>
          <p:nvSpPr>
            <p:cNvPr id="9" name="object 9"/>
            <p:cNvSpPr/>
            <p:nvPr/>
          </p:nvSpPr>
          <p:spPr>
            <a:xfrm>
              <a:off x="5146040" y="2534920"/>
              <a:ext cx="314960" cy="304800"/>
            </a:xfrm>
            <a:custGeom>
              <a:avLst/>
              <a:gdLst/>
              <a:ahLst/>
              <a:cxnLst/>
              <a:rect l="l" t="t" r="r" b="b"/>
              <a:pathLst>
                <a:path w="314960" h="304800">
                  <a:moveTo>
                    <a:pt x="157480" y="0"/>
                  </a:moveTo>
                  <a:lnTo>
                    <a:pt x="107696" y="7766"/>
                  </a:lnTo>
                  <a:lnTo>
                    <a:pt x="64465" y="29394"/>
                  </a:lnTo>
                  <a:lnTo>
                    <a:pt x="30378" y="62380"/>
                  </a:lnTo>
                  <a:lnTo>
                    <a:pt x="8026" y="104217"/>
                  </a:lnTo>
                  <a:lnTo>
                    <a:pt x="0" y="152400"/>
                  </a:lnTo>
                  <a:lnTo>
                    <a:pt x="8026" y="200582"/>
                  </a:lnTo>
                  <a:lnTo>
                    <a:pt x="30378" y="242419"/>
                  </a:lnTo>
                  <a:lnTo>
                    <a:pt x="64465" y="275405"/>
                  </a:lnTo>
                  <a:lnTo>
                    <a:pt x="107696" y="297033"/>
                  </a:lnTo>
                  <a:lnTo>
                    <a:pt x="157480" y="304800"/>
                  </a:lnTo>
                  <a:lnTo>
                    <a:pt x="207263" y="297033"/>
                  </a:lnTo>
                  <a:lnTo>
                    <a:pt x="250494" y="275405"/>
                  </a:lnTo>
                  <a:lnTo>
                    <a:pt x="284581" y="242419"/>
                  </a:lnTo>
                  <a:lnTo>
                    <a:pt x="306933" y="200582"/>
                  </a:lnTo>
                  <a:lnTo>
                    <a:pt x="314960" y="152400"/>
                  </a:lnTo>
                  <a:lnTo>
                    <a:pt x="306933" y="104217"/>
                  </a:lnTo>
                  <a:lnTo>
                    <a:pt x="284581" y="62380"/>
                  </a:lnTo>
                  <a:lnTo>
                    <a:pt x="250494" y="29394"/>
                  </a:lnTo>
                  <a:lnTo>
                    <a:pt x="207263" y="7766"/>
                  </a:lnTo>
                  <a:lnTo>
                    <a:pt x="157480" y="0"/>
                  </a:lnTo>
                  <a:close/>
                </a:path>
              </a:pathLst>
            </a:custGeom>
            <a:solidFill>
              <a:srgbClr val="00AF50"/>
            </a:solidFill>
          </p:spPr>
          <p:txBody>
            <a:bodyPr wrap="square" lIns="0" tIns="0" rIns="0" bIns="0" rtlCol="0"/>
            <a:lstStyle/>
            <a:p>
              <a:endParaRPr/>
            </a:p>
          </p:txBody>
        </p:sp>
        <p:sp>
          <p:nvSpPr>
            <p:cNvPr id="10" name="object 10"/>
            <p:cNvSpPr/>
            <p:nvPr/>
          </p:nvSpPr>
          <p:spPr>
            <a:xfrm>
              <a:off x="5146040" y="2534920"/>
              <a:ext cx="314960" cy="304800"/>
            </a:xfrm>
            <a:custGeom>
              <a:avLst/>
              <a:gdLst/>
              <a:ahLst/>
              <a:cxnLst/>
              <a:rect l="l" t="t" r="r" b="b"/>
              <a:pathLst>
                <a:path w="314960" h="304800">
                  <a:moveTo>
                    <a:pt x="0" y="152400"/>
                  </a:moveTo>
                  <a:lnTo>
                    <a:pt x="8026" y="104217"/>
                  </a:lnTo>
                  <a:lnTo>
                    <a:pt x="30378" y="62380"/>
                  </a:lnTo>
                  <a:lnTo>
                    <a:pt x="64465" y="29394"/>
                  </a:lnTo>
                  <a:lnTo>
                    <a:pt x="107696" y="7766"/>
                  </a:lnTo>
                  <a:lnTo>
                    <a:pt x="157480" y="0"/>
                  </a:lnTo>
                  <a:lnTo>
                    <a:pt x="207263" y="7766"/>
                  </a:lnTo>
                  <a:lnTo>
                    <a:pt x="250494" y="29394"/>
                  </a:lnTo>
                  <a:lnTo>
                    <a:pt x="284581" y="62380"/>
                  </a:lnTo>
                  <a:lnTo>
                    <a:pt x="306933" y="104217"/>
                  </a:lnTo>
                  <a:lnTo>
                    <a:pt x="314960" y="152400"/>
                  </a:lnTo>
                  <a:lnTo>
                    <a:pt x="306933" y="200582"/>
                  </a:lnTo>
                  <a:lnTo>
                    <a:pt x="284581" y="242419"/>
                  </a:lnTo>
                  <a:lnTo>
                    <a:pt x="250494" y="275405"/>
                  </a:lnTo>
                  <a:lnTo>
                    <a:pt x="207263" y="297033"/>
                  </a:lnTo>
                  <a:lnTo>
                    <a:pt x="157480" y="304800"/>
                  </a:lnTo>
                  <a:lnTo>
                    <a:pt x="107696" y="297033"/>
                  </a:lnTo>
                  <a:lnTo>
                    <a:pt x="64465" y="275405"/>
                  </a:lnTo>
                  <a:lnTo>
                    <a:pt x="30378" y="242419"/>
                  </a:lnTo>
                  <a:lnTo>
                    <a:pt x="8026" y="200582"/>
                  </a:lnTo>
                  <a:lnTo>
                    <a:pt x="0" y="152400"/>
                  </a:lnTo>
                  <a:close/>
                </a:path>
              </a:pathLst>
            </a:custGeom>
            <a:ln w="9525">
              <a:solidFill>
                <a:srgbClr val="71747A"/>
              </a:solidFill>
            </a:ln>
          </p:spPr>
          <p:txBody>
            <a:bodyPr wrap="square" lIns="0" tIns="0" rIns="0" bIns="0" rtlCol="0"/>
            <a:lstStyle/>
            <a:p>
              <a:endParaRPr/>
            </a:p>
          </p:txBody>
        </p:sp>
        <p:pic>
          <p:nvPicPr>
            <p:cNvPr id="11" name="object 11"/>
            <p:cNvPicPr/>
            <p:nvPr/>
          </p:nvPicPr>
          <p:blipFill>
            <a:blip r:embed="rId4" cstate="print"/>
            <a:stretch>
              <a:fillRect/>
            </a:stretch>
          </p:blipFill>
          <p:spPr>
            <a:xfrm>
              <a:off x="5263197" y="2580957"/>
              <a:ext cx="111125" cy="212725"/>
            </a:xfrm>
            <a:prstGeom prst="rect">
              <a:avLst/>
            </a:prstGeom>
          </p:spPr>
        </p:pic>
      </p:grpSp>
      <p:grpSp>
        <p:nvGrpSpPr>
          <p:cNvPr id="15" name="object 8">
            <a:extLst>
              <a:ext uri="{FF2B5EF4-FFF2-40B4-BE49-F238E27FC236}">
                <a16:creationId xmlns:a16="http://schemas.microsoft.com/office/drawing/2014/main" id="{D835FFA2-6A7B-A46F-1720-297DCB2BDE3A}"/>
              </a:ext>
            </a:extLst>
          </p:cNvPr>
          <p:cNvGrpSpPr/>
          <p:nvPr/>
        </p:nvGrpSpPr>
        <p:grpSpPr>
          <a:xfrm>
            <a:off x="5246465" y="2474034"/>
            <a:ext cx="314960" cy="304800"/>
            <a:chOff x="5146040" y="2534920"/>
            <a:chExt cx="314960" cy="304800"/>
          </a:xfrm>
        </p:grpSpPr>
        <p:sp>
          <p:nvSpPr>
            <p:cNvPr id="16" name="object 9">
              <a:extLst>
                <a:ext uri="{FF2B5EF4-FFF2-40B4-BE49-F238E27FC236}">
                  <a16:creationId xmlns:a16="http://schemas.microsoft.com/office/drawing/2014/main" id="{C47E1406-A474-BB5C-6E20-F0006944AAA3}"/>
                </a:ext>
              </a:extLst>
            </p:cNvPr>
            <p:cNvSpPr/>
            <p:nvPr/>
          </p:nvSpPr>
          <p:spPr>
            <a:xfrm>
              <a:off x="5146040" y="2534920"/>
              <a:ext cx="314960" cy="304800"/>
            </a:xfrm>
            <a:custGeom>
              <a:avLst/>
              <a:gdLst/>
              <a:ahLst/>
              <a:cxnLst/>
              <a:rect l="l" t="t" r="r" b="b"/>
              <a:pathLst>
                <a:path w="314960" h="304800">
                  <a:moveTo>
                    <a:pt x="157480" y="0"/>
                  </a:moveTo>
                  <a:lnTo>
                    <a:pt x="107696" y="7766"/>
                  </a:lnTo>
                  <a:lnTo>
                    <a:pt x="64465" y="29394"/>
                  </a:lnTo>
                  <a:lnTo>
                    <a:pt x="30378" y="62380"/>
                  </a:lnTo>
                  <a:lnTo>
                    <a:pt x="8026" y="104217"/>
                  </a:lnTo>
                  <a:lnTo>
                    <a:pt x="0" y="152400"/>
                  </a:lnTo>
                  <a:lnTo>
                    <a:pt x="8026" y="200582"/>
                  </a:lnTo>
                  <a:lnTo>
                    <a:pt x="30378" y="242419"/>
                  </a:lnTo>
                  <a:lnTo>
                    <a:pt x="64465" y="275405"/>
                  </a:lnTo>
                  <a:lnTo>
                    <a:pt x="107696" y="297033"/>
                  </a:lnTo>
                  <a:lnTo>
                    <a:pt x="157480" y="304800"/>
                  </a:lnTo>
                  <a:lnTo>
                    <a:pt x="207263" y="297033"/>
                  </a:lnTo>
                  <a:lnTo>
                    <a:pt x="250494" y="275405"/>
                  </a:lnTo>
                  <a:lnTo>
                    <a:pt x="284581" y="242419"/>
                  </a:lnTo>
                  <a:lnTo>
                    <a:pt x="306933" y="200582"/>
                  </a:lnTo>
                  <a:lnTo>
                    <a:pt x="314960" y="152400"/>
                  </a:lnTo>
                  <a:lnTo>
                    <a:pt x="306933" y="104217"/>
                  </a:lnTo>
                  <a:lnTo>
                    <a:pt x="284581" y="62380"/>
                  </a:lnTo>
                  <a:lnTo>
                    <a:pt x="250494" y="29394"/>
                  </a:lnTo>
                  <a:lnTo>
                    <a:pt x="207263" y="7766"/>
                  </a:lnTo>
                  <a:lnTo>
                    <a:pt x="157480" y="0"/>
                  </a:lnTo>
                  <a:close/>
                </a:path>
              </a:pathLst>
            </a:custGeom>
            <a:solidFill>
              <a:srgbClr val="00AF50"/>
            </a:solidFill>
          </p:spPr>
          <p:txBody>
            <a:bodyPr wrap="square" lIns="0" tIns="0" rIns="0" bIns="0" rtlCol="0"/>
            <a:lstStyle/>
            <a:p>
              <a:endParaRPr/>
            </a:p>
          </p:txBody>
        </p:sp>
        <p:sp>
          <p:nvSpPr>
            <p:cNvPr id="17" name="object 10">
              <a:extLst>
                <a:ext uri="{FF2B5EF4-FFF2-40B4-BE49-F238E27FC236}">
                  <a16:creationId xmlns:a16="http://schemas.microsoft.com/office/drawing/2014/main" id="{6F5AAB19-3407-8ABE-1560-68326595A26B}"/>
                </a:ext>
              </a:extLst>
            </p:cNvPr>
            <p:cNvSpPr/>
            <p:nvPr/>
          </p:nvSpPr>
          <p:spPr>
            <a:xfrm>
              <a:off x="5146040" y="2534920"/>
              <a:ext cx="314960" cy="304800"/>
            </a:xfrm>
            <a:custGeom>
              <a:avLst/>
              <a:gdLst/>
              <a:ahLst/>
              <a:cxnLst/>
              <a:rect l="l" t="t" r="r" b="b"/>
              <a:pathLst>
                <a:path w="314960" h="304800">
                  <a:moveTo>
                    <a:pt x="0" y="152400"/>
                  </a:moveTo>
                  <a:lnTo>
                    <a:pt x="8026" y="104217"/>
                  </a:lnTo>
                  <a:lnTo>
                    <a:pt x="30378" y="62380"/>
                  </a:lnTo>
                  <a:lnTo>
                    <a:pt x="64465" y="29394"/>
                  </a:lnTo>
                  <a:lnTo>
                    <a:pt x="107696" y="7766"/>
                  </a:lnTo>
                  <a:lnTo>
                    <a:pt x="157480" y="0"/>
                  </a:lnTo>
                  <a:lnTo>
                    <a:pt x="207263" y="7766"/>
                  </a:lnTo>
                  <a:lnTo>
                    <a:pt x="250494" y="29394"/>
                  </a:lnTo>
                  <a:lnTo>
                    <a:pt x="284581" y="62380"/>
                  </a:lnTo>
                  <a:lnTo>
                    <a:pt x="306933" y="104217"/>
                  </a:lnTo>
                  <a:lnTo>
                    <a:pt x="314960" y="152400"/>
                  </a:lnTo>
                  <a:lnTo>
                    <a:pt x="306933" y="200582"/>
                  </a:lnTo>
                  <a:lnTo>
                    <a:pt x="284581" y="242419"/>
                  </a:lnTo>
                  <a:lnTo>
                    <a:pt x="250494" y="275405"/>
                  </a:lnTo>
                  <a:lnTo>
                    <a:pt x="207263" y="297033"/>
                  </a:lnTo>
                  <a:lnTo>
                    <a:pt x="157480" y="304800"/>
                  </a:lnTo>
                  <a:lnTo>
                    <a:pt x="107696" y="297033"/>
                  </a:lnTo>
                  <a:lnTo>
                    <a:pt x="64465" y="275405"/>
                  </a:lnTo>
                  <a:lnTo>
                    <a:pt x="30378" y="242419"/>
                  </a:lnTo>
                  <a:lnTo>
                    <a:pt x="8026" y="200582"/>
                  </a:lnTo>
                  <a:lnTo>
                    <a:pt x="0" y="152400"/>
                  </a:lnTo>
                  <a:close/>
                </a:path>
              </a:pathLst>
            </a:custGeom>
            <a:ln w="9525">
              <a:solidFill>
                <a:srgbClr val="71747A"/>
              </a:solidFill>
            </a:ln>
          </p:spPr>
          <p:txBody>
            <a:bodyPr wrap="square" lIns="0" tIns="0" rIns="0" bIns="0" rtlCol="0"/>
            <a:lstStyle/>
            <a:p>
              <a:endParaRPr/>
            </a:p>
          </p:txBody>
        </p:sp>
        <p:pic>
          <p:nvPicPr>
            <p:cNvPr id="18" name="object 11">
              <a:extLst>
                <a:ext uri="{FF2B5EF4-FFF2-40B4-BE49-F238E27FC236}">
                  <a16:creationId xmlns:a16="http://schemas.microsoft.com/office/drawing/2014/main" id="{79CF33A5-F048-4190-28BC-C8A443AA11E6}"/>
                </a:ext>
              </a:extLst>
            </p:cNvPr>
            <p:cNvPicPr/>
            <p:nvPr/>
          </p:nvPicPr>
          <p:blipFill>
            <a:blip r:embed="rId4" cstate="print"/>
            <a:stretch>
              <a:fillRect/>
            </a:stretch>
          </p:blipFill>
          <p:spPr>
            <a:xfrm>
              <a:off x="5263197" y="2580957"/>
              <a:ext cx="111125" cy="212725"/>
            </a:xfrm>
            <a:prstGeom prst="rect">
              <a:avLst/>
            </a:prstGeom>
          </p:spPr>
        </p:pic>
      </p:grpSp>
      <p:grpSp>
        <p:nvGrpSpPr>
          <p:cNvPr id="23" name="object 8">
            <a:extLst>
              <a:ext uri="{FF2B5EF4-FFF2-40B4-BE49-F238E27FC236}">
                <a16:creationId xmlns:a16="http://schemas.microsoft.com/office/drawing/2014/main" id="{4492E367-D2C8-F366-4391-00DF1CDC19B2}"/>
              </a:ext>
            </a:extLst>
          </p:cNvPr>
          <p:cNvGrpSpPr/>
          <p:nvPr/>
        </p:nvGrpSpPr>
        <p:grpSpPr>
          <a:xfrm>
            <a:off x="5239544" y="5026179"/>
            <a:ext cx="314960" cy="304800"/>
            <a:chOff x="5146040" y="2534920"/>
            <a:chExt cx="314960" cy="304800"/>
          </a:xfrm>
        </p:grpSpPr>
        <p:sp>
          <p:nvSpPr>
            <p:cNvPr id="24" name="object 9">
              <a:extLst>
                <a:ext uri="{FF2B5EF4-FFF2-40B4-BE49-F238E27FC236}">
                  <a16:creationId xmlns:a16="http://schemas.microsoft.com/office/drawing/2014/main" id="{23C4EAA1-3F0E-4A15-804C-9563154E7F43}"/>
                </a:ext>
              </a:extLst>
            </p:cNvPr>
            <p:cNvSpPr/>
            <p:nvPr/>
          </p:nvSpPr>
          <p:spPr>
            <a:xfrm>
              <a:off x="5146040" y="2534920"/>
              <a:ext cx="314960" cy="304800"/>
            </a:xfrm>
            <a:custGeom>
              <a:avLst/>
              <a:gdLst/>
              <a:ahLst/>
              <a:cxnLst/>
              <a:rect l="l" t="t" r="r" b="b"/>
              <a:pathLst>
                <a:path w="314960" h="304800">
                  <a:moveTo>
                    <a:pt x="157480" y="0"/>
                  </a:moveTo>
                  <a:lnTo>
                    <a:pt x="107696" y="7766"/>
                  </a:lnTo>
                  <a:lnTo>
                    <a:pt x="64465" y="29394"/>
                  </a:lnTo>
                  <a:lnTo>
                    <a:pt x="30378" y="62380"/>
                  </a:lnTo>
                  <a:lnTo>
                    <a:pt x="8026" y="104217"/>
                  </a:lnTo>
                  <a:lnTo>
                    <a:pt x="0" y="152400"/>
                  </a:lnTo>
                  <a:lnTo>
                    <a:pt x="8026" y="200582"/>
                  </a:lnTo>
                  <a:lnTo>
                    <a:pt x="30378" y="242419"/>
                  </a:lnTo>
                  <a:lnTo>
                    <a:pt x="64465" y="275405"/>
                  </a:lnTo>
                  <a:lnTo>
                    <a:pt x="107696" y="297033"/>
                  </a:lnTo>
                  <a:lnTo>
                    <a:pt x="157480" y="304800"/>
                  </a:lnTo>
                  <a:lnTo>
                    <a:pt x="207263" y="297033"/>
                  </a:lnTo>
                  <a:lnTo>
                    <a:pt x="250494" y="275405"/>
                  </a:lnTo>
                  <a:lnTo>
                    <a:pt x="284581" y="242419"/>
                  </a:lnTo>
                  <a:lnTo>
                    <a:pt x="306933" y="200582"/>
                  </a:lnTo>
                  <a:lnTo>
                    <a:pt x="314960" y="152400"/>
                  </a:lnTo>
                  <a:lnTo>
                    <a:pt x="306933" y="104217"/>
                  </a:lnTo>
                  <a:lnTo>
                    <a:pt x="284581" y="62380"/>
                  </a:lnTo>
                  <a:lnTo>
                    <a:pt x="250494" y="29394"/>
                  </a:lnTo>
                  <a:lnTo>
                    <a:pt x="207263" y="7766"/>
                  </a:lnTo>
                  <a:lnTo>
                    <a:pt x="157480" y="0"/>
                  </a:lnTo>
                  <a:close/>
                </a:path>
              </a:pathLst>
            </a:custGeom>
            <a:solidFill>
              <a:srgbClr val="00AF50"/>
            </a:solidFill>
          </p:spPr>
          <p:txBody>
            <a:bodyPr wrap="square" lIns="0" tIns="0" rIns="0" bIns="0" rtlCol="0"/>
            <a:lstStyle/>
            <a:p>
              <a:endParaRPr/>
            </a:p>
          </p:txBody>
        </p:sp>
        <p:sp>
          <p:nvSpPr>
            <p:cNvPr id="25" name="object 10">
              <a:extLst>
                <a:ext uri="{FF2B5EF4-FFF2-40B4-BE49-F238E27FC236}">
                  <a16:creationId xmlns:a16="http://schemas.microsoft.com/office/drawing/2014/main" id="{C454D0B8-1E44-EB64-74C3-34288D77DCD2}"/>
                </a:ext>
              </a:extLst>
            </p:cNvPr>
            <p:cNvSpPr/>
            <p:nvPr/>
          </p:nvSpPr>
          <p:spPr>
            <a:xfrm>
              <a:off x="5146040" y="2534920"/>
              <a:ext cx="314960" cy="304800"/>
            </a:xfrm>
            <a:custGeom>
              <a:avLst/>
              <a:gdLst/>
              <a:ahLst/>
              <a:cxnLst/>
              <a:rect l="l" t="t" r="r" b="b"/>
              <a:pathLst>
                <a:path w="314960" h="304800">
                  <a:moveTo>
                    <a:pt x="0" y="152400"/>
                  </a:moveTo>
                  <a:lnTo>
                    <a:pt x="8026" y="104217"/>
                  </a:lnTo>
                  <a:lnTo>
                    <a:pt x="30378" y="62380"/>
                  </a:lnTo>
                  <a:lnTo>
                    <a:pt x="64465" y="29394"/>
                  </a:lnTo>
                  <a:lnTo>
                    <a:pt x="107696" y="7766"/>
                  </a:lnTo>
                  <a:lnTo>
                    <a:pt x="157480" y="0"/>
                  </a:lnTo>
                  <a:lnTo>
                    <a:pt x="207263" y="7766"/>
                  </a:lnTo>
                  <a:lnTo>
                    <a:pt x="250494" y="29394"/>
                  </a:lnTo>
                  <a:lnTo>
                    <a:pt x="284581" y="62380"/>
                  </a:lnTo>
                  <a:lnTo>
                    <a:pt x="306933" y="104217"/>
                  </a:lnTo>
                  <a:lnTo>
                    <a:pt x="314960" y="152400"/>
                  </a:lnTo>
                  <a:lnTo>
                    <a:pt x="306933" y="200582"/>
                  </a:lnTo>
                  <a:lnTo>
                    <a:pt x="284581" y="242419"/>
                  </a:lnTo>
                  <a:lnTo>
                    <a:pt x="250494" y="275405"/>
                  </a:lnTo>
                  <a:lnTo>
                    <a:pt x="207263" y="297033"/>
                  </a:lnTo>
                  <a:lnTo>
                    <a:pt x="157480" y="304800"/>
                  </a:lnTo>
                  <a:lnTo>
                    <a:pt x="107696" y="297033"/>
                  </a:lnTo>
                  <a:lnTo>
                    <a:pt x="64465" y="275405"/>
                  </a:lnTo>
                  <a:lnTo>
                    <a:pt x="30378" y="242419"/>
                  </a:lnTo>
                  <a:lnTo>
                    <a:pt x="8026" y="200582"/>
                  </a:lnTo>
                  <a:lnTo>
                    <a:pt x="0" y="152400"/>
                  </a:lnTo>
                  <a:close/>
                </a:path>
              </a:pathLst>
            </a:custGeom>
            <a:ln w="9525">
              <a:solidFill>
                <a:srgbClr val="71747A"/>
              </a:solidFill>
            </a:ln>
          </p:spPr>
          <p:txBody>
            <a:bodyPr wrap="square" lIns="0" tIns="0" rIns="0" bIns="0" rtlCol="0"/>
            <a:lstStyle/>
            <a:p>
              <a:endParaRPr/>
            </a:p>
          </p:txBody>
        </p:sp>
        <p:pic>
          <p:nvPicPr>
            <p:cNvPr id="26" name="object 11">
              <a:extLst>
                <a:ext uri="{FF2B5EF4-FFF2-40B4-BE49-F238E27FC236}">
                  <a16:creationId xmlns:a16="http://schemas.microsoft.com/office/drawing/2014/main" id="{42AD9AE9-C533-C548-DC0C-A46F136942F4}"/>
                </a:ext>
              </a:extLst>
            </p:cNvPr>
            <p:cNvPicPr/>
            <p:nvPr/>
          </p:nvPicPr>
          <p:blipFill>
            <a:blip r:embed="rId4" cstate="print"/>
            <a:stretch>
              <a:fillRect/>
            </a:stretch>
          </p:blipFill>
          <p:spPr>
            <a:xfrm>
              <a:off x="5263197" y="2580957"/>
              <a:ext cx="111125" cy="212725"/>
            </a:xfrm>
            <a:prstGeom prst="rect">
              <a:avLst/>
            </a:prstGeom>
          </p:spPr>
        </p:pic>
      </p:grpSp>
      <p:grpSp>
        <p:nvGrpSpPr>
          <p:cNvPr id="7" name="object 8">
            <a:extLst>
              <a:ext uri="{FF2B5EF4-FFF2-40B4-BE49-F238E27FC236}">
                <a16:creationId xmlns:a16="http://schemas.microsoft.com/office/drawing/2014/main" id="{704482DC-3657-36F1-6715-AB35E78CD0A3}"/>
              </a:ext>
            </a:extLst>
          </p:cNvPr>
          <p:cNvGrpSpPr/>
          <p:nvPr/>
        </p:nvGrpSpPr>
        <p:grpSpPr>
          <a:xfrm>
            <a:off x="5244306" y="3316361"/>
            <a:ext cx="314960" cy="304800"/>
            <a:chOff x="5146040" y="2534920"/>
            <a:chExt cx="314960" cy="304800"/>
          </a:xfrm>
        </p:grpSpPr>
        <p:sp>
          <p:nvSpPr>
            <p:cNvPr id="13" name="object 9">
              <a:extLst>
                <a:ext uri="{FF2B5EF4-FFF2-40B4-BE49-F238E27FC236}">
                  <a16:creationId xmlns:a16="http://schemas.microsoft.com/office/drawing/2014/main" id="{D17B9C01-432A-B3EB-927A-D5FE176CEB55}"/>
                </a:ext>
              </a:extLst>
            </p:cNvPr>
            <p:cNvSpPr/>
            <p:nvPr/>
          </p:nvSpPr>
          <p:spPr>
            <a:xfrm>
              <a:off x="5146040" y="2534920"/>
              <a:ext cx="314960" cy="304800"/>
            </a:xfrm>
            <a:custGeom>
              <a:avLst/>
              <a:gdLst/>
              <a:ahLst/>
              <a:cxnLst/>
              <a:rect l="l" t="t" r="r" b="b"/>
              <a:pathLst>
                <a:path w="314960" h="304800">
                  <a:moveTo>
                    <a:pt x="157480" y="0"/>
                  </a:moveTo>
                  <a:lnTo>
                    <a:pt x="107696" y="7766"/>
                  </a:lnTo>
                  <a:lnTo>
                    <a:pt x="64465" y="29394"/>
                  </a:lnTo>
                  <a:lnTo>
                    <a:pt x="30378" y="62380"/>
                  </a:lnTo>
                  <a:lnTo>
                    <a:pt x="8026" y="104217"/>
                  </a:lnTo>
                  <a:lnTo>
                    <a:pt x="0" y="152400"/>
                  </a:lnTo>
                  <a:lnTo>
                    <a:pt x="8026" y="200582"/>
                  </a:lnTo>
                  <a:lnTo>
                    <a:pt x="30378" y="242419"/>
                  </a:lnTo>
                  <a:lnTo>
                    <a:pt x="64465" y="275405"/>
                  </a:lnTo>
                  <a:lnTo>
                    <a:pt x="107696" y="297033"/>
                  </a:lnTo>
                  <a:lnTo>
                    <a:pt x="157480" y="304800"/>
                  </a:lnTo>
                  <a:lnTo>
                    <a:pt x="207263" y="297033"/>
                  </a:lnTo>
                  <a:lnTo>
                    <a:pt x="250494" y="275405"/>
                  </a:lnTo>
                  <a:lnTo>
                    <a:pt x="284581" y="242419"/>
                  </a:lnTo>
                  <a:lnTo>
                    <a:pt x="306933" y="200582"/>
                  </a:lnTo>
                  <a:lnTo>
                    <a:pt x="314960" y="152400"/>
                  </a:lnTo>
                  <a:lnTo>
                    <a:pt x="306933" y="104217"/>
                  </a:lnTo>
                  <a:lnTo>
                    <a:pt x="284581" y="62380"/>
                  </a:lnTo>
                  <a:lnTo>
                    <a:pt x="250494" y="29394"/>
                  </a:lnTo>
                  <a:lnTo>
                    <a:pt x="207263" y="7766"/>
                  </a:lnTo>
                  <a:lnTo>
                    <a:pt x="157480" y="0"/>
                  </a:lnTo>
                  <a:close/>
                </a:path>
              </a:pathLst>
            </a:custGeom>
            <a:solidFill>
              <a:srgbClr val="00AF50"/>
            </a:solidFill>
          </p:spPr>
          <p:txBody>
            <a:bodyPr wrap="square" lIns="0" tIns="0" rIns="0" bIns="0" rtlCol="0"/>
            <a:lstStyle/>
            <a:p>
              <a:endParaRPr/>
            </a:p>
          </p:txBody>
        </p:sp>
        <p:sp>
          <p:nvSpPr>
            <p:cNvPr id="14" name="object 10">
              <a:extLst>
                <a:ext uri="{FF2B5EF4-FFF2-40B4-BE49-F238E27FC236}">
                  <a16:creationId xmlns:a16="http://schemas.microsoft.com/office/drawing/2014/main" id="{785FAE59-9180-8072-59D0-DD8E584CA342}"/>
                </a:ext>
              </a:extLst>
            </p:cNvPr>
            <p:cNvSpPr/>
            <p:nvPr/>
          </p:nvSpPr>
          <p:spPr>
            <a:xfrm>
              <a:off x="5146040" y="2534920"/>
              <a:ext cx="314960" cy="304800"/>
            </a:xfrm>
            <a:custGeom>
              <a:avLst/>
              <a:gdLst/>
              <a:ahLst/>
              <a:cxnLst/>
              <a:rect l="l" t="t" r="r" b="b"/>
              <a:pathLst>
                <a:path w="314960" h="304800">
                  <a:moveTo>
                    <a:pt x="0" y="152400"/>
                  </a:moveTo>
                  <a:lnTo>
                    <a:pt x="8026" y="104217"/>
                  </a:lnTo>
                  <a:lnTo>
                    <a:pt x="30378" y="62380"/>
                  </a:lnTo>
                  <a:lnTo>
                    <a:pt x="64465" y="29394"/>
                  </a:lnTo>
                  <a:lnTo>
                    <a:pt x="107696" y="7766"/>
                  </a:lnTo>
                  <a:lnTo>
                    <a:pt x="157480" y="0"/>
                  </a:lnTo>
                  <a:lnTo>
                    <a:pt x="207263" y="7766"/>
                  </a:lnTo>
                  <a:lnTo>
                    <a:pt x="250494" y="29394"/>
                  </a:lnTo>
                  <a:lnTo>
                    <a:pt x="284581" y="62380"/>
                  </a:lnTo>
                  <a:lnTo>
                    <a:pt x="306933" y="104217"/>
                  </a:lnTo>
                  <a:lnTo>
                    <a:pt x="314960" y="152400"/>
                  </a:lnTo>
                  <a:lnTo>
                    <a:pt x="306933" y="200582"/>
                  </a:lnTo>
                  <a:lnTo>
                    <a:pt x="284581" y="242419"/>
                  </a:lnTo>
                  <a:lnTo>
                    <a:pt x="250494" y="275405"/>
                  </a:lnTo>
                  <a:lnTo>
                    <a:pt x="207263" y="297033"/>
                  </a:lnTo>
                  <a:lnTo>
                    <a:pt x="157480" y="304800"/>
                  </a:lnTo>
                  <a:lnTo>
                    <a:pt x="107696" y="297033"/>
                  </a:lnTo>
                  <a:lnTo>
                    <a:pt x="64465" y="275405"/>
                  </a:lnTo>
                  <a:lnTo>
                    <a:pt x="30378" y="242419"/>
                  </a:lnTo>
                  <a:lnTo>
                    <a:pt x="8026" y="200582"/>
                  </a:lnTo>
                  <a:lnTo>
                    <a:pt x="0" y="152400"/>
                  </a:lnTo>
                  <a:close/>
                </a:path>
              </a:pathLst>
            </a:custGeom>
            <a:ln w="9525">
              <a:solidFill>
                <a:srgbClr val="71747A"/>
              </a:solidFill>
            </a:ln>
          </p:spPr>
          <p:txBody>
            <a:bodyPr wrap="square" lIns="0" tIns="0" rIns="0" bIns="0" rtlCol="0"/>
            <a:lstStyle/>
            <a:p>
              <a:endParaRPr/>
            </a:p>
          </p:txBody>
        </p:sp>
        <p:pic>
          <p:nvPicPr>
            <p:cNvPr id="31" name="object 11">
              <a:extLst>
                <a:ext uri="{FF2B5EF4-FFF2-40B4-BE49-F238E27FC236}">
                  <a16:creationId xmlns:a16="http://schemas.microsoft.com/office/drawing/2014/main" id="{529E595A-B0B0-A907-C529-D81D315E68A8}"/>
                </a:ext>
              </a:extLst>
            </p:cNvPr>
            <p:cNvPicPr/>
            <p:nvPr/>
          </p:nvPicPr>
          <p:blipFill>
            <a:blip r:embed="rId4" cstate="print"/>
            <a:stretch>
              <a:fillRect/>
            </a:stretch>
          </p:blipFill>
          <p:spPr>
            <a:xfrm>
              <a:off x="5263197" y="2580957"/>
              <a:ext cx="111125" cy="212725"/>
            </a:xfrm>
            <a:prstGeom prst="rect">
              <a:avLst/>
            </a:prstGeom>
          </p:spPr>
        </p:pic>
      </p:grpSp>
      <p:grpSp>
        <p:nvGrpSpPr>
          <p:cNvPr id="32" name="object 8">
            <a:extLst>
              <a:ext uri="{FF2B5EF4-FFF2-40B4-BE49-F238E27FC236}">
                <a16:creationId xmlns:a16="http://schemas.microsoft.com/office/drawing/2014/main" id="{2FCEB92B-3389-0641-F1D5-6C6252ED2CD3}"/>
              </a:ext>
            </a:extLst>
          </p:cNvPr>
          <p:cNvGrpSpPr/>
          <p:nvPr/>
        </p:nvGrpSpPr>
        <p:grpSpPr>
          <a:xfrm>
            <a:off x="5245165" y="4158688"/>
            <a:ext cx="314960" cy="304800"/>
            <a:chOff x="5146040" y="2534920"/>
            <a:chExt cx="314960" cy="304800"/>
          </a:xfrm>
        </p:grpSpPr>
        <p:sp>
          <p:nvSpPr>
            <p:cNvPr id="33" name="object 9">
              <a:extLst>
                <a:ext uri="{FF2B5EF4-FFF2-40B4-BE49-F238E27FC236}">
                  <a16:creationId xmlns:a16="http://schemas.microsoft.com/office/drawing/2014/main" id="{C830CA6D-6C50-B520-39CE-0CC79DB4A4CC}"/>
                </a:ext>
              </a:extLst>
            </p:cNvPr>
            <p:cNvSpPr/>
            <p:nvPr/>
          </p:nvSpPr>
          <p:spPr>
            <a:xfrm>
              <a:off x="5146040" y="2534920"/>
              <a:ext cx="314960" cy="304800"/>
            </a:xfrm>
            <a:custGeom>
              <a:avLst/>
              <a:gdLst/>
              <a:ahLst/>
              <a:cxnLst/>
              <a:rect l="l" t="t" r="r" b="b"/>
              <a:pathLst>
                <a:path w="314960" h="304800">
                  <a:moveTo>
                    <a:pt x="157480" y="0"/>
                  </a:moveTo>
                  <a:lnTo>
                    <a:pt x="107696" y="7766"/>
                  </a:lnTo>
                  <a:lnTo>
                    <a:pt x="64465" y="29394"/>
                  </a:lnTo>
                  <a:lnTo>
                    <a:pt x="30378" y="62380"/>
                  </a:lnTo>
                  <a:lnTo>
                    <a:pt x="8026" y="104217"/>
                  </a:lnTo>
                  <a:lnTo>
                    <a:pt x="0" y="152400"/>
                  </a:lnTo>
                  <a:lnTo>
                    <a:pt x="8026" y="200582"/>
                  </a:lnTo>
                  <a:lnTo>
                    <a:pt x="30378" y="242419"/>
                  </a:lnTo>
                  <a:lnTo>
                    <a:pt x="64465" y="275405"/>
                  </a:lnTo>
                  <a:lnTo>
                    <a:pt x="107696" y="297033"/>
                  </a:lnTo>
                  <a:lnTo>
                    <a:pt x="157480" y="304800"/>
                  </a:lnTo>
                  <a:lnTo>
                    <a:pt x="207263" y="297033"/>
                  </a:lnTo>
                  <a:lnTo>
                    <a:pt x="250494" y="275405"/>
                  </a:lnTo>
                  <a:lnTo>
                    <a:pt x="284581" y="242419"/>
                  </a:lnTo>
                  <a:lnTo>
                    <a:pt x="306933" y="200582"/>
                  </a:lnTo>
                  <a:lnTo>
                    <a:pt x="314960" y="152400"/>
                  </a:lnTo>
                  <a:lnTo>
                    <a:pt x="306933" y="104217"/>
                  </a:lnTo>
                  <a:lnTo>
                    <a:pt x="284581" y="62380"/>
                  </a:lnTo>
                  <a:lnTo>
                    <a:pt x="250494" y="29394"/>
                  </a:lnTo>
                  <a:lnTo>
                    <a:pt x="207263" y="7766"/>
                  </a:lnTo>
                  <a:lnTo>
                    <a:pt x="157480" y="0"/>
                  </a:lnTo>
                  <a:close/>
                </a:path>
              </a:pathLst>
            </a:custGeom>
            <a:solidFill>
              <a:srgbClr val="00AF50"/>
            </a:solidFill>
          </p:spPr>
          <p:txBody>
            <a:bodyPr wrap="square" lIns="0" tIns="0" rIns="0" bIns="0" rtlCol="0"/>
            <a:lstStyle/>
            <a:p>
              <a:endParaRPr/>
            </a:p>
          </p:txBody>
        </p:sp>
        <p:sp>
          <p:nvSpPr>
            <p:cNvPr id="34" name="object 10">
              <a:extLst>
                <a:ext uri="{FF2B5EF4-FFF2-40B4-BE49-F238E27FC236}">
                  <a16:creationId xmlns:a16="http://schemas.microsoft.com/office/drawing/2014/main" id="{D6B2972B-89D4-9A36-9917-697282ED6BA5}"/>
                </a:ext>
              </a:extLst>
            </p:cNvPr>
            <p:cNvSpPr/>
            <p:nvPr/>
          </p:nvSpPr>
          <p:spPr>
            <a:xfrm>
              <a:off x="5146040" y="2534920"/>
              <a:ext cx="314960" cy="304800"/>
            </a:xfrm>
            <a:custGeom>
              <a:avLst/>
              <a:gdLst/>
              <a:ahLst/>
              <a:cxnLst/>
              <a:rect l="l" t="t" r="r" b="b"/>
              <a:pathLst>
                <a:path w="314960" h="304800">
                  <a:moveTo>
                    <a:pt x="0" y="152400"/>
                  </a:moveTo>
                  <a:lnTo>
                    <a:pt x="8026" y="104217"/>
                  </a:lnTo>
                  <a:lnTo>
                    <a:pt x="30378" y="62380"/>
                  </a:lnTo>
                  <a:lnTo>
                    <a:pt x="64465" y="29394"/>
                  </a:lnTo>
                  <a:lnTo>
                    <a:pt x="107696" y="7766"/>
                  </a:lnTo>
                  <a:lnTo>
                    <a:pt x="157480" y="0"/>
                  </a:lnTo>
                  <a:lnTo>
                    <a:pt x="207263" y="7766"/>
                  </a:lnTo>
                  <a:lnTo>
                    <a:pt x="250494" y="29394"/>
                  </a:lnTo>
                  <a:lnTo>
                    <a:pt x="284581" y="62380"/>
                  </a:lnTo>
                  <a:lnTo>
                    <a:pt x="306933" y="104217"/>
                  </a:lnTo>
                  <a:lnTo>
                    <a:pt x="314960" y="152400"/>
                  </a:lnTo>
                  <a:lnTo>
                    <a:pt x="306933" y="200582"/>
                  </a:lnTo>
                  <a:lnTo>
                    <a:pt x="284581" y="242419"/>
                  </a:lnTo>
                  <a:lnTo>
                    <a:pt x="250494" y="275405"/>
                  </a:lnTo>
                  <a:lnTo>
                    <a:pt x="207263" y="297033"/>
                  </a:lnTo>
                  <a:lnTo>
                    <a:pt x="157480" y="304800"/>
                  </a:lnTo>
                  <a:lnTo>
                    <a:pt x="107696" y="297033"/>
                  </a:lnTo>
                  <a:lnTo>
                    <a:pt x="64465" y="275405"/>
                  </a:lnTo>
                  <a:lnTo>
                    <a:pt x="30378" y="242419"/>
                  </a:lnTo>
                  <a:lnTo>
                    <a:pt x="8026" y="200582"/>
                  </a:lnTo>
                  <a:lnTo>
                    <a:pt x="0" y="152400"/>
                  </a:lnTo>
                  <a:close/>
                </a:path>
              </a:pathLst>
            </a:custGeom>
            <a:ln w="9525">
              <a:solidFill>
                <a:srgbClr val="71747A"/>
              </a:solidFill>
            </a:ln>
          </p:spPr>
          <p:txBody>
            <a:bodyPr wrap="square" lIns="0" tIns="0" rIns="0" bIns="0" rtlCol="0"/>
            <a:lstStyle/>
            <a:p>
              <a:endParaRPr/>
            </a:p>
          </p:txBody>
        </p:sp>
        <p:pic>
          <p:nvPicPr>
            <p:cNvPr id="35" name="object 11">
              <a:extLst>
                <a:ext uri="{FF2B5EF4-FFF2-40B4-BE49-F238E27FC236}">
                  <a16:creationId xmlns:a16="http://schemas.microsoft.com/office/drawing/2014/main" id="{AD2EDEA9-7814-CF10-3830-04A92DD68685}"/>
                </a:ext>
              </a:extLst>
            </p:cNvPr>
            <p:cNvPicPr/>
            <p:nvPr/>
          </p:nvPicPr>
          <p:blipFill>
            <a:blip r:embed="rId4" cstate="print"/>
            <a:stretch>
              <a:fillRect/>
            </a:stretch>
          </p:blipFill>
          <p:spPr>
            <a:xfrm>
              <a:off x="5263197" y="2580957"/>
              <a:ext cx="111125" cy="212725"/>
            </a:xfrm>
            <a:prstGeom prst="rect">
              <a:avLst/>
            </a:prstGeom>
          </p:spPr>
        </p:pic>
      </p:gr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7153" name="Diapositive think-cell" r:id="rId6" imgW="473" imgH="473" progId="TCLayout.ActiveDocument.1">
                  <p:embed/>
                </p:oleObj>
              </mc:Choice>
              <mc:Fallback>
                <p:oleObj name="Diapositive think-cell" r:id="rId6" imgW="473" imgH="473"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a:xfrm>
            <a:off x="630000" y="622800"/>
            <a:ext cx="10933350" cy="443198"/>
          </a:xfrm>
        </p:spPr>
        <p:txBody>
          <a:bodyPr vert="horz"/>
          <a:lstStyle/>
          <a:p>
            <a:r>
              <a:rPr lang="fr-FR" sz="3200" spc="-5">
                <a:solidFill>
                  <a:srgbClr val="20BE60"/>
                </a:solidFill>
              </a:rPr>
              <a:t>Annex 5c :</a:t>
            </a:r>
            <a:br>
              <a:rPr lang="fr-FR" sz="3200" spc="-5">
                <a:solidFill>
                  <a:srgbClr val="20BE60"/>
                </a:solidFill>
              </a:rPr>
            </a:br>
            <a:r>
              <a:rPr lang="fr-FR" sz="3200" spc="-5">
                <a:solidFill>
                  <a:srgbClr val="20BE60"/>
                </a:solidFill>
              </a:rPr>
              <a:t>Data </a:t>
            </a:r>
            <a:r>
              <a:rPr lang="fr-FR" sz="3200" spc="-5" err="1">
                <a:solidFill>
                  <a:srgbClr val="20BE60"/>
                </a:solidFill>
              </a:rPr>
              <a:t>based</a:t>
            </a:r>
            <a:r>
              <a:rPr lang="fr-FR" sz="3200" spc="-5">
                <a:solidFill>
                  <a:srgbClr val="20BE60"/>
                </a:solidFill>
              </a:rPr>
              <a:t> inventories : </a:t>
            </a:r>
            <a:r>
              <a:rPr lang="fr-FR" sz="3200" spc="-5" err="1">
                <a:solidFill>
                  <a:srgbClr val="20BE60"/>
                </a:solidFill>
              </a:rPr>
              <a:t>paving</a:t>
            </a:r>
            <a:r>
              <a:rPr lang="fr-FR" sz="3200" spc="-5">
                <a:solidFill>
                  <a:srgbClr val="20BE60"/>
                </a:solidFill>
              </a:rPr>
              <a:t> the </a:t>
            </a:r>
            <a:r>
              <a:rPr lang="fr-FR" sz="3200" spc="-5" err="1">
                <a:solidFill>
                  <a:srgbClr val="20BE60"/>
                </a:solidFill>
              </a:rPr>
              <a:t>way</a:t>
            </a:r>
            <a:r>
              <a:rPr lang="fr-FR" sz="3200" spc="-5">
                <a:solidFill>
                  <a:srgbClr val="20BE60"/>
                </a:solidFill>
              </a:rPr>
              <a:t> for a digital </a:t>
            </a:r>
            <a:r>
              <a:rPr lang="fr-FR" sz="3200" spc="-5" err="1">
                <a:solidFill>
                  <a:srgbClr val="20BE60"/>
                </a:solidFill>
              </a:rPr>
              <a:t>supply</a:t>
            </a:r>
            <a:r>
              <a:rPr lang="fr-FR" sz="3200" spc="-5">
                <a:solidFill>
                  <a:srgbClr val="20BE60"/>
                </a:solidFill>
              </a:rPr>
              <a:t> </a:t>
            </a:r>
            <a:r>
              <a:rPr lang="fr-FR" sz="3200" spc="-5" err="1">
                <a:solidFill>
                  <a:srgbClr val="20BE60"/>
                </a:solidFill>
              </a:rPr>
              <a:t>chain</a:t>
            </a:r>
            <a:endParaRPr lang="en-US" sz="3200">
              <a:solidFill>
                <a:srgbClr val="00B050"/>
              </a:solidFill>
            </a:endParaRPr>
          </a:p>
        </p:txBody>
      </p:sp>
      <p:sp>
        <p:nvSpPr>
          <p:cNvPr id="7" name="ee4pFootnotes"/>
          <p:cNvSpPr>
            <a:spLocks noChangeArrowheads="1"/>
          </p:cNvSpPr>
          <p:nvPr/>
        </p:nvSpPr>
        <p:spPr bwMode="auto">
          <a:xfrm>
            <a:off x="628650" y="6438811"/>
            <a:ext cx="903091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a:solidFill>
                  <a:schemeClr val="bg1">
                    <a:lumMod val="50000"/>
                  </a:schemeClr>
                </a:solidFill>
                <a:latin typeface="Trebuchet MS" panose="020B0603020202020204" pitchFamily="34" charset="0"/>
                <a:cs typeface="Arial" pitchFamily="34" charset="0"/>
              </a:rPr>
              <a:t>Source : </a:t>
            </a:r>
            <a:r>
              <a:rPr lang="en-US" sz="1000" err="1">
                <a:solidFill>
                  <a:schemeClr val="bg1">
                    <a:lumMod val="50000"/>
                  </a:schemeClr>
                </a:solidFill>
                <a:latin typeface="Trebuchet MS" panose="020B0603020202020204" pitchFamily="34" charset="0"/>
                <a:cs typeface="Arial" pitchFamily="34" charset="0"/>
              </a:rPr>
              <a:t>ClientCo’s</a:t>
            </a:r>
            <a:r>
              <a:rPr lang="en-US" sz="1000">
                <a:solidFill>
                  <a:schemeClr val="bg1">
                    <a:lumMod val="50000"/>
                  </a:schemeClr>
                </a:solidFill>
                <a:latin typeface="Trebuchet MS" panose="020B0603020202020204" pitchFamily="34" charset="0"/>
                <a:cs typeface="Arial" pitchFamily="34" charset="0"/>
              </a:rPr>
              <a:t> Data, BCG studies, </a:t>
            </a:r>
            <a:r>
              <a:rPr lang="en-US" sz="1000" err="1">
                <a:solidFill>
                  <a:schemeClr val="bg1">
                    <a:lumMod val="50000"/>
                  </a:schemeClr>
                </a:solidFill>
                <a:latin typeface="Trebuchet MS" panose="020B0603020202020204" pitchFamily="34" charset="0"/>
                <a:cs typeface="Arial" pitchFamily="34" charset="0"/>
              </a:rPr>
              <a:t>Sitaci.fr</a:t>
            </a:r>
            <a:endParaRPr lang="en-US" sz="1000">
              <a:solidFill>
                <a:schemeClr val="bg1">
                  <a:lumMod val="50000"/>
                </a:schemeClr>
              </a:solidFill>
              <a:latin typeface="Trebuchet MS" panose="020B0603020202020204" pitchFamily="34" charset="0"/>
              <a:cs typeface="Arial" pitchFamily="34" charset="0"/>
            </a:endParaRPr>
          </a:p>
        </p:txBody>
      </p:sp>
      <p:sp>
        <p:nvSpPr>
          <p:cNvPr id="43" name="object 34">
            <a:extLst>
              <a:ext uri="{FF2B5EF4-FFF2-40B4-BE49-F238E27FC236}">
                <a16:creationId xmlns:a16="http://schemas.microsoft.com/office/drawing/2014/main" id="{CA3F97C3-F0BA-D6BA-E5DC-19121E864BFE}"/>
              </a:ext>
            </a:extLst>
          </p:cNvPr>
          <p:cNvSpPr/>
          <p:nvPr/>
        </p:nvSpPr>
        <p:spPr>
          <a:xfrm rot="5400000">
            <a:off x="3982718" y="4139718"/>
            <a:ext cx="4130527" cy="45719"/>
          </a:xfrm>
          <a:custGeom>
            <a:avLst/>
            <a:gdLst/>
            <a:ahLst/>
            <a:cxnLst/>
            <a:rect l="l" t="t" r="r" b="b"/>
            <a:pathLst>
              <a:path w="9930765">
                <a:moveTo>
                  <a:pt x="0" y="0"/>
                </a:moveTo>
                <a:lnTo>
                  <a:pt x="9930384" y="0"/>
                </a:lnTo>
              </a:path>
            </a:pathLst>
          </a:custGeom>
          <a:ln w="9525">
            <a:solidFill>
              <a:srgbClr val="9A9A9A"/>
            </a:solidFill>
            <a:prstDash val="dash"/>
          </a:ln>
        </p:spPr>
        <p:txBody>
          <a:bodyPr wrap="square" lIns="0" tIns="0" rIns="0" bIns="0" rtlCol="0"/>
          <a:lstStyle/>
          <a:p>
            <a:endParaRPr/>
          </a:p>
        </p:txBody>
      </p:sp>
      <p:sp>
        <p:nvSpPr>
          <p:cNvPr id="11" name="object 20">
            <a:extLst>
              <a:ext uri="{FF2B5EF4-FFF2-40B4-BE49-F238E27FC236}">
                <a16:creationId xmlns:a16="http://schemas.microsoft.com/office/drawing/2014/main" id="{FA651644-BAA6-188E-5350-DF3EFD5F84EF}"/>
              </a:ext>
            </a:extLst>
          </p:cNvPr>
          <p:cNvSpPr txBox="1"/>
          <p:nvPr/>
        </p:nvSpPr>
        <p:spPr>
          <a:xfrm>
            <a:off x="628650" y="2081213"/>
            <a:ext cx="1963721" cy="259045"/>
          </a:xfrm>
          <a:prstGeom prst="rect">
            <a:avLst/>
          </a:prstGeom>
        </p:spPr>
        <p:txBody>
          <a:bodyPr vert="horz" wrap="square" lIns="0" tIns="12700" rIns="0" bIns="0" rtlCol="0">
            <a:spAutoFit/>
          </a:bodyPr>
          <a:lstStyle/>
          <a:p>
            <a:pPr marL="12700">
              <a:lnSpc>
                <a:spcPct val="100000"/>
              </a:lnSpc>
              <a:spcBef>
                <a:spcPts val="100"/>
              </a:spcBef>
            </a:pPr>
            <a:r>
              <a:rPr lang="fr-FR" sz="1600" spc="15">
                <a:solidFill>
                  <a:srgbClr val="20BE60"/>
                </a:solidFill>
                <a:latin typeface="Microsoft Sans Serif"/>
                <a:cs typeface="Microsoft Sans Serif"/>
              </a:rPr>
              <a:t>Description</a:t>
            </a:r>
            <a:endParaRPr sz="1600">
              <a:latin typeface="Microsoft Sans Serif"/>
              <a:cs typeface="Microsoft Sans Serif"/>
            </a:endParaRPr>
          </a:p>
        </p:txBody>
      </p:sp>
      <p:sp>
        <p:nvSpPr>
          <p:cNvPr id="12" name="object 20">
            <a:extLst>
              <a:ext uri="{FF2B5EF4-FFF2-40B4-BE49-F238E27FC236}">
                <a16:creationId xmlns:a16="http://schemas.microsoft.com/office/drawing/2014/main" id="{FDB60F84-2869-354D-9BF1-3E609C000C50}"/>
              </a:ext>
            </a:extLst>
          </p:cNvPr>
          <p:cNvSpPr txBox="1"/>
          <p:nvPr/>
        </p:nvSpPr>
        <p:spPr>
          <a:xfrm>
            <a:off x="667240" y="3471864"/>
            <a:ext cx="2933210" cy="259045"/>
          </a:xfrm>
          <a:prstGeom prst="rect">
            <a:avLst/>
          </a:prstGeom>
        </p:spPr>
        <p:txBody>
          <a:bodyPr vert="horz" wrap="square" lIns="0" tIns="12700" rIns="0" bIns="0" rtlCol="0">
            <a:spAutoFit/>
          </a:bodyPr>
          <a:lstStyle>
            <a:defPPr>
              <a:defRPr lang="en-US"/>
            </a:defPPr>
            <a:lvl1pPr marL="12700">
              <a:lnSpc>
                <a:spcPct val="100000"/>
              </a:lnSpc>
              <a:spcBef>
                <a:spcPts val="100"/>
              </a:spcBef>
              <a:defRPr sz="1600" spc="15">
                <a:solidFill>
                  <a:srgbClr val="20BE60"/>
                </a:solidFill>
                <a:latin typeface="Microsoft Sans Serif"/>
                <a:cs typeface="Microsoft Sans Serif"/>
              </a:defRPr>
            </a:lvl1pPr>
          </a:lstStyle>
          <a:p>
            <a:r>
              <a:rPr lang="fr-FR" err="1"/>
              <a:t>Required</a:t>
            </a:r>
            <a:r>
              <a:rPr lang="fr-FR"/>
              <a:t> Ressources</a:t>
            </a:r>
          </a:p>
        </p:txBody>
      </p:sp>
      <p:sp>
        <p:nvSpPr>
          <p:cNvPr id="13" name="object 20">
            <a:extLst>
              <a:ext uri="{FF2B5EF4-FFF2-40B4-BE49-F238E27FC236}">
                <a16:creationId xmlns:a16="http://schemas.microsoft.com/office/drawing/2014/main" id="{81C670D0-C25C-9C7C-B784-09CB882E8002}"/>
              </a:ext>
            </a:extLst>
          </p:cNvPr>
          <p:cNvSpPr txBox="1"/>
          <p:nvPr/>
        </p:nvSpPr>
        <p:spPr>
          <a:xfrm>
            <a:off x="6208533" y="2104674"/>
            <a:ext cx="1963721" cy="259045"/>
          </a:xfrm>
          <a:prstGeom prst="rect">
            <a:avLst/>
          </a:prstGeom>
        </p:spPr>
        <p:txBody>
          <a:bodyPr vert="horz" wrap="square" lIns="0" tIns="12700" rIns="0" bIns="0" rtlCol="0">
            <a:spAutoFit/>
          </a:bodyPr>
          <a:lstStyle/>
          <a:p>
            <a:pPr marL="12700">
              <a:lnSpc>
                <a:spcPct val="100000"/>
              </a:lnSpc>
              <a:spcBef>
                <a:spcPts val="100"/>
              </a:spcBef>
            </a:pPr>
            <a:r>
              <a:rPr lang="fr-FR" sz="1600" spc="15" err="1">
                <a:solidFill>
                  <a:srgbClr val="20BE60"/>
                </a:solidFill>
                <a:latin typeface="Microsoft Sans Serif"/>
                <a:cs typeface="Microsoft Sans Serif"/>
              </a:rPr>
              <a:t>Estimated</a:t>
            </a:r>
            <a:r>
              <a:rPr lang="fr-FR" sz="1600" spc="15">
                <a:solidFill>
                  <a:srgbClr val="20BE60"/>
                </a:solidFill>
                <a:latin typeface="Microsoft Sans Serif"/>
                <a:cs typeface="Microsoft Sans Serif"/>
              </a:rPr>
              <a:t> Impact</a:t>
            </a:r>
            <a:endParaRPr sz="1600">
              <a:latin typeface="Microsoft Sans Serif"/>
              <a:cs typeface="Microsoft Sans Serif"/>
            </a:endParaRPr>
          </a:p>
        </p:txBody>
      </p:sp>
      <p:sp>
        <p:nvSpPr>
          <p:cNvPr id="14" name="object 20">
            <a:extLst>
              <a:ext uri="{FF2B5EF4-FFF2-40B4-BE49-F238E27FC236}">
                <a16:creationId xmlns:a16="http://schemas.microsoft.com/office/drawing/2014/main" id="{86EA0AB6-9792-3681-F7D3-03A87C515B0F}"/>
              </a:ext>
            </a:extLst>
          </p:cNvPr>
          <p:cNvSpPr txBox="1"/>
          <p:nvPr/>
        </p:nvSpPr>
        <p:spPr>
          <a:xfrm>
            <a:off x="6208532" y="3471864"/>
            <a:ext cx="4334367" cy="259045"/>
          </a:xfrm>
          <a:prstGeom prst="rect">
            <a:avLst/>
          </a:prstGeom>
        </p:spPr>
        <p:txBody>
          <a:bodyPr vert="horz" wrap="square" lIns="0" tIns="12700" rIns="0" bIns="0" rtlCol="0">
            <a:spAutoFit/>
          </a:bodyPr>
          <a:lstStyle/>
          <a:p>
            <a:pPr marL="12700">
              <a:lnSpc>
                <a:spcPct val="100000"/>
              </a:lnSpc>
              <a:spcBef>
                <a:spcPts val="100"/>
              </a:spcBef>
            </a:pPr>
            <a:r>
              <a:rPr lang="fr-FR" sz="1600" spc="15" err="1">
                <a:solidFill>
                  <a:srgbClr val="20BE60"/>
                </a:solidFill>
                <a:latin typeface="Microsoft Sans Serif"/>
                <a:cs typeface="Microsoft Sans Serif"/>
              </a:rPr>
              <a:t>They</a:t>
            </a:r>
            <a:r>
              <a:rPr lang="fr-FR" sz="1600" spc="15">
                <a:solidFill>
                  <a:srgbClr val="20BE60"/>
                </a:solidFill>
                <a:latin typeface="Microsoft Sans Serif"/>
                <a:cs typeface="Microsoft Sans Serif"/>
              </a:rPr>
              <a:t> support </a:t>
            </a:r>
            <a:r>
              <a:rPr lang="fr-FR" sz="1600" spc="15" err="1">
                <a:solidFill>
                  <a:srgbClr val="20BE60"/>
                </a:solidFill>
                <a:latin typeface="Microsoft Sans Serif"/>
                <a:cs typeface="Microsoft Sans Serif"/>
              </a:rPr>
              <a:t>it</a:t>
            </a:r>
            <a:endParaRPr sz="1600">
              <a:latin typeface="Microsoft Sans Serif"/>
              <a:cs typeface="Microsoft Sans Serif"/>
            </a:endParaRPr>
          </a:p>
        </p:txBody>
      </p:sp>
      <p:sp>
        <p:nvSpPr>
          <p:cNvPr id="15" name="object 3">
            <a:extLst>
              <a:ext uri="{FF2B5EF4-FFF2-40B4-BE49-F238E27FC236}">
                <a16:creationId xmlns:a16="http://schemas.microsoft.com/office/drawing/2014/main" id="{855D29FA-982C-D0B8-360C-25AB00A4957B}"/>
              </a:ext>
            </a:extLst>
          </p:cNvPr>
          <p:cNvSpPr txBox="1"/>
          <p:nvPr/>
        </p:nvSpPr>
        <p:spPr>
          <a:xfrm>
            <a:off x="652912" y="2454809"/>
            <a:ext cx="5311693" cy="874598"/>
          </a:xfrm>
          <a:prstGeom prst="rect">
            <a:avLst/>
          </a:prstGeom>
        </p:spPr>
        <p:txBody>
          <a:bodyPr vert="horz" wrap="square" lIns="0" tIns="12700" rIns="0" bIns="0" rtlCol="0">
            <a:spAutoFit/>
          </a:bodyPr>
          <a:lstStyle/>
          <a:p>
            <a:pPr marL="12700" algn="just">
              <a:lnSpc>
                <a:spcPct val="100000"/>
              </a:lnSpc>
              <a:spcBef>
                <a:spcPts val="100"/>
              </a:spcBef>
              <a:buClr>
                <a:srgbClr val="9A9CA1"/>
              </a:buClr>
              <a:tabLst>
                <a:tab pos="226060" algn="l"/>
              </a:tabLst>
            </a:pPr>
            <a:r>
              <a:rPr lang="en-US" sz="1400" spc="-5">
                <a:solidFill>
                  <a:srgbClr val="373739"/>
                </a:solidFill>
                <a:latin typeface="Trebuchet MS"/>
              </a:rPr>
              <a:t>Pursue current efforts to digitize the currently manual inventories and extend capabilities of the supply chain team. Prevent out of stocks and optimize stock management through data. Set the bases to enable a forecasted supply chain.</a:t>
            </a:r>
          </a:p>
        </p:txBody>
      </p:sp>
      <p:sp>
        <p:nvSpPr>
          <p:cNvPr id="17" name="object 3">
            <a:extLst>
              <a:ext uri="{FF2B5EF4-FFF2-40B4-BE49-F238E27FC236}">
                <a16:creationId xmlns:a16="http://schemas.microsoft.com/office/drawing/2014/main" id="{CDCBE93F-C0AE-E463-56F2-135B0AF94CF3}"/>
              </a:ext>
            </a:extLst>
          </p:cNvPr>
          <p:cNvSpPr txBox="1"/>
          <p:nvPr/>
        </p:nvSpPr>
        <p:spPr>
          <a:xfrm>
            <a:off x="6200430" y="2471076"/>
            <a:ext cx="2583330" cy="659155"/>
          </a:xfrm>
          <a:prstGeom prst="rect">
            <a:avLst/>
          </a:prstGeom>
        </p:spPr>
        <p:txBody>
          <a:bodyPr vert="horz" wrap="square" lIns="0" tIns="12700" rIns="0" bIns="0" rtlCol="0">
            <a:spAutoFit/>
          </a:bodyPr>
          <a:lstStyle/>
          <a:p>
            <a:pPr marL="12700">
              <a:lnSpc>
                <a:spcPct val="100000"/>
              </a:lnSpc>
              <a:spcBef>
                <a:spcPts val="100"/>
              </a:spcBef>
              <a:buClr>
                <a:srgbClr val="9A9CA1"/>
              </a:buClr>
              <a:tabLst>
                <a:tab pos="226060" algn="l"/>
              </a:tabLst>
            </a:pPr>
            <a:r>
              <a:rPr lang="en-US" sz="1400" b="1" spc="-5">
                <a:solidFill>
                  <a:schemeClr val="bg2">
                    <a:lumMod val="25000"/>
                  </a:schemeClr>
                </a:solidFill>
                <a:latin typeface="Trebuchet MS"/>
              </a:rPr>
              <a:t>50 M€ loss </a:t>
            </a:r>
            <a:r>
              <a:rPr lang="en-US" sz="1400" spc="-5">
                <a:solidFill>
                  <a:schemeClr val="bg2">
                    <a:lumMod val="25000"/>
                  </a:schemeClr>
                </a:solidFill>
                <a:latin typeface="Trebuchet MS"/>
              </a:rPr>
              <a:t>due to inventories issues or a 13M€ profit to be retained.</a:t>
            </a:r>
          </a:p>
        </p:txBody>
      </p:sp>
      <p:graphicFrame>
        <p:nvGraphicFramePr>
          <p:cNvPr id="18" name="Diagramme 17">
            <a:extLst>
              <a:ext uri="{FF2B5EF4-FFF2-40B4-BE49-F238E27FC236}">
                <a16:creationId xmlns:a16="http://schemas.microsoft.com/office/drawing/2014/main" id="{A3B9BF40-E842-026D-D3F2-F646246CA0D4}"/>
              </a:ext>
            </a:extLst>
          </p:cNvPr>
          <p:cNvGraphicFramePr/>
          <p:nvPr/>
        </p:nvGraphicFramePr>
        <p:xfrm>
          <a:off x="9151652" y="3793303"/>
          <a:ext cx="2810380" cy="2399409"/>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26" name="object 3">
            <a:extLst>
              <a:ext uri="{FF2B5EF4-FFF2-40B4-BE49-F238E27FC236}">
                <a16:creationId xmlns:a16="http://schemas.microsoft.com/office/drawing/2014/main" id="{C3FEAF3C-C598-E5BE-C8A4-38D18B828D4A}"/>
              </a:ext>
            </a:extLst>
          </p:cNvPr>
          <p:cNvSpPr txBox="1"/>
          <p:nvPr/>
        </p:nvSpPr>
        <p:spPr>
          <a:xfrm>
            <a:off x="6200430" y="4054623"/>
            <a:ext cx="3082494" cy="874598"/>
          </a:xfrm>
          <a:prstGeom prst="rect">
            <a:avLst/>
          </a:prstGeom>
        </p:spPr>
        <p:txBody>
          <a:bodyPr vert="horz" wrap="square" lIns="0" tIns="12700" rIns="0" bIns="0" rtlCol="0">
            <a:spAutoFit/>
          </a:bodyPr>
          <a:lstStyle>
            <a:defPPr>
              <a:defRPr lang="en-US"/>
            </a:defPPr>
            <a:lvl1pPr marL="12700">
              <a:lnSpc>
                <a:spcPct val="100000"/>
              </a:lnSpc>
              <a:spcBef>
                <a:spcPts val="100"/>
              </a:spcBef>
              <a:buClr>
                <a:srgbClr val="9A9CA1"/>
              </a:buClr>
              <a:tabLst>
                <a:tab pos="226060" algn="l"/>
              </a:tabLst>
              <a:defRPr sz="1400" spc="-5">
                <a:solidFill>
                  <a:srgbClr val="373739"/>
                </a:solidFill>
                <a:latin typeface="Trebuchet MS"/>
              </a:defRPr>
            </a:lvl1pPr>
          </a:lstStyle>
          <a:p>
            <a:pPr algn="just"/>
            <a:r>
              <a:rPr lang="en-US"/>
              <a:t>“I’m interested in a digital supply chain and convinced in the necessity to develop large scale analytics capabilities” </a:t>
            </a:r>
            <a:r>
              <a:rPr lang="en-US" sz="900" i="1"/>
              <a:t>- CEO</a:t>
            </a:r>
          </a:p>
        </p:txBody>
      </p:sp>
      <p:sp>
        <p:nvSpPr>
          <p:cNvPr id="50" name="object 3">
            <a:extLst>
              <a:ext uri="{FF2B5EF4-FFF2-40B4-BE49-F238E27FC236}">
                <a16:creationId xmlns:a16="http://schemas.microsoft.com/office/drawing/2014/main" id="{120AD733-638B-8137-79AD-65197CA930DE}"/>
              </a:ext>
            </a:extLst>
          </p:cNvPr>
          <p:cNvSpPr txBox="1"/>
          <p:nvPr/>
        </p:nvSpPr>
        <p:spPr>
          <a:xfrm>
            <a:off x="6208532" y="5472341"/>
            <a:ext cx="3082494" cy="443711"/>
          </a:xfrm>
          <a:prstGeom prst="rect">
            <a:avLst/>
          </a:prstGeom>
        </p:spPr>
        <p:txBody>
          <a:bodyPr vert="horz" wrap="square" lIns="0" tIns="12700" rIns="0" bIns="0" rtlCol="0">
            <a:spAutoFit/>
          </a:bodyPr>
          <a:lstStyle>
            <a:defPPr>
              <a:defRPr lang="en-US"/>
            </a:defPPr>
            <a:lvl1pPr marL="12700">
              <a:lnSpc>
                <a:spcPct val="100000"/>
              </a:lnSpc>
              <a:spcBef>
                <a:spcPts val="100"/>
              </a:spcBef>
              <a:buClr>
                <a:srgbClr val="9A9CA1"/>
              </a:buClr>
              <a:tabLst>
                <a:tab pos="226060" algn="l"/>
              </a:tabLst>
              <a:defRPr sz="1400" spc="-5">
                <a:solidFill>
                  <a:srgbClr val="373739"/>
                </a:solidFill>
                <a:latin typeface="Trebuchet MS"/>
              </a:defRPr>
            </a:lvl1pPr>
          </a:lstStyle>
          <a:p>
            <a:pPr algn="just"/>
            <a:r>
              <a:rPr lang="en-US"/>
              <a:t>“Data-based inventory would be amazing ” </a:t>
            </a:r>
            <a:r>
              <a:rPr lang="en-US" sz="900" i="1"/>
              <a:t>– </a:t>
            </a:r>
            <a:r>
              <a:rPr lang="en-US" sz="900" i="1" err="1"/>
              <a:t>Mr</a:t>
            </a:r>
            <a:r>
              <a:rPr lang="en-US" sz="900" i="1"/>
              <a:t> Hammer, Supply chain director</a:t>
            </a:r>
          </a:p>
        </p:txBody>
      </p:sp>
      <p:sp>
        <p:nvSpPr>
          <p:cNvPr id="55" name="object 3">
            <a:extLst>
              <a:ext uri="{FF2B5EF4-FFF2-40B4-BE49-F238E27FC236}">
                <a16:creationId xmlns:a16="http://schemas.microsoft.com/office/drawing/2014/main" id="{B2EE1A2A-1D6F-C50D-E585-65CF27466285}"/>
              </a:ext>
            </a:extLst>
          </p:cNvPr>
          <p:cNvSpPr txBox="1"/>
          <p:nvPr/>
        </p:nvSpPr>
        <p:spPr>
          <a:xfrm>
            <a:off x="8913743" y="2471076"/>
            <a:ext cx="2649607" cy="659155"/>
          </a:xfrm>
          <a:prstGeom prst="rect">
            <a:avLst/>
          </a:prstGeom>
        </p:spPr>
        <p:txBody>
          <a:bodyPr vert="horz" wrap="square" lIns="0" tIns="12700" rIns="0" bIns="0" rtlCol="0">
            <a:spAutoFit/>
          </a:bodyPr>
          <a:lstStyle>
            <a:defPPr>
              <a:defRPr lang="en-US"/>
            </a:defPPr>
            <a:lvl1pPr marL="12700">
              <a:lnSpc>
                <a:spcPct val="100000"/>
              </a:lnSpc>
              <a:spcBef>
                <a:spcPts val="100"/>
              </a:spcBef>
              <a:buClr>
                <a:srgbClr val="9A9CA1"/>
              </a:buClr>
              <a:tabLst>
                <a:tab pos="226060" algn="l"/>
              </a:tabLst>
              <a:defRPr sz="1600" b="1" spc="-5">
                <a:solidFill>
                  <a:schemeClr val="bg2">
                    <a:lumMod val="25000"/>
                  </a:schemeClr>
                </a:solidFill>
                <a:latin typeface="Trebuchet MS"/>
              </a:defRPr>
            </a:lvl1pPr>
          </a:lstStyle>
          <a:p>
            <a:pPr algn="just"/>
            <a:r>
              <a:rPr lang="en-US" sz="1400"/>
              <a:t>Long-term project </a:t>
            </a:r>
            <a:r>
              <a:rPr lang="en-US" sz="1400" b="0"/>
              <a:t>to digitize a significant portion of the business.</a:t>
            </a:r>
          </a:p>
        </p:txBody>
      </p:sp>
      <p:pic>
        <p:nvPicPr>
          <p:cNvPr id="2" name="Image 1">
            <a:extLst>
              <a:ext uri="{FF2B5EF4-FFF2-40B4-BE49-F238E27FC236}">
                <a16:creationId xmlns:a16="http://schemas.microsoft.com/office/drawing/2014/main" id="{105BB125-9736-437C-34C1-B8815A86AC1C}"/>
              </a:ext>
            </a:extLst>
          </p:cNvPr>
          <p:cNvPicPr>
            <a:picLocks noChangeAspect="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Lst>
          </a:blip>
          <a:stretch>
            <a:fillRect/>
          </a:stretch>
        </p:blipFill>
        <p:spPr>
          <a:xfrm>
            <a:off x="3491143" y="4087116"/>
            <a:ext cx="849207" cy="796689"/>
          </a:xfrm>
          <a:prstGeom prst="rect">
            <a:avLst/>
          </a:prstGeom>
        </p:spPr>
      </p:pic>
      <p:pic>
        <p:nvPicPr>
          <p:cNvPr id="6" name="Image 21">
            <a:extLst>
              <a:ext uri="{FF2B5EF4-FFF2-40B4-BE49-F238E27FC236}">
                <a16:creationId xmlns:a16="http://schemas.microsoft.com/office/drawing/2014/main" id="{0442E2A1-651D-20AF-0487-BCEECBCDC3F7}"/>
              </a:ext>
            </a:extLst>
          </p:cNvPr>
          <p:cNvPicPr>
            <a:picLocks noChangeAspect="1"/>
          </p:cNvPicPr>
          <p:nvPr/>
        </p:nvPicPr>
        <p:blipFill>
          <a:blip r:embed="rId15">
            <a:extLst>
              <a:ext uri="{96DAC541-7B7A-43D3-8B79-37D633B846F1}">
                <asvg:svgBlip xmlns:asvg="http://schemas.microsoft.com/office/drawing/2016/SVG/main" r:embed="rId16"/>
              </a:ext>
            </a:extLst>
          </a:blip>
          <a:srcRect/>
          <a:stretch/>
        </p:blipFill>
        <p:spPr>
          <a:xfrm>
            <a:off x="628650" y="5295853"/>
            <a:ext cx="796689" cy="796689"/>
          </a:xfrm>
          <a:prstGeom prst="rect">
            <a:avLst/>
          </a:prstGeom>
        </p:spPr>
      </p:pic>
      <p:pic>
        <p:nvPicPr>
          <p:cNvPr id="8" name="Image 22" descr="Base de données contour">
            <a:extLst>
              <a:ext uri="{FF2B5EF4-FFF2-40B4-BE49-F238E27FC236}">
                <a16:creationId xmlns:a16="http://schemas.microsoft.com/office/drawing/2014/main" id="{C22D37C5-F35E-2C00-651C-00A62805CFF5}"/>
              </a:ext>
            </a:extLst>
          </p:cNvPr>
          <p:cNvPicPr>
            <a:picLocks noChangeAspect="1"/>
          </p:cNvPicPr>
          <p:nvPr/>
        </p:nvPicPr>
        <p:blipFill>
          <a:blip r:embed="rId17">
            <a:extLst>
              <a:ext uri="{96DAC541-7B7A-43D3-8B79-37D633B846F1}">
                <asvg:svgBlip xmlns:asvg="http://schemas.microsoft.com/office/drawing/2016/SVG/main" r:embed="rId18"/>
              </a:ext>
            </a:extLst>
          </a:blip>
          <a:srcRect/>
          <a:stretch/>
        </p:blipFill>
        <p:spPr>
          <a:xfrm>
            <a:off x="645960" y="4053405"/>
            <a:ext cx="796689" cy="796689"/>
          </a:xfrm>
          <a:prstGeom prst="rect">
            <a:avLst/>
          </a:prstGeom>
        </p:spPr>
      </p:pic>
      <p:sp>
        <p:nvSpPr>
          <p:cNvPr id="9" name="object 3">
            <a:extLst>
              <a:ext uri="{FF2B5EF4-FFF2-40B4-BE49-F238E27FC236}">
                <a16:creationId xmlns:a16="http://schemas.microsoft.com/office/drawing/2014/main" id="{47598F80-40EA-7DFB-E6E0-5D7A03A9BEF9}"/>
              </a:ext>
            </a:extLst>
          </p:cNvPr>
          <p:cNvSpPr txBox="1"/>
          <p:nvPr/>
        </p:nvSpPr>
        <p:spPr>
          <a:xfrm>
            <a:off x="1526026" y="4115760"/>
            <a:ext cx="1932822" cy="684803"/>
          </a:xfrm>
          <a:prstGeom prst="rect">
            <a:avLst/>
          </a:prstGeom>
        </p:spPr>
        <p:txBody>
          <a:bodyPr vert="horz" wrap="square" lIns="0" tIns="12700" rIns="0" bIns="0" rtlCol="0">
            <a:spAutoFit/>
          </a:bodyPr>
          <a:lstStyle/>
          <a:p>
            <a:pPr marL="12700" algn="just">
              <a:lnSpc>
                <a:spcPct val="100000"/>
              </a:lnSpc>
              <a:spcBef>
                <a:spcPts val="100"/>
              </a:spcBef>
              <a:buClr>
                <a:srgbClr val="9A9CA1"/>
              </a:buClr>
              <a:tabLst>
                <a:tab pos="226060" algn="l"/>
              </a:tabLst>
            </a:pPr>
            <a:r>
              <a:rPr lang="en-US" sz="1400" spc="-5">
                <a:solidFill>
                  <a:srgbClr val="373739"/>
                </a:solidFill>
                <a:latin typeface="Trebuchet MS"/>
              </a:rPr>
              <a:t>Real time inventory </a:t>
            </a:r>
          </a:p>
          <a:p>
            <a:pPr marL="12700" algn="just">
              <a:lnSpc>
                <a:spcPct val="100000"/>
              </a:lnSpc>
              <a:spcBef>
                <a:spcPts val="100"/>
              </a:spcBef>
              <a:buClr>
                <a:srgbClr val="9A9CA1"/>
              </a:buClr>
              <a:tabLst>
                <a:tab pos="226060" algn="l"/>
              </a:tabLst>
            </a:pPr>
            <a:r>
              <a:rPr lang="en-US" sz="1400" spc="-5">
                <a:solidFill>
                  <a:srgbClr val="373739"/>
                </a:solidFill>
                <a:latin typeface="Trebuchet MS"/>
              </a:rPr>
              <a:t>– </a:t>
            </a:r>
            <a:r>
              <a:rPr lang="en-US" sz="1400" i="1" spc="-5">
                <a:solidFill>
                  <a:srgbClr val="373739"/>
                </a:solidFill>
                <a:latin typeface="Trebuchet MS"/>
              </a:rPr>
              <a:t>Not</a:t>
            </a:r>
            <a:r>
              <a:rPr lang="en-US" sz="1400" spc="-5">
                <a:solidFill>
                  <a:srgbClr val="373739"/>
                </a:solidFill>
                <a:latin typeface="Trebuchet MS"/>
              </a:rPr>
              <a:t> </a:t>
            </a:r>
            <a:r>
              <a:rPr lang="en-US" sz="1400" i="1" spc="-5">
                <a:solidFill>
                  <a:srgbClr val="373739"/>
                </a:solidFill>
                <a:latin typeface="Trebuchet MS"/>
              </a:rPr>
              <a:t>Available</a:t>
            </a:r>
          </a:p>
          <a:p>
            <a:pPr marL="12700" algn="just">
              <a:lnSpc>
                <a:spcPct val="100000"/>
              </a:lnSpc>
              <a:spcBef>
                <a:spcPts val="100"/>
              </a:spcBef>
              <a:buClr>
                <a:srgbClr val="9A9CA1"/>
              </a:buClr>
              <a:tabLst>
                <a:tab pos="226060" algn="l"/>
              </a:tabLst>
            </a:pPr>
            <a:r>
              <a:rPr lang="en-US" sz="1400" spc="-5">
                <a:solidFill>
                  <a:srgbClr val="373739"/>
                </a:solidFill>
                <a:latin typeface="Trebuchet MS"/>
              </a:rPr>
              <a:t>WMS – </a:t>
            </a:r>
            <a:r>
              <a:rPr lang="en-US" sz="1400" i="1" spc="-5">
                <a:solidFill>
                  <a:srgbClr val="373739"/>
                </a:solidFill>
                <a:latin typeface="Trebuchet MS"/>
              </a:rPr>
              <a:t>Not available</a:t>
            </a:r>
          </a:p>
        </p:txBody>
      </p:sp>
      <p:sp>
        <p:nvSpPr>
          <p:cNvPr id="10" name="object 3">
            <a:extLst>
              <a:ext uri="{FF2B5EF4-FFF2-40B4-BE49-F238E27FC236}">
                <a16:creationId xmlns:a16="http://schemas.microsoft.com/office/drawing/2014/main" id="{2EFB7781-295B-21D8-1B66-7725FCCBAA21}"/>
              </a:ext>
            </a:extLst>
          </p:cNvPr>
          <p:cNvSpPr txBox="1"/>
          <p:nvPr/>
        </p:nvSpPr>
        <p:spPr>
          <a:xfrm>
            <a:off x="4340350" y="4035337"/>
            <a:ext cx="1730491" cy="913070"/>
          </a:xfrm>
          <a:prstGeom prst="rect">
            <a:avLst/>
          </a:prstGeom>
        </p:spPr>
        <p:txBody>
          <a:bodyPr vert="horz" wrap="square" lIns="0" tIns="12700" rIns="0" bIns="0" rtlCol="0">
            <a:spAutoFit/>
          </a:bodyPr>
          <a:lstStyle/>
          <a:p>
            <a:pPr marL="12700" algn="just">
              <a:lnSpc>
                <a:spcPct val="100000"/>
              </a:lnSpc>
              <a:spcBef>
                <a:spcPts val="100"/>
              </a:spcBef>
              <a:buClr>
                <a:srgbClr val="9A9CA1"/>
              </a:buClr>
              <a:tabLst>
                <a:tab pos="226060" algn="l"/>
              </a:tabLst>
            </a:pPr>
            <a:r>
              <a:rPr lang="en-US" sz="1400" spc="-5">
                <a:solidFill>
                  <a:srgbClr val="373739"/>
                </a:solidFill>
                <a:latin typeface="Trebuchet MS"/>
              </a:rPr>
              <a:t>Development team </a:t>
            </a:r>
          </a:p>
          <a:p>
            <a:pPr marL="12700" algn="just">
              <a:lnSpc>
                <a:spcPct val="100000"/>
              </a:lnSpc>
              <a:spcBef>
                <a:spcPts val="100"/>
              </a:spcBef>
              <a:buClr>
                <a:srgbClr val="9A9CA1"/>
              </a:buClr>
              <a:tabLst>
                <a:tab pos="226060" algn="l"/>
              </a:tabLst>
            </a:pPr>
            <a:r>
              <a:rPr lang="en-US" sz="1400" spc="-5">
                <a:solidFill>
                  <a:srgbClr val="373739"/>
                </a:solidFill>
                <a:latin typeface="Trebuchet MS"/>
              </a:rPr>
              <a:t>-</a:t>
            </a:r>
            <a:r>
              <a:rPr lang="en-US" sz="1400" i="1" spc="-5">
                <a:solidFill>
                  <a:srgbClr val="373739"/>
                </a:solidFill>
                <a:latin typeface="Trebuchet MS"/>
              </a:rPr>
              <a:t> Not Available</a:t>
            </a:r>
          </a:p>
          <a:p>
            <a:pPr marL="12700" algn="just">
              <a:lnSpc>
                <a:spcPct val="100000"/>
              </a:lnSpc>
              <a:spcBef>
                <a:spcPts val="100"/>
              </a:spcBef>
              <a:buClr>
                <a:srgbClr val="9A9CA1"/>
              </a:buClr>
              <a:tabLst>
                <a:tab pos="226060" algn="l"/>
              </a:tabLst>
            </a:pPr>
            <a:r>
              <a:rPr lang="en-US" sz="1400" i="1" spc="-5">
                <a:solidFill>
                  <a:srgbClr val="373739"/>
                </a:solidFill>
                <a:latin typeface="Trebuchet MS"/>
              </a:rPr>
              <a:t>“Run” task force</a:t>
            </a:r>
          </a:p>
          <a:p>
            <a:pPr marL="12700" algn="just">
              <a:lnSpc>
                <a:spcPct val="100000"/>
              </a:lnSpc>
              <a:spcBef>
                <a:spcPts val="100"/>
              </a:spcBef>
              <a:buClr>
                <a:srgbClr val="9A9CA1"/>
              </a:buClr>
              <a:tabLst>
                <a:tab pos="226060" algn="l"/>
              </a:tabLst>
            </a:pPr>
            <a:r>
              <a:rPr lang="en-US" sz="1400" i="1" spc="-5">
                <a:solidFill>
                  <a:srgbClr val="373739"/>
                </a:solidFill>
                <a:latin typeface="Trebuchet MS"/>
              </a:rPr>
              <a:t>- Available</a:t>
            </a:r>
          </a:p>
        </p:txBody>
      </p:sp>
      <p:sp>
        <p:nvSpPr>
          <p:cNvPr id="16" name="object 3">
            <a:extLst>
              <a:ext uri="{FF2B5EF4-FFF2-40B4-BE49-F238E27FC236}">
                <a16:creationId xmlns:a16="http://schemas.microsoft.com/office/drawing/2014/main" id="{DE23F2F4-547E-2045-43C0-0CF9266CDB93}"/>
              </a:ext>
            </a:extLst>
          </p:cNvPr>
          <p:cNvSpPr txBox="1"/>
          <p:nvPr/>
        </p:nvSpPr>
        <p:spPr>
          <a:xfrm>
            <a:off x="1442649" y="5307467"/>
            <a:ext cx="4461784" cy="874598"/>
          </a:xfrm>
          <a:prstGeom prst="rect">
            <a:avLst/>
          </a:prstGeom>
        </p:spPr>
        <p:txBody>
          <a:bodyPr vert="horz" wrap="square" lIns="0" tIns="12700" rIns="0" bIns="0" rtlCol="0">
            <a:spAutoFit/>
          </a:bodyPr>
          <a:lstStyle/>
          <a:p>
            <a:pPr marL="12700" algn="just">
              <a:lnSpc>
                <a:spcPct val="100000"/>
              </a:lnSpc>
              <a:spcBef>
                <a:spcPts val="100"/>
              </a:spcBef>
              <a:buClr>
                <a:srgbClr val="9A9CA1"/>
              </a:buClr>
              <a:tabLst>
                <a:tab pos="226060" algn="l"/>
              </a:tabLst>
            </a:pPr>
            <a:r>
              <a:rPr lang="en-US" sz="1400" spc="-5">
                <a:solidFill>
                  <a:srgbClr val="373739"/>
                </a:solidFill>
                <a:latin typeface="Trebuchet MS"/>
              </a:rPr>
              <a:t>Will be a challenge to implement as of today there is no data at all, and everything is still very manual. Initial investment important (a WMS costs up to 250k€) and recurrent costs to be anticipated.</a:t>
            </a:r>
          </a:p>
        </p:txBody>
      </p:sp>
    </p:spTree>
    <p:extLst>
      <p:ext uri="{BB962C8B-B14F-4D97-AF65-F5344CB8AC3E}">
        <p14:creationId xmlns:p14="http://schemas.microsoft.com/office/powerpoint/2010/main" val="288704049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9201" name="Diapositive think-cell" r:id="rId27" imgW="473" imgH="473" progId="TCLayout.ActiveDocument.1">
                  <p:embed/>
                </p:oleObj>
              </mc:Choice>
              <mc:Fallback>
                <p:oleObj name="Diapositive think-cell" r:id="rId27" imgW="473" imgH="473" progId="TCLayout.ActiveDocument.1">
                  <p:embed/>
                  <p:pic>
                    <p:nvPicPr>
                      <p:cNvPr id="4" name="Object 3" hidden="1"/>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a:xfrm>
            <a:off x="630000" y="622800"/>
            <a:ext cx="10933350" cy="443198"/>
          </a:xfrm>
        </p:spPr>
        <p:txBody>
          <a:bodyPr vert="horz"/>
          <a:lstStyle/>
          <a:p>
            <a:r>
              <a:rPr lang="en-US" sz="3200">
                <a:solidFill>
                  <a:srgbClr val="00B050"/>
                </a:solidFill>
              </a:rPr>
              <a:t>Annex 6 : </a:t>
            </a:r>
            <a:br>
              <a:rPr lang="en-US" sz="3200">
                <a:solidFill>
                  <a:srgbClr val="00B050"/>
                </a:solidFill>
              </a:rPr>
            </a:br>
            <a:r>
              <a:rPr lang="en-US" sz="3200">
                <a:solidFill>
                  <a:srgbClr val="00B050"/>
                </a:solidFill>
              </a:rPr>
              <a:t>Detailed roadmap</a:t>
            </a:r>
          </a:p>
        </p:txBody>
      </p:sp>
      <p:sp>
        <p:nvSpPr>
          <p:cNvPr id="2" name="Text Placeholder">
            <a:extLst>
              <a:ext uri="{FF2B5EF4-FFF2-40B4-BE49-F238E27FC236}">
                <a16:creationId xmlns:a16="http://schemas.microsoft.com/office/drawing/2014/main" id="{90DEF2C2-506B-9CF9-7D1D-775FB462248A}"/>
              </a:ext>
            </a:extLst>
          </p:cNvPr>
          <p:cNvSpPr txBox="1">
            <a:spLocks/>
          </p:cNvSpPr>
          <p:nvPr>
            <p:custDataLst>
              <p:tags r:id="rId4"/>
            </p:custDataLst>
          </p:nvPr>
        </p:nvSpPr>
        <p:spPr bwMode="auto">
          <a:xfrm>
            <a:off x="1519881" y="1820862"/>
            <a:ext cx="1386000" cy="280645"/>
          </a:xfrm>
          <a:prstGeom prst="rect">
            <a:avLst/>
          </a:prstGeom>
          <a:noFill/>
          <a:ln w="9525">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numCol="1" spcCol="0" rtlCol="0" anchor="ctr" anchorCtr="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GB" altLang="en-US" sz="1400" b="1"/>
              <a:t>S1 - 2019</a:t>
            </a:r>
            <a:endParaRPr lang="en-GB" sz="1400" b="1"/>
          </a:p>
        </p:txBody>
      </p:sp>
      <p:sp>
        <p:nvSpPr>
          <p:cNvPr id="10" name="Text Placeholder">
            <a:extLst>
              <a:ext uri="{FF2B5EF4-FFF2-40B4-BE49-F238E27FC236}">
                <a16:creationId xmlns:a16="http://schemas.microsoft.com/office/drawing/2014/main" id="{6A106C1A-9164-3626-4AAD-215D48E49F2C}"/>
              </a:ext>
            </a:extLst>
          </p:cNvPr>
          <p:cNvSpPr txBox="1">
            <a:spLocks/>
          </p:cNvSpPr>
          <p:nvPr>
            <p:custDataLst>
              <p:tags r:id="rId5"/>
            </p:custDataLst>
          </p:nvPr>
        </p:nvSpPr>
        <p:spPr bwMode="auto">
          <a:xfrm>
            <a:off x="2908436" y="1820863"/>
            <a:ext cx="1386000" cy="260350"/>
          </a:xfrm>
          <a:prstGeom prst="rect">
            <a:avLst/>
          </a:prstGeom>
          <a:noFill/>
          <a:ln w="9525">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numCol="1" spcCol="0" rtlCol="0" anchor="ctr" anchorCtr="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GB" altLang="en-US" sz="1400" b="1"/>
              <a:t>S2 - 2019</a:t>
            </a:r>
            <a:endParaRPr lang="en-GB" sz="1400" b="1"/>
          </a:p>
        </p:txBody>
      </p:sp>
      <p:sp>
        <p:nvSpPr>
          <p:cNvPr id="27" name="Text Placeholder">
            <a:extLst>
              <a:ext uri="{FF2B5EF4-FFF2-40B4-BE49-F238E27FC236}">
                <a16:creationId xmlns:a16="http://schemas.microsoft.com/office/drawing/2014/main" id="{F108D217-EA76-2262-C703-E0210CCA56FF}"/>
              </a:ext>
            </a:extLst>
          </p:cNvPr>
          <p:cNvSpPr txBox="1">
            <a:spLocks/>
          </p:cNvSpPr>
          <p:nvPr>
            <p:custDataLst>
              <p:tags r:id="rId6"/>
            </p:custDataLst>
          </p:nvPr>
        </p:nvSpPr>
        <p:spPr bwMode="auto">
          <a:xfrm>
            <a:off x="4291881" y="1820863"/>
            <a:ext cx="1386000" cy="260350"/>
          </a:xfrm>
          <a:prstGeom prst="rect">
            <a:avLst/>
          </a:prstGeom>
          <a:noFill/>
          <a:ln w="9525">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numCol="1" spcCol="0" rtlCol="0" anchor="ctr" anchorCtr="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GB" altLang="en-US" sz="1400" b="1"/>
              <a:t>S1 - 2020</a:t>
            </a:r>
            <a:endParaRPr lang="en-GB" sz="1400" b="1"/>
          </a:p>
        </p:txBody>
      </p:sp>
      <p:sp>
        <p:nvSpPr>
          <p:cNvPr id="28" name="Text Placeholder">
            <a:extLst>
              <a:ext uri="{FF2B5EF4-FFF2-40B4-BE49-F238E27FC236}">
                <a16:creationId xmlns:a16="http://schemas.microsoft.com/office/drawing/2014/main" id="{122BBF48-BCE2-1791-826F-A9CFA3E95178}"/>
              </a:ext>
            </a:extLst>
          </p:cNvPr>
          <p:cNvSpPr txBox="1">
            <a:spLocks/>
          </p:cNvSpPr>
          <p:nvPr>
            <p:custDataLst>
              <p:tags r:id="rId7"/>
            </p:custDataLst>
          </p:nvPr>
        </p:nvSpPr>
        <p:spPr bwMode="auto">
          <a:xfrm>
            <a:off x="5682991" y="1820863"/>
            <a:ext cx="1386000" cy="260350"/>
          </a:xfrm>
          <a:prstGeom prst="rect">
            <a:avLst/>
          </a:prstGeom>
          <a:noFill/>
          <a:ln w="9525">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numCol="1" spcCol="0" rtlCol="0" anchor="ctr" anchorCtr="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GB" altLang="en-US" sz="1400" b="1"/>
              <a:t>S2 - 2020</a:t>
            </a:r>
            <a:endParaRPr lang="en-GB" sz="1400" b="1"/>
          </a:p>
        </p:txBody>
      </p:sp>
      <p:sp>
        <p:nvSpPr>
          <p:cNvPr id="29" name="Text Placeholder">
            <a:extLst>
              <a:ext uri="{FF2B5EF4-FFF2-40B4-BE49-F238E27FC236}">
                <a16:creationId xmlns:a16="http://schemas.microsoft.com/office/drawing/2014/main" id="{B430FEEE-0D20-2CEB-BF68-3E2D9A209468}"/>
              </a:ext>
            </a:extLst>
          </p:cNvPr>
          <p:cNvSpPr txBox="1">
            <a:spLocks/>
          </p:cNvSpPr>
          <p:nvPr>
            <p:custDataLst>
              <p:tags r:id="rId8"/>
            </p:custDataLst>
          </p:nvPr>
        </p:nvSpPr>
        <p:spPr bwMode="auto">
          <a:xfrm>
            <a:off x="7068991" y="1820863"/>
            <a:ext cx="1386000" cy="260350"/>
          </a:xfrm>
          <a:prstGeom prst="rect">
            <a:avLst/>
          </a:prstGeom>
          <a:noFill/>
          <a:ln w="9525">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numCol="1" spcCol="0" rtlCol="0" anchor="ctr" anchorCtr="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GB" altLang="en-US" sz="1400" b="1"/>
              <a:t>S1 - 2021</a:t>
            </a:r>
            <a:endParaRPr lang="en-GB" sz="1400" b="1"/>
          </a:p>
        </p:txBody>
      </p:sp>
      <p:sp>
        <p:nvSpPr>
          <p:cNvPr id="30" name="Text Placeholder">
            <a:extLst>
              <a:ext uri="{FF2B5EF4-FFF2-40B4-BE49-F238E27FC236}">
                <a16:creationId xmlns:a16="http://schemas.microsoft.com/office/drawing/2014/main" id="{644C3D78-5DD5-337B-E6E6-276BFF0A94BD}"/>
              </a:ext>
            </a:extLst>
          </p:cNvPr>
          <p:cNvSpPr txBox="1">
            <a:spLocks/>
          </p:cNvSpPr>
          <p:nvPr>
            <p:custDataLst>
              <p:tags r:id="rId9"/>
            </p:custDataLst>
          </p:nvPr>
        </p:nvSpPr>
        <p:spPr bwMode="auto">
          <a:xfrm>
            <a:off x="8454991" y="1820863"/>
            <a:ext cx="1386000" cy="260350"/>
          </a:xfrm>
          <a:prstGeom prst="rect">
            <a:avLst/>
          </a:prstGeom>
          <a:noFill/>
          <a:ln w="9525">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numCol="1" spcCol="0" rtlCol="0" anchor="ctr" anchorCtr="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GB" altLang="en-US" sz="1400" b="1"/>
              <a:t>S2 - 2021</a:t>
            </a:r>
            <a:endParaRPr lang="en-GB" sz="1400" b="1"/>
          </a:p>
        </p:txBody>
      </p:sp>
      <p:sp>
        <p:nvSpPr>
          <p:cNvPr id="31" name="Text Placeholder">
            <a:extLst>
              <a:ext uri="{FF2B5EF4-FFF2-40B4-BE49-F238E27FC236}">
                <a16:creationId xmlns:a16="http://schemas.microsoft.com/office/drawing/2014/main" id="{8F421582-F59D-624D-8D98-828F8E21480E}"/>
              </a:ext>
            </a:extLst>
          </p:cNvPr>
          <p:cNvSpPr txBox="1">
            <a:spLocks/>
          </p:cNvSpPr>
          <p:nvPr>
            <p:custDataLst>
              <p:tags r:id="rId10"/>
            </p:custDataLst>
          </p:nvPr>
        </p:nvSpPr>
        <p:spPr bwMode="auto">
          <a:xfrm>
            <a:off x="9840992" y="1820863"/>
            <a:ext cx="1722357" cy="260350"/>
          </a:xfrm>
          <a:prstGeom prst="rect">
            <a:avLst/>
          </a:prstGeom>
          <a:noFill/>
          <a:ln w="9525">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numCol="1" spcCol="0" rtlCol="0" anchor="ctr" anchorCtr="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GB" altLang="en-US" sz="1400" b="1"/>
              <a:t>Next years …</a:t>
            </a:r>
            <a:endParaRPr lang="en-GB" sz="1400" b="1"/>
          </a:p>
        </p:txBody>
      </p:sp>
      <p:sp>
        <p:nvSpPr>
          <p:cNvPr id="32" name="Text Placeholder">
            <a:extLst>
              <a:ext uri="{FF2B5EF4-FFF2-40B4-BE49-F238E27FC236}">
                <a16:creationId xmlns:a16="http://schemas.microsoft.com/office/drawing/2014/main" id="{CDDE42D9-39FC-E92B-3CC4-2D7AEF707C41}"/>
              </a:ext>
            </a:extLst>
          </p:cNvPr>
          <p:cNvSpPr txBox="1">
            <a:spLocks/>
          </p:cNvSpPr>
          <p:nvPr>
            <p:custDataLst>
              <p:tags r:id="rId11"/>
            </p:custDataLst>
          </p:nvPr>
        </p:nvSpPr>
        <p:spPr bwMode="auto">
          <a:xfrm>
            <a:off x="628651" y="1824381"/>
            <a:ext cx="1253693"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b" anchorCtr="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GB" altLang="en-US" sz="1400" b="1">
                <a:effectLst/>
              </a:rPr>
              <a:t>Use Case</a:t>
            </a:r>
            <a:endParaRPr lang="en-GB" sz="1400" b="1"/>
          </a:p>
        </p:txBody>
      </p:sp>
      <p:sp>
        <p:nvSpPr>
          <p:cNvPr id="33" name="Rectangle 32">
            <a:extLst>
              <a:ext uri="{FF2B5EF4-FFF2-40B4-BE49-F238E27FC236}">
                <a16:creationId xmlns:a16="http://schemas.microsoft.com/office/drawing/2014/main" id="{FE2FA2B3-DE45-BA04-2943-8B1D220C1BB3}"/>
              </a:ext>
            </a:extLst>
          </p:cNvPr>
          <p:cNvSpPr/>
          <p:nvPr>
            <p:custDataLst>
              <p:tags r:id="rId12"/>
            </p:custDataLst>
          </p:nvPr>
        </p:nvSpPr>
        <p:spPr bwMode="auto">
          <a:xfrm>
            <a:off x="628651" y="2081214"/>
            <a:ext cx="10934699" cy="1326592"/>
          </a:xfrm>
          <a:prstGeom prst="rect">
            <a:avLst/>
          </a:prstGeom>
          <a:solidFill>
            <a:srgbClr val="104B26">
              <a:alpha val="89804"/>
            </a:srgbClr>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sp>
        <p:nvSpPr>
          <p:cNvPr id="34" name="Rectangle 33">
            <a:extLst>
              <a:ext uri="{FF2B5EF4-FFF2-40B4-BE49-F238E27FC236}">
                <a16:creationId xmlns:a16="http://schemas.microsoft.com/office/drawing/2014/main" id="{5CAF548E-E53E-FD25-4FB7-58FF0CDCB5A9}"/>
              </a:ext>
            </a:extLst>
          </p:cNvPr>
          <p:cNvSpPr/>
          <p:nvPr>
            <p:custDataLst>
              <p:tags r:id="rId13"/>
            </p:custDataLst>
          </p:nvPr>
        </p:nvSpPr>
        <p:spPr bwMode="auto">
          <a:xfrm>
            <a:off x="628651" y="3407805"/>
            <a:ext cx="10934699" cy="1347787"/>
          </a:xfrm>
          <a:prstGeom prst="rect">
            <a:avLst/>
          </a:prstGeom>
          <a:solidFill>
            <a:srgbClr val="20BE60">
              <a:alpha val="89804"/>
            </a:srgbClr>
          </a:solidFill>
          <a:ln w="9525" cap="flat" cmpd="sng" algn="ctr">
            <a:solidFill>
              <a:srgbClr val="000000">
                <a:alpha val="50196"/>
              </a:srgbClr>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sp>
        <p:nvSpPr>
          <p:cNvPr id="35" name="Rectangle 34">
            <a:extLst>
              <a:ext uri="{FF2B5EF4-FFF2-40B4-BE49-F238E27FC236}">
                <a16:creationId xmlns:a16="http://schemas.microsoft.com/office/drawing/2014/main" id="{FA489989-F77B-4F97-1321-EC6BEAF37C43}"/>
              </a:ext>
            </a:extLst>
          </p:cNvPr>
          <p:cNvSpPr/>
          <p:nvPr>
            <p:custDataLst>
              <p:tags r:id="rId14"/>
            </p:custDataLst>
          </p:nvPr>
        </p:nvSpPr>
        <p:spPr bwMode="auto">
          <a:xfrm>
            <a:off x="628651" y="4755592"/>
            <a:ext cx="10934699" cy="1433017"/>
          </a:xfrm>
          <a:prstGeom prst="rect">
            <a:avLst/>
          </a:prstGeom>
          <a:solidFill>
            <a:srgbClr val="00F26D">
              <a:alpha val="89804"/>
            </a:srgbClr>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sp>
        <p:nvSpPr>
          <p:cNvPr id="42" name="Text Placeholder">
            <a:extLst>
              <a:ext uri="{FF2B5EF4-FFF2-40B4-BE49-F238E27FC236}">
                <a16:creationId xmlns:a16="http://schemas.microsoft.com/office/drawing/2014/main" id="{6CC908C3-C3C6-8A05-8891-122D66532322}"/>
              </a:ext>
            </a:extLst>
          </p:cNvPr>
          <p:cNvSpPr txBox="1">
            <a:spLocks/>
          </p:cNvSpPr>
          <p:nvPr>
            <p:custDataLst>
              <p:tags r:id="rId15"/>
            </p:custDataLst>
          </p:nvPr>
        </p:nvSpPr>
        <p:spPr bwMode="auto">
          <a:xfrm>
            <a:off x="1519881" y="2060919"/>
            <a:ext cx="1386000" cy="4111281"/>
          </a:xfrm>
          <a:prstGeom prst="rect">
            <a:avLst/>
          </a:prstGeom>
          <a:noFill/>
          <a:ln w="9525">
            <a:solidFill>
              <a:srgbClr val="F8F8F8"/>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numCol="1" spcCol="0" rtlCol="0" anchor="ctr" anchorCtr="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endParaRPr lang="en-GB" sz="1400" b="1"/>
          </a:p>
        </p:txBody>
      </p:sp>
      <p:sp>
        <p:nvSpPr>
          <p:cNvPr id="43" name="Text Placeholder">
            <a:extLst>
              <a:ext uri="{FF2B5EF4-FFF2-40B4-BE49-F238E27FC236}">
                <a16:creationId xmlns:a16="http://schemas.microsoft.com/office/drawing/2014/main" id="{81CB6141-A3F6-54DC-92FD-59A5694C8F9D}"/>
              </a:ext>
            </a:extLst>
          </p:cNvPr>
          <p:cNvSpPr txBox="1">
            <a:spLocks/>
          </p:cNvSpPr>
          <p:nvPr>
            <p:custDataLst>
              <p:tags r:id="rId16"/>
            </p:custDataLst>
          </p:nvPr>
        </p:nvSpPr>
        <p:spPr bwMode="auto">
          <a:xfrm>
            <a:off x="2914308" y="2070691"/>
            <a:ext cx="1386000" cy="4111281"/>
          </a:xfrm>
          <a:prstGeom prst="rect">
            <a:avLst/>
          </a:prstGeom>
          <a:noFill/>
          <a:ln w="9525">
            <a:solidFill>
              <a:srgbClr val="F8F8F8"/>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numCol="1" spcCol="0" rtlCol="0" anchor="ctr" anchorCtr="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endParaRPr lang="en-GB" sz="1400" b="1"/>
          </a:p>
        </p:txBody>
      </p:sp>
      <p:sp>
        <p:nvSpPr>
          <p:cNvPr id="44" name="Text Placeholder">
            <a:extLst>
              <a:ext uri="{FF2B5EF4-FFF2-40B4-BE49-F238E27FC236}">
                <a16:creationId xmlns:a16="http://schemas.microsoft.com/office/drawing/2014/main" id="{130CC202-160C-D64E-5DEC-A28C25F80244}"/>
              </a:ext>
            </a:extLst>
          </p:cNvPr>
          <p:cNvSpPr txBox="1">
            <a:spLocks/>
          </p:cNvSpPr>
          <p:nvPr>
            <p:custDataLst>
              <p:tags r:id="rId17"/>
            </p:custDataLst>
          </p:nvPr>
        </p:nvSpPr>
        <p:spPr bwMode="auto">
          <a:xfrm>
            <a:off x="4286771" y="2091736"/>
            <a:ext cx="1385999" cy="4083194"/>
          </a:xfrm>
          <a:prstGeom prst="rect">
            <a:avLst/>
          </a:prstGeom>
          <a:noFill/>
          <a:ln w="9525">
            <a:solidFill>
              <a:srgbClr val="F8F8F8"/>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numCol="1" spcCol="0" rtlCol="0" anchor="ctr" anchorCtr="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endParaRPr lang="en-GB" sz="1400" b="1"/>
          </a:p>
        </p:txBody>
      </p:sp>
      <p:sp>
        <p:nvSpPr>
          <p:cNvPr id="45" name="Text Placeholder">
            <a:extLst>
              <a:ext uri="{FF2B5EF4-FFF2-40B4-BE49-F238E27FC236}">
                <a16:creationId xmlns:a16="http://schemas.microsoft.com/office/drawing/2014/main" id="{290C1246-F13A-4FCE-78DD-569CEE59A522}"/>
              </a:ext>
            </a:extLst>
          </p:cNvPr>
          <p:cNvSpPr txBox="1">
            <a:spLocks/>
          </p:cNvSpPr>
          <p:nvPr>
            <p:custDataLst>
              <p:tags r:id="rId18"/>
            </p:custDataLst>
          </p:nvPr>
        </p:nvSpPr>
        <p:spPr bwMode="auto">
          <a:xfrm>
            <a:off x="5690655" y="2077328"/>
            <a:ext cx="1393665" cy="4111281"/>
          </a:xfrm>
          <a:prstGeom prst="rect">
            <a:avLst/>
          </a:prstGeom>
          <a:noFill/>
          <a:ln w="9525">
            <a:solidFill>
              <a:srgbClr val="F8F8F8"/>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numCol="1" spcCol="0" rtlCol="0" anchor="ctr" anchorCtr="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endParaRPr lang="en-GB" sz="1400" b="1"/>
          </a:p>
        </p:txBody>
      </p:sp>
      <p:sp>
        <p:nvSpPr>
          <p:cNvPr id="46" name="Text Placeholder">
            <a:extLst>
              <a:ext uri="{FF2B5EF4-FFF2-40B4-BE49-F238E27FC236}">
                <a16:creationId xmlns:a16="http://schemas.microsoft.com/office/drawing/2014/main" id="{0B610090-5000-B931-9897-61D54EE4771E}"/>
              </a:ext>
            </a:extLst>
          </p:cNvPr>
          <p:cNvSpPr txBox="1">
            <a:spLocks/>
          </p:cNvSpPr>
          <p:nvPr>
            <p:custDataLst>
              <p:tags r:id="rId19"/>
            </p:custDataLst>
          </p:nvPr>
        </p:nvSpPr>
        <p:spPr bwMode="auto">
          <a:xfrm>
            <a:off x="7076656" y="2051291"/>
            <a:ext cx="1386000" cy="4111281"/>
          </a:xfrm>
          <a:prstGeom prst="rect">
            <a:avLst/>
          </a:prstGeom>
          <a:noFill/>
          <a:ln w="9525">
            <a:solidFill>
              <a:srgbClr val="F8F8F8"/>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numCol="1" spcCol="0" rtlCol="0" anchor="ctr" anchorCtr="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endParaRPr lang="en-GB" sz="1400" b="1"/>
          </a:p>
        </p:txBody>
      </p:sp>
      <p:sp>
        <p:nvSpPr>
          <p:cNvPr id="47" name="Text Placeholder">
            <a:extLst>
              <a:ext uri="{FF2B5EF4-FFF2-40B4-BE49-F238E27FC236}">
                <a16:creationId xmlns:a16="http://schemas.microsoft.com/office/drawing/2014/main" id="{549F2403-B670-8A99-5C69-16609F66F49F}"/>
              </a:ext>
            </a:extLst>
          </p:cNvPr>
          <p:cNvSpPr txBox="1">
            <a:spLocks/>
          </p:cNvSpPr>
          <p:nvPr>
            <p:custDataLst>
              <p:tags r:id="rId20"/>
            </p:custDataLst>
          </p:nvPr>
        </p:nvSpPr>
        <p:spPr bwMode="auto">
          <a:xfrm>
            <a:off x="8462656" y="2070691"/>
            <a:ext cx="1378335" cy="4111281"/>
          </a:xfrm>
          <a:prstGeom prst="rect">
            <a:avLst/>
          </a:prstGeom>
          <a:noFill/>
          <a:ln w="9525">
            <a:solidFill>
              <a:srgbClr val="F8F8F8"/>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numCol="1" spcCol="0" rtlCol="0" anchor="ctr" anchorCtr="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endParaRPr lang="en-GB" sz="1400" b="1"/>
          </a:p>
        </p:txBody>
      </p:sp>
      <p:sp>
        <p:nvSpPr>
          <p:cNvPr id="48" name="Text Placeholder">
            <a:extLst>
              <a:ext uri="{FF2B5EF4-FFF2-40B4-BE49-F238E27FC236}">
                <a16:creationId xmlns:a16="http://schemas.microsoft.com/office/drawing/2014/main" id="{D19E177D-E4B0-5121-79C2-E173BEDDB39A}"/>
              </a:ext>
            </a:extLst>
          </p:cNvPr>
          <p:cNvSpPr txBox="1">
            <a:spLocks/>
          </p:cNvSpPr>
          <p:nvPr>
            <p:custDataLst>
              <p:tags r:id="rId21"/>
            </p:custDataLst>
          </p:nvPr>
        </p:nvSpPr>
        <p:spPr bwMode="auto">
          <a:xfrm>
            <a:off x="9833325" y="2077328"/>
            <a:ext cx="1722357" cy="4111281"/>
          </a:xfrm>
          <a:prstGeom prst="rect">
            <a:avLst/>
          </a:prstGeom>
          <a:noFill/>
          <a:ln w="9525">
            <a:solidFill>
              <a:srgbClr val="F8F8F8"/>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numCol="1" spcCol="0" rtlCol="0" anchor="ctr" anchorCtr="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endParaRPr lang="en-GB" sz="1400" b="1"/>
          </a:p>
        </p:txBody>
      </p:sp>
      <p:sp>
        <p:nvSpPr>
          <p:cNvPr id="40" name="Text Placeholder">
            <a:extLst>
              <a:ext uri="{FF2B5EF4-FFF2-40B4-BE49-F238E27FC236}">
                <a16:creationId xmlns:a16="http://schemas.microsoft.com/office/drawing/2014/main" id="{070819DA-56AB-0CEB-BAB2-02CF2E1D913D}"/>
              </a:ext>
            </a:extLst>
          </p:cNvPr>
          <p:cNvSpPr txBox="1">
            <a:spLocks/>
          </p:cNvSpPr>
          <p:nvPr>
            <p:custDataLst>
              <p:tags r:id="rId22"/>
            </p:custDataLst>
          </p:nvPr>
        </p:nvSpPr>
        <p:spPr bwMode="auto">
          <a:xfrm>
            <a:off x="690768" y="2448303"/>
            <a:ext cx="760702" cy="492624"/>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b" anchorCtr="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GB" altLang="en-US" sz="1400">
                <a:solidFill>
                  <a:schemeClr val="bg1">
                    <a:lumMod val="95000"/>
                  </a:schemeClr>
                </a:solidFill>
                <a:effectLst/>
              </a:rPr>
              <a:t>Churn </a:t>
            </a:r>
          </a:p>
          <a:p>
            <a:pPr marL="0" indent="0">
              <a:spcBef>
                <a:spcPct val="0"/>
              </a:spcBef>
              <a:spcAft>
                <a:spcPct val="0"/>
              </a:spcAft>
              <a:buNone/>
            </a:pPr>
            <a:r>
              <a:rPr lang="en-GB" altLang="en-US" sz="1400">
                <a:solidFill>
                  <a:schemeClr val="bg1">
                    <a:lumMod val="95000"/>
                  </a:schemeClr>
                </a:solidFill>
                <a:effectLst/>
              </a:rPr>
              <a:t>Prediction</a:t>
            </a:r>
            <a:endParaRPr lang="en-GB" sz="1400">
              <a:solidFill>
                <a:schemeClr val="bg1">
                  <a:lumMod val="95000"/>
                </a:schemeClr>
              </a:solidFill>
            </a:endParaRPr>
          </a:p>
        </p:txBody>
      </p:sp>
      <p:sp>
        <p:nvSpPr>
          <p:cNvPr id="49" name="Text Placeholder">
            <a:extLst>
              <a:ext uri="{FF2B5EF4-FFF2-40B4-BE49-F238E27FC236}">
                <a16:creationId xmlns:a16="http://schemas.microsoft.com/office/drawing/2014/main" id="{D0CCCAC3-F7E0-615E-D9C0-4B1C06530E1A}"/>
              </a:ext>
            </a:extLst>
          </p:cNvPr>
          <p:cNvSpPr txBox="1">
            <a:spLocks/>
          </p:cNvSpPr>
          <p:nvPr>
            <p:custDataLst>
              <p:tags r:id="rId23"/>
            </p:custDataLst>
          </p:nvPr>
        </p:nvSpPr>
        <p:spPr bwMode="auto">
          <a:xfrm>
            <a:off x="693588" y="3736194"/>
            <a:ext cx="760702" cy="68682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b" anchorCtr="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GB" altLang="en-US" sz="1400" err="1">
                <a:solidFill>
                  <a:schemeClr val="bg1">
                    <a:lumMod val="95000"/>
                  </a:schemeClr>
                </a:solidFill>
                <a:effectLst/>
              </a:rPr>
              <a:t>Recom</a:t>
            </a:r>
            <a:r>
              <a:rPr lang="en-GB" altLang="en-US" sz="1400">
                <a:solidFill>
                  <a:schemeClr val="bg1">
                    <a:lumMod val="95000"/>
                  </a:schemeClr>
                </a:solidFill>
                <a:effectLst/>
              </a:rPr>
              <a:t>- </a:t>
            </a:r>
          </a:p>
          <a:p>
            <a:pPr marL="0" indent="0">
              <a:spcBef>
                <a:spcPct val="0"/>
              </a:spcBef>
              <a:spcAft>
                <a:spcPct val="0"/>
              </a:spcAft>
              <a:buNone/>
            </a:pPr>
            <a:r>
              <a:rPr lang="en-GB" altLang="en-US" sz="1400" err="1">
                <a:solidFill>
                  <a:schemeClr val="bg1">
                    <a:lumMod val="95000"/>
                  </a:schemeClr>
                </a:solidFill>
                <a:effectLst/>
              </a:rPr>
              <a:t>mendation</a:t>
            </a:r>
            <a:endParaRPr lang="en-GB" altLang="en-US" sz="1400">
              <a:solidFill>
                <a:schemeClr val="bg1">
                  <a:lumMod val="95000"/>
                </a:schemeClr>
              </a:solidFill>
              <a:effectLst/>
            </a:endParaRPr>
          </a:p>
          <a:p>
            <a:pPr marL="0" indent="0">
              <a:spcBef>
                <a:spcPct val="0"/>
              </a:spcBef>
              <a:spcAft>
                <a:spcPct val="0"/>
              </a:spcAft>
              <a:buNone/>
            </a:pPr>
            <a:r>
              <a:rPr lang="en-GB" sz="1400">
                <a:solidFill>
                  <a:schemeClr val="bg1">
                    <a:lumMod val="95000"/>
                  </a:schemeClr>
                </a:solidFill>
              </a:rPr>
              <a:t>Tool</a:t>
            </a:r>
          </a:p>
        </p:txBody>
      </p:sp>
      <p:sp>
        <p:nvSpPr>
          <p:cNvPr id="50" name="Text Placeholder">
            <a:extLst>
              <a:ext uri="{FF2B5EF4-FFF2-40B4-BE49-F238E27FC236}">
                <a16:creationId xmlns:a16="http://schemas.microsoft.com/office/drawing/2014/main" id="{4FE24475-92CC-4E23-4965-A78206A62209}"/>
              </a:ext>
            </a:extLst>
          </p:cNvPr>
          <p:cNvSpPr txBox="1">
            <a:spLocks/>
          </p:cNvSpPr>
          <p:nvPr>
            <p:custDataLst>
              <p:tags r:id="rId24"/>
            </p:custDataLst>
          </p:nvPr>
        </p:nvSpPr>
        <p:spPr bwMode="auto">
          <a:xfrm>
            <a:off x="670062" y="5222470"/>
            <a:ext cx="760702" cy="492624"/>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b" anchorCtr="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GB" altLang="en-US" sz="1400">
                <a:solidFill>
                  <a:schemeClr val="bg1">
                    <a:lumMod val="95000"/>
                  </a:schemeClr>
                </a:solidFill>
                <a:effectLst/>
              </a:rPr>
              <a:t>Data based </a:t>
            </a:r>
          </a:p>
          <a:p>
            <a:pPr marL="0" indent="0">
              <a:spcBef>
                <a:spcPct val="0"/>
              </a:spcBef>
              <a:spcAft>
                <a:spcPct val="0"/>
              </a:spcAft>
              <a:buNone/>
            </a:pPr>
            <a:r>
              <a:rPr lang="en-GB" sz="1400">
                <a:solidFill>
                  <a:schemeClr val="bg1">
                    <a:lumMod val="95000"/>
                  </a:schemeClr>
                </a:solidFill>
              </a:rPr>
              <a:t>Inventories</a:t>
            </a:r>
          </a:p>
        </p:txBody>
      </p:sp>
      <p:sp>
        <p:nvSpPr>
          <p:cNvPr id="51" name="Losange 50">
            <a:extLst>
              <a:ext uri="{FF2B5EF4-FFF2-40B4-BE49-F238E27FC236}">
                <a16:creationId xmlns:a16="http://schemas.microsoft.com/office/drawing/2014/main" id="{9B0E6456-FBDE-262A-7238-EAE852CF44C0}"/>
              </a:ext>
            </a:extLst>
          </p:cNvPr>
          <p:cNvSpPr/>
          <p:nvPr/>
        </p:nvSpPr>
        <p:spPr>
          <a:xfrm>
            <a:off x="1669362" y="2689372"/>
            <a:ext cx="172814" cy="159026"/>
          </a:xfrm>
          <a:prstGeom prst="diamond">
            <a:avLst/>
          </a:prstGeom>
          <a:solidFill>
            <a:schemeClr val="bg1"/>
          </a:solidFill>
          <a:ln w="9525" cap="rnd" cmpd="sng" algn="ctr">
            <a:solidFill>
              <a:srgbClr val="2C2C2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200">
              <a:ln>
                <a:solidFill>
                  <a:schemeClr val="bg1"/>
                </a:solidFill>
              </a:ln>
              <a:solidFill>
                <a:schemeClr val="bg1"/>
              </a:solidFill>
            </a:endParaRPr>
          </a:p>
        </p:txBody>
      </p:sp>
      <p:sp>
        <p:nvSpPr>
          <p:cNvPr id="52" name="ZoneTexte 51">
            <a:extLst>
              <a:ext uri="{FF2B5EF4-FFF2-40B4-BE49-F238E27FC236}">
                <a16:creationId xmlns:a16="http://schemas.microsoft.com/office/drawing/2014/main" id="{26ACB4D6-C624-7FE9-77D8-5C20E9EE903E}"/>
              </a:ext>
            </a:extLst>
          </p:cNvPr>
          <p:cNvSpPr txBox="1"/>
          <p:nvPr/>
        </p:nvSpPr>
        <p:spPr>
          <a:xfrm>
            <a:off x="1430764" y="2174247"/>
            <a:ext cx="643498" cy="43848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900">
                <a:solidFill>
                  <a:schemeClr val="bg1"/>
                </a:solidFill>
              </a:rPr>
              <a:t>First sales team </a:t>
            </a:r>
            <a:r>
              <a:rPr lang="fr-FR" sz="900" err="1">
                <a:solidFill>
                  <a:schemeClr val="bg1"/>
                </a:solidFill>
              </a:rPr>
              <a:t>selection</a:t>
            </a:r>
            <a:endParaRPr lang="fr-FR" sz="900">
              <a:solidFill>
                <a:schemeClr val="bg1"/>
              </a:solidFill>
            </a:endParaRPr>
          </a:p>
        </p:txBody>
      </p:sp>
      <p:sp>
        <p:nvSpPr>
          <p:cNvPr id="53" name="Flèche : pentagone 52">
            <a:extLst>
              <a:ext uri="{FF2B5EF4-FFF2-40B4-BE49-F238E27FC236}">
                <a16:creationId xmlns:a16="http://schemas.microsoft.com/office/drawing/2014/main" id="{44FB7AEB-988E-0685-27E0-C7BE80E42F10}"/>
              </a:ext>
            </a:extLst>
          </p:cNvPr>
          <p:cNvSpPr/>
          <p:nvPr/>
        </p:nvSpPr>
        <p:spPr>
          <a:xfrm>
            <a:off x="2021983" y="2689372"/>
            <a:ext cx="550097" cy="159026"/>
          </a:xfrm>
          <a:prstGeom prst="homePlate">
            <a:avLst/>
          </a:prstGeom>
          <a:solidFill>
            <a:schemeClr val="bg1"/>
          </a:solidFill>
          <a:ln w="9525" cap="rnd" cmpd="sng" algn="ctr">
            <a:solidFill>
              <a:srgbClr val="2C2C2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200">
              <a:solidFill>
                <a:srgbClr val="FFFFFF"/>
              </a:solidFill>
            </a:endParaRPr>
          </a:p>
        </p:txBody>
      </p:sp>
      <p:sp>
        <p:nvSpPr>
          <p:cNvPr id="54" name="Flèche : pentagone 53">
            <a:extLst>
              <a:ext uri="{FF2B5EF4-FFF2-40B4-BE49-F238E27FC236}">
                <a16:creationId xmlns:a16="http://schemas.microsoft.com/office/drawing/2014/main" id="{8C62EC26-9D48-F013-999D-AF559391BAF0}"/>
              </a:ext>
            </a:extLst>
          </p:cNvPr>
          <p:cNvSpPr/>
          <p:nvPr/>
        </p:nvSpPr>
        <p:spPr>
          <a:xfrm>
            <a:off x="2643606" y="2680713"/>
            <a:ext cx="550097" cy="159026"/>
          </a:xfrm>
          <a:prstGeom prst="homePlate">
            <a:avLst/>
          </a:prstGeom>
          <a:solidFill>
            <a:schemeClr val="bg1"/>
          </a:solidFill>
          <a:ln w="9525" cap="rnd" cmpd="sng" algn="ctr">
            <a:solidFill>
              <a:srgbClr val="2C2C2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200">
              <a:solidFill>
                <a:srgbClr val="FFFFFF"/>
              </a:solidFill>
            </a:endParaRPr>
          </a:p>
        </p:txBody>
      </p:sp>
      <p:sp>
        <p:nvSpPr>
          <p:cNvPr id="56" name="ZoneTexte 55">
            <a:extLst>
              <a:ext uri="{FF2B5EF4-FFF2-40B4-BE49-F238E27FC236}">
                <a16:creationId xmlns:a16="http://schemas.microsoft.com/office/drawing/2014/main" id="{E252175A-FC1E-03A9-42AA-56E68F63AFAA}"/>
              </a:ext>
            </a:extLst>
          </p:cNvPr>
          <p:cNvSpPr txBox="1"/>
          <p:nvPr/>
        </p:nvSpPr>
        <p:spPr>
          <a:xfrm>
            <a:off x="1852229" y="2940452"/>
            <a:ext cx="773502" cy="43848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900" err="1">
                <a:solidFill>
                  <a:schemeClr val="bg1"/>
                </a:solidFill>
              </a:rPr>
              <a:t>Creation</a:t>
            </a:r>
            <a:r>
              <a:rPr lang="fr-FR" sz="900">
                <a:solidFill>
                  <a:schemeClr val="bg1"/>
                </a:solidFill>
              </a:rPr>
              <a:t> of an operating data </a:t>
            </a:r>
            <a:r>
              <a:rPr lang="fr-FR" sz="900" err="1">
                <a:solidFill>
                  <a:schemeClr val="bg1"/>
                </a:solidFill>
              </a:rPr>
              <a:t>lake</a:t>
            </a:r>
            <a:endParaRPr lang="fr-FR" sz="900">
              <a:solidFill>
                <a:schemeClr val="bg1"/>
              </a:solidFill>
            </a:endParaRPr>
          </a:p>
        </p:txBody>
      </p:sp>
      <p:sp>
        <p:nvSpPr>
          <p:cNvPr id="57" name="ZoneTexte 56">
            <a:extLst>
              <a:ext uri="{FF2B5EF4-FFF2-40B4-BE49-F238E27FC236}">
                <a16:creationId xmlns:a16="http://schemas.microsoft.com/office/drawing/2014/main" id="{51915291-2D33-AC1E-67CE-54B32D4AA2A0}"/>
              </a:ext>
            </a:extLst>
          </p:cNvPr>
          <p:cNvSpPr txBox="1"/>
          <p:nvPr/>
        </p:nvSpPr>
        <p:spPr>
          <a:xfrm>
            <a:off x="2312719" y="2136677"/>
            <a:ext cx="1211869" cy="43848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900">
                <a:solidFill>
                  <a:schemeClr val="bg1"/>
                </a:solidFill>
              </a:rPr>
              <a:t>Rapid </a:t>
            </a:r>
            <a:r>
              <a:rPr lang="fr-FR" sz="900" err="1">
                <a:solidFill>
                  <a:schemeClr val="bg1"/>
                </a:solidFill>
              </a:rPr>
              <a:t>iterative</a:t>
            </a:r>
            <a:r>
              <a:rPr lang="fr-FR" sz="900">
                <a:solidFill>
                  <a:schemeClr val="bg1"/>
                </a:solidFill>
              </a:rPr>
              <a:t> &amp; </a:t>
            </a:r>
            <a:r>
              <a:rPr lang="fr-FR" sz="900" err="1">
                <a:solidFill>
                  <a:schemeClr val="bg1"/>
                </a:solidFill>
              </a:rPr>
              <a:t>prototyping</a:t>
            </a:r>
            <a:r>
              <a:rPr lang="fr-FR" sz="900">
                <a:solidFill>
                  <a:schemeClr val="bg1"/>
                </a:solidFill>
              </a:rPr>
              <a:t> </a:t>
            </a:r>
            <a:r>
              <a:rPr lang="fr-FR" sz="900" i="1">
                <a:solidFill>
                  <a:schemeClr val="bg1"/>
                </a:solidFill>
              </a:rPr>
              <a:t>in </a:t>
            </a:r>
            <a:r>
              <a:rPr lang="fr-FR" sz="900" i="1" err="1">
                <a:solidFill>
                  <a:schemeClr val="bg1"/>
                </a:solidFill>
              </a:rPr>
              <a:t>cooperation</a:t>
            </a:r>
            <a:r>
              <a:rPr lang="fr-FR" sz="900" i="1">
                <a:solidFill>
                  <a:schemeClr val="bg1"/>
                </a:solidFill>
              </a:rPr>
              <a:t> </a:t>
            </a:r>
            <a:r>
              <a:rPr lang="fr-FR" sz="900" i="1" err="1">
                <a:solidFill>
                  <a:schemeClr val="bg1"/>
                </a:solidFill>
              </a:rPr>
              <a:t>with</a:t>
            </a:r>
            <a:r>
              <a:rPr lang="fr-FR" sz="900" i="1">
                <a:solidFill>
                  <a:schemeClr val="bg1"/>
                </a:solidFill>
              </a:rPr>
              <a:t> BCG</a:t>
            </a:r>
          </a:p>
        </p:txBody>
      </p:sp>
      <p:sp>
        <p:nvSpPr>
          <p:cNvPr id="58" name="ZoneTexte 57">
            <a:extLst>
              <a:ext uri="{FF2B5EF4-FFF2-40B4-BE49-F238E27FC236}">
                <a16:creationId xmlns:a16="http://schemas.microsoft.com/office/drawing/2014/main" id="{7E68FA54-0216-D79F-2EEF-0A62DE700E89}"/>
              </a:ext>
            </a:extLst>
          </p:cNvPr>
          <p:cNvSpPr txBox="1"/>
          <p:nvPr/>
        </p:nvSpPr>
        <p:spPr>
          <a:xfrm>
            <a:off x="2538460" y="2866070"/>
            <a:ext cx="773502" cy="43848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22400" indent="-122400">
              <a:buAutoNum type="arabicPeriod"/>
            </a:pPr>
            <a:r>
              <a:rPr lang="fr-FR" sz="800">
                <a:solidFill>
                  <a:srgbClr val="000000"/>
                </a:solidFill>
              </a:rPr>
              <a:t>Design</a:t>
            </a:r>
          </a:p>
          <a:p>
            <a:pPr marL="122400" indent="-122400">
              <a:buAutoNum type="arabicPeriod"/>
            </a:pPr>
            <a:r>
              <a:rPr lang="fr-FR" sz="800">
                <a:solidFill>
                  <a:srgbClr val="000000"/>
                </a:solidFill>
              </a:rPr>
              <a:t>Test</a:t>
            </a:r>
          </a:p>
          <a:p>
            <a:pPr marL="122400" indent="-122400">
              <a:buAutoNum type="arabicPeriod"/>
            </a:pPr>
            <a:r>
              <a:rPr lang="fr-FR" sz="800" err="1">
                <a:solidFill>
                  <a:srgbClr val="000000"/>
                </a:solidFill>
              </a:rPr>
              <a:t>Adjust</a:t>
            </a:r>
            <a:endParaRPr lang="fr-FR" sz="800">
              <a:solidFill>
                <a:srgbClr val="000000"/>
              </a:solidFill>
            </a:endParaRPr>
          </a:p>
          <a:p>
            <a:pPr marL="122400" indent="-122400">
              <a:buAutoNum type="arabicPeriod"/>
            </a:pPr>
            <a:r>
              <a:rPr lang="fr-FR" sz="800">
                <a:solidFill>
                  <a:srgbClr val="000000"/>
                </a:solidFill>
              </a:rPr>
              <a:t>Go-Live</a:t>
            </a:r>
          </a:p>
        </p:txBody>
      </p:sp>
      <p:sp>
        <p:nvSpPr>
          <p:cNvPr id="59" name="Losange 58">
            <a:extLst>
              <a:ext uri="{FF2B5EF4-FFF2-40B4-BE49-F238E27FC236}">
                <a16:creationId xmlns:a16="http://schemas.microsoft.com/office/drawing/2014/main" id="{AD50A3AE-BEF0-F1DE-BD00-3238D767D691}"/>
              </a:ext>
            </a:extLst>
          </p:cNvPr>
          <p:cNvSpPr/>
          <p:nvPr/>
        </p:nvSpPr>
        <p:spPr>
          <a:xfrm>
            <a:off x="3295221" y="2665726"/>
            <a:ext cx="172814" cy="159026"/>
          </a:xfrm>
          <a:prstGeom prst="diamond">
            <a:avLst/>
          </a:prstGeom>
          <a:solidFill>
            <a:schemeClr val="bg1"/>
          </a:solidFill>
          <a:ln w="9525" cap="rnd" cmpd="sng" algn="ctr">
            <a:solidFill>
              <a:srgbClr val="2C2C2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200">
              <a:ln>
                <a:solidFill>
                  <a:schemeClr val="bg1"/>
                </a:solidFill>
              </a:ln>
              <a:solidFill>
                <a:schemeClr val="bg1"/>
              </a:solidFill>
            </a:endParaRPr>
          </a:p>
        </p:txBody>
      </p:sp>
      <p:sp>
        <p:nvSpPr>
          <p:cNvPr id="60" name="Flèche : pentagone 59">
            <a:extLst>
              <a:ext uri="{FF2B5EF4-FFF2-40B4-BE49-F238E27FC236}">
                <a16:creationId xmlns:a16="http://schemas.microsoft.com/office/drawing/2014/main" id="{5789850E-7674-EA5D-1DCE-C39F0BD4D8AA}"/>
              </a:ext>
            </a:extLst>
          </p:cNvPr>
          <p:cNvSpPr/>
          <p:nvPr/>
        </p:nvSpPr>
        <p:spPr>
          <a:xfrm>
            <a:off x="3635624" y="2671528"/>
            <a:ext cx="550097" cy="159026"/>
          </a:xfrm>
          <a:prstGeom prst="homePlate">
            <a:avLst/>
          </a:prstGeom>
          <a:solidFill>
            <a:schemeClr val="bg1"/>
          </a:solidFill>
          <a:ln w="9525" cap="rnd" cmpd="sng" algn="ctr">
            <a:solidFill>
              <a:srgbClr val="2C2C2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200">
              <a:solidFill>
                <a:srgbClr val="FFFFFF"/>
              </a:solidFill>
            </a:endParaRPr>
          </a:p>
        </p:txBody>
      </p:sp>
      <p:sp>
        <p:nvSpPr>
          <p:cNvPr id="61" name="Losange 60">
            <a:extLst>
              <a:ext uri="{FF2B5EF4-FFF2-40B4-BE49-F238E27FC236}">
                <a16:creationId xmlns:a16="http://schemas.microsoft.com/office/drawing/2014/main" id="{72522832-44BA-35B2-DD84-A19DBD66E302}"/>
              </a:ext>
            </a:extLst>
          </p:cNvPr>
          <p:cNvSpPr/>
          <p:nvPr/>
        </p:nvSpPr>
        <p:spPr>
          <a:xfrm>
            <a:off x="4208029" y="2673475"/>
            <a:ext cx="172814" cy="159026"/>
          </a:xfrm>
          <a:prstGeom prst="diamond">
            <a:avLst/>
          </a:prstGeom>
          <a:solidFill>
            <a:schemeClr val="bg1"/>
          </a:solidFill>
          <a:ln w="9525" cap="rnd" cmpd="sng" algn="ctr">
            <a:solidFill>
              <a:srgbClr val="2C2C2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200">
              <a:ln>
                <a:solidFill>
                  <a:schemeClr val="bg1"/>
                </a:solidFill>
              </a:ln>
              <a:solidFill>
                <a:schemeClr val="bg1"/>
              </a:solidFill>
            </a:endParaRPr>
          </a:p>
        </p:txBody>
      </p:sp>
      <p:sp>
        <p:nvSpPr>
          <p:cNvPr id="62" name="Flèche : pentagone 61">
            <a:extLst>
              <a:ext uri="{FF2B5EF4-FFF2-40B4-BE49-F238E27FC236}">
                <a16:creationId xmlns:a16="http://schemas.microsoft.com/office/drawing/2014/main" id="{FA4F20D1-CE1C-5090-36B1-44BD5F1BB76C}"/>
              </a:ext>
            </a:extLst>
          </p:cNvPr>
          <p:cNvSpPr/>
          <p:nvPr/>
        </p:nvSpPr>
        <p:spPr>
          <a:xfrm>
            <a:off x="4492968" y="2669698"/>
            <a:ext cx="1270800" cy="159026"/>
          </a:xfrm>
          <a:prstGeom prst="homePlate">
            <a:avLst/>
          </a:prstGeom>
          <a:solidFill>
            <a:schemeClr val="bg1"/>
          </a:solidFill>
          <a:ln w="9525" cap="rnd" cmpd="sng" algn="ctr">
            <a:solidFill>
              <a:srgbClr val="2C2C2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200">
              <a:solidFill>
                <a:srgbClr val="FFFFFF"/>
              </a:solidFill>
            </a:endParaRPr>
          </a:p>
        </p:txBody>
      </p:sp>
      <p:sp>
        <p:nvSpPr>
          <p:cNvPr id="63" name="Flèche : pentagone 62">
            <a:extLst>
              <a:ext uri="{FF2B5EF4-FFF2-40B4-BE49-F238E27FC236}">
                <a16:creationId xmlns:a16="http://schemas.microsoft.com/office/drawing/2014/main" id="{0ED17457-590C-CB67-0FDB-218B629EB415}"/>
              </a:ext>
            </a:extLst>
          </p:cNvPr>
          <p:cNvSpPr/>
          <p:nvPr/>
        </p:nvSpPr>
        <p:spPr>
          <a:xfrm>
            <a:off x="4709449" y="2885404"/>
            <a:ext cx="1270800" cy="159026"/>
          </a:xfrm>
          <a:prstGeom prst="homePlate">
            <a:avLst/>
          </a:prstGeom>
          <a:solidFill>
            <a:schemeClr val="bg1"/>
          </a:solidFill>
          <a:ln w="9525" cap="rnd" cmpd="sng" algn="ctr">
            <a:solidFill>
              <a:srgbClr val="2C2C2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200">
              <a:solidFill>
                <a:srgbClr val="FFFFFF"/>
              </a:solidFill>
            </a:endParaRPr>
          </a:p>
        </p:txBody>
      </p:sp>
      <p:sp>
        <p:nvSpPr>
          <p:cNvPr id="64" name="Losange 63">
            <a:extLst>
              <a:ext uri="{FF2B5EF4-FFF2-40B4-BE49-F238E27FC236}">
                <a16:creationId xmlns:a16="http://schemas.microsoft.com/office/drawing/2014/main" id="{67698BFF-B3D0-F2D2-0747-4E0B0DDCBD50}"/>
              </a:ext>
            </a:extLst>
          </p:cNvPr>
          <p:cNvSpPr/>
          <p:nvPr/>
        </p:nvSpPr>
        <p:spPr>
          <a:xfrm>
            <a:off x="6122262" y="2671528"/>
            <a:ext cx="172814" cy="159026"/>
          </a:xfrm>
          <a:prstGeom prst="diamond">
            <a:avLst/>
          </a:prstGeom>
          <a:solidFill>
            <a:schemeClr val="bg1"/>
          </a:solidFill>
          <a:ln w="9525" cap="rnd" cmpd="sng" algn="ctr">
            <a:solidFill>
              <a:srgbClr val="2C2C2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200">
              <a:ln>
                <a:solidFill>
                  <a:schemeClr val="bg1"/>
                </a:solidFill>
              </a:ln>
              <a:solidFill>
                <a:schemeClr val="bg1"/>
              </a:solidFill>
            </a:endParaRPr>
          </a:p>
        </p:txBody>
      </p:sp>
      <p:sp>
        <p:nvSpPr>
          <p:cNvPr id="65" name="Flèche : pentagone 64">
            <a:extLst>
              <a:ext uri="{FF2B5EF4-FFF2-40B4-BE49-F238E27FC236}">
                <a16:creationId xmlns:a16="http://schemas.microsoft.com/office/drawing/2014/main" id="{428644FE-657E-4417-A515-4D4A4BE5898A}"/>
              </a:ext>
            </a:extLst>
          </p:cNvPr>
          <p:cNvSpPr/>
          <p:nvPr/>
        </p:nvSpPr>
        <p:spPr>
          <a:xfrm>
            <a:off x="6441255" y="2673475"/>
            <a:ext cx="1990800" cy="159026"/>
          </a:xfrm>
          <a:prstGeom prst="homePlate">
            <a:avLst/>
          </a:prstGeom>
          <a:solidFill>
            <a:schemeClr val="bg1"/>
          </a:solidFill>
          <a:ln w="9525" cap="rnd" cmpd="sng" algn="ctr">
            <a:solidFill>
              <a:srgbClr val="2C2C2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200">
              <a:solidFill>
                <a:srgbClr val="FFFFFF"/>
              </a:solidFill>
            </a:endParaRPr>
          </a:p>
        </p:txBody>
      </p:sp>
      <p:sp>
        <p:nvSpPr>
          <p:cNvPr id="67" name="ZoneTexte 66">
            <a:extLst>
              <a:ext uri="{FF2B5EF4-FFF2-40B4-BE49-F238E27FC236}">
                <a16:creationId xmlns:a16="http://schemas.microsoft.com/office/drawing/2014/main" id="{F0A9D3D0-EA18-5B4B-0096-CB4471302A9C}"/>
              </a:ext>
            </a:extLst>
          </p:cNvPr>
          <p:cNvSpPr txBox="1"/>
          <p:nvPr/>
        </p:nvSpPr>
        <p:spPr>
          <a:xfrm>
            <a:off x="6585965" y="2270722"/>
            <a:ext cx="1733787" cy="43848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900">
                <a:solidFill>
                  <a:schemeClr val="bg1"/>
                </a:solidFill>
              </a:rPr>
              <a:t>RUN : </a:t>
            </a:r>
            <a:r>
              <a:rPr lang="fr-FR" sz="900" err="1">
                <a:solidFill>
                  <a:schemeClr val="bg1"/>
                </a:solidFill>
              </a:rPr>
              <a:t>build</a:t>
            </a:r>
            <a:r>
              <a:rPr lang="fr-FR" sz="900">
                <a:solidFill>
                  <a:schemeClr val="bg1"/>
                </a:solidFill>
              </a:rPr>
              <a:t> </a:t>
            </a:r>
            <a:r>
              <a:rPr lang="fr-FR" sz="900" err="1">
                <a:solidFill>
                  <a:schemeClr val="bg1"/>
                </a:solidFill>
              </a:rPr>
              <a:t>internal</a:t>
            </a:r>
            <a:r>
              <a:rPr lang="fr-FR" sz="900">
                <a:solidFill>
                  <a:schemeClr val="bg1"/>
                </a:solidFill>
              </a:rPr>
              <a:t> </a:t>
            </a:r>
            <a:r>
              <a:rPr lang="fr-FR" sz="900" err="1">
                <a:solidFill>
                  <a:schemeClr val="bg1"/>
                </a:solidFill>
              </a:rPr>
              <a:t>capabilities</a:t>
            </a:r>
            <a:r>
              <a:rPr lang="fr-FR" sz="900">
                <a:solidFill>
                  <a:schemeClr val="bg1"/>
                </a:solidFill>
              </a:rPr>
              <a:t> to run </a:t>
            </a:r>
            <a:r>
              <a:rPr lang="fr-FR" sz="900" err="1">
                <a:solidFill>
                  <a:schemeClr val="bg1"/>
                </a:solidFill>
              </a:rPr>
              <a:t>project</a:t>
            </a:r>
            <a:r>
              <a:rPr lang="fr-FR" sz="900">
                <a:solidFill>
                  <a:schemeClr val="bg1"/>
                </a:solidFill>
              </a:rPr>
              <a:t> at </a:t>
            </a:r>
            <a:r>
              <a:rPr lang="fr-FR" sz="900" err="1">
                <a:solidFill>
                  <a:schemeClr val="bg1"/>
                </a:solidFill>
              </a:rPr>
              <a:t>scale</a:t>
            </a:r>
            <a:r>
              <a:rPr lang="fr-FR" sz="900">
                <a:solidFill>
                  <a:schemeClr val="bg1"/>
                </a:solidFill>
              </a:rPr>
              <a:t> </a:t>
            </a:r>
            <a:endParaRPr lang="fr-FR" sz="900" i="1">
              <a:solidFill>
                <a:schemeClr val="bg1"/>
              </a:solidFill>
            </a:endParaRPr>
          </a:p>
        </p:txBody>
      </p:sp>
      <p:sp>
        <p:nvSpPr>
          <p:cNvPr id="68" name="ZoneTexte 67">
            <a:extLst>
              <a:ext uri="{FF2B5EF4-FFF2-40B4-BE49-F238E27FC236}">
                <a16:creationId xmlns:a16="http://schemas.microsoft.com/office/drawing/2014/main" id="{2039ED7B-E0B3-B248-AC4C-3FEDF44E658A}"/>
              </a:ext>
            </a:extLst>
          </p:cNvPr>
          <p:cNvSpPr txBox="1"/>
          <p:nvPr/>
        </p:nvSpPr>
        <p:spPr>
          <a:xfrm>
            <a:off x="5895305" y="2219468"/>
            <a:ext cx="654152" cy="43848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900" err="1">
                <a:solidFill>
                  <a:schemeClr val="bg1"/>
                </a:solidFill>
              </a:rPr>
              <a:t>Assess</a:t>
            </a:r>
            <a:r>
              <a:rPr lang="fr-FR" sz="900">
                <a:solidFill>
                  <a:schemeClr val="bg1"/>
                </a:solidFill>
              </a:rPr>
              <a:t> value </a:t>
            </a:r>
            <a:r>
              <a:rPr lang="fr-FR" sz="900" err="1">
                <a:solidFill>
                  <a:schemeClr val="bg1"/>
                </a:solidFill>
              </a:rPr>
              <a:t>creation</a:t>
            </a:r>
            <a:endParaRPr lang="fr-FR" sz="900" i="1">
              <a:solidFill>
                <a:schemeClr val="bg1"/>
              </a:solidFill>
            </a:endParaRPr>
          </a:p>
        </p:txBody>
      </p:sp>
      <p:sp>
        <p:nvSpPr>
          <p:cNvPr id="69" name="ZoneTexte 68">
            <a:extLst>
              <a:ext uri="{FF2B5EF4-FFF2-40B4-BE49-F238E27FC236}">
                <a16:creationId xmlns:a16="http://schemas.microsoft.com/office/drawing/2014/main" id="{F6FF1E2B-1BC9-A582-2CAF-A9D9853DB080}"/>
              </a:ext>
            </a:extLst>
          </p:cNvPr>
          <p:cNvSpPr txBox="1"/>
          <p:nvPr/>
        </p:nvSpPr>
        <p:spPr>
          <a:xfrm>
            <a:off x="4472728" y="2302326"/>
            <a:ext cx="1299554" cy="43848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900">
                <a:solidFill>
                  <a:schemeClr val="bg1"/>
                </a:solidFill>
              </a:rPr>
              <a:t>Spread and train</a:t>
            </a:r>
            <a:endParaRPr lang="fr-FR" sz="900" i="1">
              <a:solidFill>
                <a:schemeClr val="bg1"/>
              </a:solidFill>
            </a:endParaRPr>
          </a:p>
        </p:txBody>
      </p:sp>
      <p:sp>
        <p:nvSpPr>
          <p:cNvPr id="70" name="ZoneTexte 69">
            <a:extLst>
              <a:ext uri="{FF2B5EF4-FFF2-40B4-BE49-F238E27FC236}">
                <a16:creationId xmlns:a16="http://schemas.microsoft.com/office/drawing/2014/main" id="{21C5A4F8-E38A-9829-A799-90F0DB99E52E}"/>
              </a:ext>
            </a:extLst>
          </p:cNvPr>
          <p:cNvSpPr txBox="1"/>
          <p:nvPr/>
        </p:nvSpPr>
        <p:spPr>
          <a:xfrm>
            <a:off x="4657718" y="2979171"/>
            <a:ext cx="1211869" cy="43848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900">
                <a:solidFill>
                  <a:schemeClr val="bg1"/>
                </a:solidFill>
              </a:rPr>
              <a:t>Tool </a:t>
            </a:r>
            <a:r>
              <a:rPr lang="fr-FR" sz="900" err="1">
                <a:solidFill>
                  <a:schemeClr val="bg1"/>
                </a:solidFill>
              </a:rPr>
              <a:t>continuous</a:t>
            </a:r>
            <a:r>
              <a:rPr lang="fr-FR" sz="900">
                <a:solidFill>
                  <a:schemeClr val="bg1"/>
                </a:solidFill>
              </a:rPr>
              <a:t> </a:t>
            </a:r>
            <a:r>
              <a:rPr lang="fr-FR" sz="900" err="1">
                <a:solidFill>
                  <a:schemeClr val="bg1"/>
                </a:solidFill>
              </a:rPr>
              <a:t>improvement</a:t>
            </a:r>
            <a:endParaRPr lang="fr-FR" sz="900" i="1">
              <a:solidFill>
                <a:schemeClr val="bg1"/>
              </a:solidFill>
            </a:endParaRPr>
          </a:p>
        </p:txBody>
      </p:sp>
      <p:sp>
        <p:nvSpPr>
          <p:cNvPr id="71" name="ZoneTexte 70">
            <a:extLst>
              <a:ext uri="{FF2B5EF4-FFF2-40B4-BE49-F238E27FC236}">
                <a16:creationId xmlns:a16="http://schemas.microsoft.com/office/drawing/2014/main" id="{1BAA6B72-5F19-2700-1669-C1472D3D6107}"/>
              </a:ext>
            </a:extLst>
          </p:cNvPr>
          <p:cNvSpPr txBox="1"/>
          <p:nvPr/>
        </p:nvSpPr>
        <p:spPr>
          <a:xfrm>
            <a:off x="3365644" y="2133047"/>
            <a:ext cx="1103252" cy="43848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900">
                <a:solidFill>
                  <a:schemeClr val="bg1"/>
                </a:solidFill>
              </a:rPr>
              <a:t>Process &amp; data : uniformisation </a:t>
            </a:r>
            <a:r>
              <a:rPr lang="fr-FR" sz="900" err="1">
                <a:solidFill>
                  <a:schemeClr val="bg1"/>
                </a:solidFill>
              </a:rPr>
              <a:t>across</a:t>
            </a:r>
            <a:r>
              <a:rPr lang="fr-FR" sz="900">
                <a:solidFill>
                  <a:schemeClr val="bg1"/>
                </a:solidFill>
              </a:rPr>
              <a:t> all teams </a:t>
            </a:r>
          </a:p>
        </p:txBody>
      </p:sp>
      <p:sp>
        <p:nvSpPr>
          <p:cNvPr id="72" name="ZoneTexte 71">
            <a:extLst>
              <a:ext uri="{FF2B5EF4-FFF2-40B4-BE49-F238E27FC236}">
                <a16:creationId xmlns:a16="http://schemas.microsoft.com/office/drawing/2014/main" id="{FFEA6292-D626-B77E-9DA8-7C1DB74C2DC0}"/>
              </a:ext>
            </a:extLst>
          </p:cNvPr>
          <p:cNvSpPr txBox="1"/>
          <p:nvPr/>
        </p:nvSpPr>
        <p:spPr>
          <a:xfrm>
            <a:off x="2925211" y="2889336"/>
            <a:ext cx="1050753" cy="43848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900" err="1">
                <a:solidFill>
                  <a:schemeClr val="bg1"/>
                </a:solidFill>
              </a:rPr>
              <a:t>Assess</a:t>
            </a:r>
            <a:r>
              <a:rPr lang="fr-FR" sz="900">
                <a:solidFill>
                  <a:schemeClr val="bg1"/>
                </a:solidFill>
              </a:rPr>
              <a:t> value </a:t>
            </a:r>
            <a:r>
              <a:rPr lang="fr-FR" sz="900" err="1">
                <a:solidFill>
                  <a:schemeClr val="bg1"/>
                </a:solidFill>
              </a:rPr>
              <a:t>creation</a:t>
            </a:r>
            <a:r>
              <a:rPr lang="fr-FR" sz="900">
                <a:solidFill>
                  <a:schemeClr val="bg1"/>
                </a:solidFill>
              </a:rPr>
              <a:t> &amp; </a:t>
            </a:r>
            <a:r>
              <a:rPr lang="fr-FR" sz="900" err="1">
                <a:solidFill>
                  <a:schemeClr val="bg1"/>
                </a:solidFill>
              </a:rPr>
              <a:t>share</a:t>
            </a:r>
            <a:r>
              <a:rPr lang="fr-FR" sz="900">
                <a:solidFill>
                  <a:schemeClr val="bg1"/>
                </a:solidFill>
              </a:rPr>
              <a:t> best practice</a:t>
            </a:r>
            <a:endParaRPr lang="fr-FR" sz="900" i="1">
              <a:solidFill>
                <a:schemeClr val="bg1"/>
              </a:solidFill>
            </a:endParaRPr>
          </a:p>
        </p:txBody>
      </p:sp>
      <p:sp>
        <p:nvSpPr>
          <p:cNvPr id="73" name="ZoneTexte 72">
            <a:extLst>
              <a:ext uri="{FF2B5EF4-FFF2-40B4-BE49-F238E27FC236}">
                <a16:creationId xmlns:a16="http://schemas.microsoft.com/office/drawing/2014/main" id="{B9412279-CF03-5AE5-FA5A-4F70420B6C21}"/>
              </a:ext>
            </a:extLst>
          </p:cNvPr>
          <p:cNvSpPr txBox="1"/>
          <p:nvPr/>
        </p:nvSpPr>
        <p:spPr>
          <a:xfrm>
            <a:off x="3866669" y="2908983"/>
            <a:ext cx="903047" cy="43848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900">
                <a:solidFill>
                  <a:schemeClr val="bg1"/>
                </a:solidFill>
              </a:rPr>
              <a:t>Industrialisation of data infrastructure</a:t>
            </a:r>
            <a:endParaRPr lang="fr-FR" sz="900" i="1">
              <a:solidFill>
                <a:schemeClr val="bg1"/>
              </a:solidFill>
            </a:endParaRPr>
          </a:p>
        </p:txBody>
      </p:sp>
      <p:sp>
        <p:nvSpPr>
          <p:cNvPr id="74" name="Losange 73">
            <a:extLst>
              <a:ext uri="{FF2B5EF4-FFF2-40B4-BE49-F238E27FC236}">
                <a16:creationId xmlns:a16="http://schemas.microsoft.com/office/drawing/2014/main" id="{B6E8BF3D-A9BD-EE8E-511A-552829E5EA8C}"/>
              </a:ext>
            </a:extLst>
          </p:cNvPr>
          <p:cNvSpPr/>
          <p:nvPr/>
        </p:nvSpPr>
        <p:spPr>
          <a:xfrm>
            <a:off x="4230232" y="5309756"/>
            <a:ext cx="172814" cy="159026"/>
          </a:xfrm>
          <a:prstGeom prst="diamond">
            <a:avLst/>
          </a:prstGeom>
          <a:solidFill>
            <a:schemeClr val="bg1"/>
          </a:solidFill>
          <a:ln w="9525" cap="rnd" cmpd="sng" algn="ctr">
            <a:solidFill>
              <a:srgbClr val="2C2C2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200">
              <a:ln>
                <a:solidFill>
                  <a:schemeClr val="bg1"/>
                </a:solidFill>
              </a:ln>
              <a:solidFill>
                <a:schemeClr val="bg1"/>
              </a:solidFill>
            </a:endParaRPr>
          </a:p>
        </p:txBody>
      </p:sp>
      <p:sp>
        <p:nvSpPr>
          <p:cNvPr id="75" name="Flèche : pentagone 52">
            <a:extLst>
              <a:ext uri="{FF2B5EF4-FFF2-40B4-BE49-F238E27FC236}">
                <a16:creationId xmlns:a16="http://schemas.microsoft.com/office/drawing/2014/main" id="{A0827A10-49E2-6A7D-0058-71FBD625487D}"/>
              </a:ext>
            </a:extLst>
          </p:cNvPr>
          <p:cNvSpPr/>
          <p:nvPr/>
        </p:nvSpPr>
        <p:spPr>
          <a:xfrm>
            <a:off x="4433618" y="5309756"/>
            <a:ext cx="407587" cy="159026"/>
          </a:xfrm>
          <a:prstGeom prst="homePlate">
            <a:avLst/>
          </a:prstGeom>
          <a:solidFill>
            <a:schemeClr val="bg1"/>
          </a:solidFill>
          <a:ln w="9525" cap="rnd" cmpd="sng" algn="ctr">
            <a:solidFill>
              <a:srgbClr val="2C2C2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200">
              <a:solidFill>
                <a:srgbClr val="FFFFFF"/>
              </a:solidFill>
            </a:endParaRPr>
          </a:p>
        </p:txBody>
      </p:sp>
      <p:graphicFrame>
        <p:nvGraphicFramePr>
          <p:cNvPr id="76" name="Diagramme 75">
            <a:extLst>
              <a:ext uri="{FF2B5EF4-FFF2-40B4-BE49-F238E27FC236}">
                <a16:creationId xmlns:a16="http://schemas.microsoft.com/office/drawing/2014/main" id="{3F59F270-6E63-73F5-E770-D156CC608069}"/>
              </a:ext>
            </a:extLst>
          </p:cNvPr>
          <p:cNvGraphicFramePr/>
          <p:nvPr/>
        </p:nvGraphicFramePr>
        <p:xfrm>
          <a:off x="4885738" y="5196993"/>
          <a:ext cx="757929" cy="384552"/>
        </p:xfrm>
        <a:graphic>
          <a:graphicData uri="http://schemas.openxmlformats.org/drawingml/2006/diagram">
            <dgm:relIds xmlns:dgm="http://schemas.openxmlformats.org/drawingml/2006/diagram" xmlns:r="http://schemas.openxmlformats.org/officeDocument/2006/relationships" r:dm="rId29" r:lo="rId30" r:qs="rId31" r:cs="rId32"/>
          </a:graphicData>
        </a:graphic>
      </p:graphicFrame>
      <p:sp>
        <p:nvSpPr>
          <p:cNvPr id="77" name="Losange 76">
            <a:extLst>
              <a:ext uri="{FF2B5EF4-FFF2-40B4-BE49-F238E27FC236}">
                <a16:creationId xmlns:a16="http://schemas.microsoft.com/office/drawing/2014/main" id="{72319420-E481-DA78-4A1D-62DA645703C7}"/>
              </a:ext>
            </a:extLst>
          </p:cNvPr>
          <p:cNvSpPr/>
          <p:nvPr/>
        </p:nvSpPr>
        <p:spPr>
          <a:xfrm>
            <a:off x="1932391" y="4053447"/>
            <a:ext cx="172814" cy="159026"/>
          </a:xfrm>
          <a:prstGeom prst="diamond">
            <a:avLst/>
          </a:prstGeom>
          <a:solidFill>
            <a:schemeClr val="bg1"/>
          </a:solidFill>
          <a:ln w="9525" cap="rnd" cmpd="sng" algn="ctr">
            <a:solidFill>
              <a:srgbClr val="2C2C2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200">
              <a:ln>
                <a:solidFill>
                  <a:schemeClr val="bg1"/>
                </a:solidFill>
              </a:ln>
              <a:solidFill>
                <a:schemeClr val="bg1"/>
              </a:solidFill>
            </a:endParaRPr>
          </a:p>
        </p:txBody>
      </p:sp>
      <p:sp>
        <p:nvSpPr>
          <p:cNvPr id="78" name="ZoneTexte 77">
            <a:extLst>
              <a:ext uri="{FF2B5EF4-FFF2-40B4-BE49-F238E27FC236}">
                <a16:creationId xmlns:a16="http://schemas.microsoft.com/office/drawing/2014/main" id="{6C749AD2-9173-07CD-867B-9A070F5C3073}"/>
              </a:ext>
            </a:extLst>
          </p:cNvPr>
          <p:cNvSpPr txBox="1"/>
          <p:nvPr/>
        </p:nvSpPr>
        <p:spPr>
          <a:xfrm>
            <a:off x="1604445" y="3538322"/>
            <a:ext cx="828535" cy="43848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900" err="1">
                <a:solidFill>
                  <a:schemeClr val="bg1"/>
                </a:solidFill>
              </a:rPr>
              <a:t>Owner</a:t>
            </a:r>
            <a:r>
              <a:rPr lang="fr-FR" sz="900">
                <a:solidFill>
                  <a:schemeClr val="bg1"/>
                </a:solidFill>
              </a:rPr>
              <a:t> : Mr Dubois</a:t>
            </a:r>
          </a:p>
        </p:txBody>
      </p:sp>
      <p:sp>
        <p:nvSpPr>
          <p:cNvPr id="79" name="Flèche : pentagone 78">
            <a:extLst>
              <a:ext uri="{FF2B5EF4-FFF2-40B4-BE49-F238E27FC236}">
                <a16:creationId xmlns:a16="http://schemas.microsoft.com/office/drawing/2014/main" id="{133C76EC-DA2A-BAEF-041A-D3028D423EA8}"/>
              </a:ext>
            </a:extLst>
          </p:cNvPr>
          <p:cNvSpPr/>
          <p:nvPr/>
        </p:nvSpPr>
        <p:spPr>
          <a:xfrm>
            <a:off x="2273746" y="4053447"/>
            <a:ext cx="550097" cy="159026"/>
          </a:xfrm>
          <a:prstGeom prst="homePlate">
            <a:avLst/>
          </a:prstGeom>
          <a:solidFill>
            <a:schemeClr val="bg1"/>
          </a:solidFill>
          <a:ln w="9525" cap="rnd" cmpd="sng" algn="ctr">
            <a:solidFill>
              <a:srgbClr val="2C2C2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200">
              <a:solidFill>
                <a:srgbClr val="FFFFFF"/>
              </a:solidFill>
            </a:endParaRPr>
          </a:p>
        </p:txBody>
      </p:sp>
      <p:sp>
        <p:nvSpPr>
          <p:cNvPr id="80" name="Flèche : pentagone 79">
            <a:extLst>
              <a:ext uri="{FF2B5EF4-FFF2-40B4-BE49-F238E27FC236}">
                <a16:creationId xmlns:a16="http://schemas.microsoft.com/office/drawing/2014/main" id="{319F9633-2462-FF7E-CEB5-C3CA6E67EBED}"/>
              </a:ext>
            </a:extLst>
          </p:cNvPr>
          <p:cNvSpPr/>
          <p:nvPr/>
        </p:nvSpPr>
        <p:spPr>
          <a:xfrm>
            <a:off x="3023589" y="4044788"/>
            <a:ext cx="658800" cy="159026"/>
          </a:xfrm>
          <a:prstGeom prst="homePlate">
            <a:avLst/>
          </a:prstGeom>
          <a:solidFill>
            <a:schemeClr val="bg1"/>
          </a:solidFill>
          <a:ln w="9525" cap="rnd" cmpd="sng" algn="ctr">
            <a:solidFill>
              <a:srgbClr val="2C2C2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200">
              <a:solidFill>
                <a:srgbClr val="FFFFFF"/>
              </a:solidFill>
            </a:endParaRPr>
          </a:p>
        </p:txBody>
      </p:sp>
      <p:sp>
        <p:nvSpPr>
          <p:cNvPr id="81" name="ZoneTexte 80">
            <a:extLst>
              <a:ext uri="{FF2B5EF4-FFF2-40B4-BE49-F238E27FC236}">
                <a16:creationId xmlns:a16="http://schemas.microsoft.com/office/drawing/2014/main" id="{A23F4FD2-7BF1-6E1A-C3E0-F13268E1664E}"/>
              </a:ext>
            </a:extLst>
          </p:cNvPr>
          <p:cNvSpPr txBox="1"/>
          <p:nvPr/>
        </p:nvSpPr>
        <p:spPr>
          <a:xfrm>
            <a:off x="2146793" y="4241812"/>
            <a:ext cx="773502" cy="43848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900" err="1">
                <a:solidFill>
                  <a:schemeClr val="bg1"/>
                </a:solidFill>
              </a:rPr>
              <a:t>Creation</a:t>
            </a:r>
            <a:r>
              <a:rPr lang="fr-FR" sz="900">
                <a:solidFill>
                  <a:schemeClr val="bg1"/>
                </a:solidFill>
              </a:rPr>
              <a:t> of transaction data </a:t>
            </a:r>
            <a:r>
              <a:rPr lang="fr-FR" sz="900" err="1">
                <a:solidFill>
                  <a:schemeClr val="bg1"/>
                </a:solidFill>
              </a:rPr>
              <a:t>lake</a:t>
            </a:r>
            <a:endParaRPr lang="fr-FR" sz="900">
              <a:solidFill>
                <a:schemeClr val="bg1"/>
              </a:solidFill>
            </a:endParaRPr>
          </a:p>
        </p:txBody>
      </p:sp>
      <p:sp>
        <p:nvSpPr>
          <p:cNvPr id="82" name="ZoneTexte 81">
            <a:extLst>
              <a:ext uri="{FF2B5EF4-FFF2-40B4-BE49-F238E27FC236}">
                <a16:creationId xmlns:a16="http://schemas.microsoft.com/office/drawing/2014/main" id="{2806569E-7610-15B3-0A7F-0C8541A91C39}"/>
              </a:ext>
            </a:extLst>
          </p:cNvPr>
          <p:cNvSpPr txBox="1"/>
          <p:nvPr/>
        </p:nvSpPr>
        <p:spPr>
          <a:xfrm>
            <a:off x="2668821" y="3511711"/>
            <a:ext cx="1211869" cy="43848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900">
                <a:solidFill>
                  <a:schemeClr val="bg1"/>
                </a:solidFill>
              </a:rPr>
              <a:t>Rapid </a:t>
            </a:r>
            <a:r>
              <a:rPr lang="fr-FR" sz="900" err="1">
                <a:solidFill>
                  <a:schemeClr val="bg1"/>
                </a:solidFill>
              </a:rPr>
              <a:t>iterative</a:t>
            </a:r>
            <a:r>
              <a:rPr lang="fr-FR" sz="900">
                <a:solidFill>
                  <a:schemeClr val="bg1"/>
                </a:solidFill>
              </a:rPr>
              <a:t> &amp; </a:t>
            </a:r>
            <a:r>
              <a:rPr lang="fr-FR" sz="900" err="1">
                <a:solidFill>
                  <a:schemeClr val="bg1"/>
                </a:solidFill>
              </a:rPr>
              <a:t>prototyping</a:t>
            </a:r>
            <a:r>
              <a:rPr lang="fr-FR" sz="900">
                <a:solidFill>
                  <a:schemeClr val="bg1"/>
                </a:solidFill>
              </a:rPr>
              <a:t> </a:t>
            </a:r>
            <a:r>
              <a:rPr lang="fr-FR" sz="900" i="1">
                <a:solidFill>
                  <a:schemeClr val="bg1"/>
                </a:solidFill>
              </a:rPr>
              <a:t>in </a:t>
            </a:r>
            <a:r>
              <a:rPr lang="fr-FR" sz="900" i="1" err="1">
                <a:solidFill>
                  <a:schemeClr val="bg1"/>
                </a:solidFill>
              </a:rPr>
              <a:t>cooperation</a:t>
            </a:r>
            <a:r>
              <a:rPr lang="fr-FR" sz="900" i="1">
                <a:solidFill>
                  <a:schemeClr val="bg1"/>
                </a:solidFill>
              </a:rPr>
              <a:t> </a:t>
            </a:r>
            <a:r>
              <a:rPr lang="fr-FR" sz="900" i="1" err="1">
                <a:solidFill>
                  <a:schemeClr val="bg1"/>
                </a:solidFill>
              </a:rPr>
              <a:t>with</a:t>
            </a:r>
            <a:r>
              <a:rPr lang="fr-FR" sz="900" i="1">
                <a:solidFill>
                  <a:schemeClr val="bg1"/>
                </a:solidFill>
              </a:rPr>
              <a:t> BCG</a:t>
            </a:r>
          </a:p>
        </p:txBody>
      </p:sp>
      <p:sp>
        <p:nvSpPr>
          <p:cNvPr id="83" name="ZoneTexte 82">
            <a:extLst>
              <a:ext uri="{FF2B5EF4-FFF2-40B4-BE49-F238E27FC236}">
                <a16:creationId xmlns:a16="http://schemas.microsoft.com/office/drawing/2014/main" id="{4C4A1C3E-287A-C696-2333-CF293BAF2E33}"/>
              </a:ext>
            </a:extLst>
          </p:cNvPr>
          <p:cNvSpPr txBox="1"/>
          <p:nvPr/>
        </p:nvSpPr>
        <p:spPr>
          <a:xfrm>
            <a:off x="2971609" y="4230145"/>
            <a:ext cx="773502" cy="43848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22400" indent="-122400">
              <a:buAutoNum type="arabicPeriod"/>
            </a:pPr>
            <a:r>
              <a:rPr lang="fr-FR" sz="800">
                <a:solidFill>
                  <a:srgbClr val="000000"/>
                </a:solidFill>
              </a:rPr>
              <a:t>Design</a:t>
            </a:r>
          </a:p>
          <a:p>
            <a:pPr marL="122400" indent="-122400">
              <a:buAutoNum type="arabicPeriod"/>
            </a:pPr>
            <a:r>
              <a:rPr lang="fr-FR" sz="800">
                <a:solidFill>
                  <a:srgbClr val="000000"/>
                </a:solidFill>
              </a:rPr>
              <a:t>Test</a:t>
            </a:r>
          </a:p>
          <a:p>
            <a:pPr marL="122400" indent="-122400">
              <a:buAutoNum type="arabicPeriod"/>
            </a:pPr>
            <a:r>
              <a:rPr lang="fr-FR" sz="800" err="1">
                <a:solidFill>
                  <a:srgbClr val="000000"/>
                </a:solidFill>
              </a:rPr>
              <a:t>Adjust</a:t>
            </a:r>
            <a:endParaRPr lang="fr-FR" sz="800">
              <a:solidFill>
                <a:srgbClr val="000000"/>
              </a:solidFill>
            </a:endParaRPr>
          </a:p>
          <a:p>
            <a:pPr marL="122400" indent="-122400">
              <a:buAutoNum type="arabicPeriod"/>
            </a:pPr>
            <a:r>
              <a:rPr lang="fr-FR" sz="800">
                <a:solidFill>
                  <a:srgbClr val="000000"/>
                </a:solidFill>
              </a:rPr>
              <a:t>Go-Live</a:t>
            </a:r>
          </a:p>
        </p:txBody>
      </p:sp>
      <p:sp>
        <p:nvSpPr>
          <p:cNvPr id="84" name="Losange 83">
            <a:extLst>
              <a:ext uri="{FF2B5EF4-FFF2-40B4-BE49-F238E27FC236}">
                <a16:creationId xmlns:a16="http://schemas.microsoft.com/office/drawing/2014/main" id="{B8DFD13B-F1F4-F35D-6A51-27F242FEF6B5}"/>
              </a:ext>
            </a:extLst>
          </p:cNvPr>
          <p:cNvSpPr/>
          <p:nvPr/>
        </p:nvSpPr>
        <p:spPr>
          <a:xfrm>
            <a:off x="3951660" y="4029801"/>
            <a:ext cx="172814" cy="159026"/>
          </a:xfrm>
          <a:prstGeom prst="diamond">
            <a:avLst/>
          </a:prstGeom>
          <a:solidFill>
            <a:schemeClr val="bg1"/>
          </a:solidFill>
          <a:ln w="9525" cap="rnd" cmpd="sng" algn="ctr">
            <a:solidFill>
              <a:srgbClr val="2C2C2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200">
              <a:ln>
                <a:solidFill>
                  <a:schemeClr val="bg1"/>
                </a:solidFill>
              </a:ln>
              <a:solidFill>
                <a:schemeClr val="bg1"/>
              </a:solidFill>
            </a:endParaRPr>
          </a:p>
        </p:txBody>
      </p:sp>
      <p:sp>
        <p:nvSpPr>
          <p:cNvPr id="87" name="ZoneTexte 86">
            <a:extLst>
              <a:ext uri="{FF2B5EF4-FFF2-40B4-BE49-F238E27FC236}">
                <a16:creationId xmlns:a16="http://schemas.microsoft.com/office/drawing/2014/main" id="{D36EE1E4-BFE6-C601-D2D2-31C2FBEC29FD}"/>
              </a:ext>
            </a:extLst>
          </p:cNvPr>
          <p:cNvSpPr txBox="1"/>
          <p:nvPr/>
        </p:nvSpPr>
        <p:spPr>
          <a:xfrm>
            <a:off x="3538003" y="5451378"/>
            <a:ext cx="814272" cy="28195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800">
                <a:solidFill>
                  <a:schemeClr val="bg1"/>
                </a:solidFill>
              </a:rPr>
              <a:t>Pilot Warehouse </a:t>
            </a:r>
            <a:r>
              <a:rPr lang="fr-FR" sz="800" err="1">
                <a:solidFill>
                  <a:schemeClr val="bg1"/>
                </a:solidFill>
              </a:rPr>
              <a:t>Selection</a:t>
            </a:r>
            <a:endParaRPr lang="fr-FR" sz="800">
              <a:solidFill>
                <a:schemeClr val="bg1"/>
              </a:solidFill>
            </a:endParaRPr>
          </a:p>
        </p:txBody>
      </p:sp>
      <p:sp>
        <p:nvSpPr>
          <p:cNvPr id="88" name="ZoneTexte 87">
            <a:extLst>
              <a:ext uri="{FF2B5EF4-FFF2-40B4-BE49-F238E27FC236}">
                <a16:creationId xmlns:a16="http://schemas.microsoft.com/office/drawing/2014/main" id="{AA612397-D4BF-E35B-0737-C483DF960DED}"/>
              </a:ext>
            </a:extLst>
          </p:cNvPr>
          <p:cNvSpPr txBox="1"/>
          <p:nvPr/>
        </p:nvSpPr>
        <p:spPr>
          <a:xfrm>
            <a:off x="4207772" y="4982359"/>
            <a:ext cx="814272" cy="28195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800" err="1">
                <a:solidFill>
                  <a:schemeClr val="bg1"/>
                </a:solidFill>
              </a:rPr>
              <a:t>Perimiter</a:t>
            </a:r>
            <a:r>
              <a:rPr lang="fr-FR" sz="800">
                <a:solidFill>
                  <a:schemeClr val="bg1"/>
                </a:solidFill>
              </a:rPr>
              <a:t> </a:t>
            </a:r>
            <a:r>
              <a:rPr lang="fr-FR" sz="800" err="1">
                <a:solidFill>
                  <a:schemeClr val="bg1"/>
                </a:solidFill>
              </a:rPr>
              <a:t>definition</a:t>
            </a:r>
            <a:endParaRPr lang="fr-FR" sz="800">
              <a:solidFill>
                <a:schemeClr val="bg1"/>
              </a:solidFill>
            </a:endParaRPr>
          </a:p>
        </p:txBody>
      </p:sp>
      <p:sp>
        <p:nvSpPr>
          <p:cNvPr id="89" name="ZoneTexte 88">
            <a:extLst>
              <a:ext uri="{FF2B5EF4-FFF2-40B4-BE49-F238E27FC236}">
                <a16:creationId xmlns:a16="http://schemas.microsoft.com/office/drawing/2014/main" id="{0066D537-78C4-B9D6-0AFC-10362BEEA838}"/>
              </a:ext>
            </a:extLst>
          </p:cNvPr>
          <p:cNvSpPr txBox="1"/>
          <p:nvPr/>
        </p:nvSpPr>
        <p:spPr>
          <a:xfrm>
            <a:off x="4686066" y="5478652"/>
            <a:ext cx="1174671" cy="18985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800">
                <a:solidFill>
                  <a:schemeClr val="bg1"/>
                </a:solidFill>
              </a:rPr>
              <a:t>Input, Storage, </a:t>
            </a:r>
            <a:r>
              <a:rPr lang="fr-FR" sz="800" err="1">
                <a:solidFill>
                  <a:schemeClr val="bg1"/>
                </a:solidFill>
              </a:rPr>
              <a:t>Analysis</a:t>
            </a:r>
            <a:endParaRPr lang="fr-FR" sz="800">
              <a:solidFill>
                <a:schemeClr val="bg1"/>
              </a:solidFill>
            </a:endParaRPr>
          </a:p>
        </p:txBody>
      </p:sp>
      <p:sp>
        <p:nvSpPr>
          <p:cNvPr id="86" name="Flèche : pentagone 85">
            <a:extLst>
              <a:ext uri="{FF2B5EF4-FFF2-40B4-BE49-F238E27FC236}">
                <a16:creationId xmlns:a16="http://schemas.microsoft.com/office/drawing/2014/main" id="{F38791AA-6A80-93FC-CE03-66AAABE804E5}"/>
              </a:ext>
            </a:extLst>
          </p:cNvPr>
          <p:cNvSpPr/>
          <p:nvPr/>
        </p:nvSpPr>
        <p:spPr>
          <a:xfrm>
            <a:off x="4544874" y="3770520"/>
            <a:ext cx="1990800" cy="159026"/>
          </a:xfrm>
          <a:prstGeom prst="homePlate">
            <a:avLst/>
          </a:prstGeom>
          <a:solidFill>
            <a:schemeClr val="bg1"/>
          </a:solidFill>
          <a:ln w="9525" cap="rnd" cmpd="sng" algn="ctr">
            <a:solidFill>
              <a:srgbClr val="2C2C2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200">
              <a:solidFill>
                <a:srgbClr val="FFFFFF"/>
              </a:solidFill>
            </a:endParaRPr>
          </a:p>
        </p:txBody>
      </p:sp>
      <p:sp>
        <p:nvSpPr>
          <p:cNvPr id="90" name="Flèche : pentagone 52">
            <a:extLst>
              <a:ext uri="{FF2B5EF4-FFF2-40B4-BE49-F238E27FC236}">
                <a16:creationId xmlns:a16="http://schemas.microsoft.com/office/drawing/2014/main" id="{F460FFDB-E9BD-3EE7-BE79-7EB94A747A22}"/>
              </a:ext>
            </a:extLst>
          </p:cNvPr>
          <p:cNvSpPr/>
          <p:nvPr/>
        </p:nvSpPr>
        <p:spPr>
          <a:xfrm>
            <a:off x="5747174" y="5309756"/>
            <a:ext cx="407587" cy="159026"/>
          </a:xfrm>
          <a:prstGeom prst="homePlate">
            <a:avLst/>
          </a:prstGeom>
          <a:solidFill>
            <a:schemeClr val="bg1"/>
          </a:solidFill>
          <a:ln w="9525" cap="rnd" cmpd="sng" algn="ctr">
            <a:solidFill>
              <a:srgbClr val="2C2C2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200">
              <a:solidFill>
                <a:srgbClr val="FFFFFF"/>
              </a:solidFill>
            </a:endParaRPr>
          </a:p>
        </p:txBody>
      </p:sp>
      <p:sp>
        <p:nvSpPr>
          <p:cNvPr id="91" name="ZoneTexte 90">
            <a:extLst>
              <a:ext uri="{FF2B5EF4-FFF2-40B4-BE49-F238E27FC236}">
                <a16:creationId xmlns:a16="http://schemas.microsoft.com/office/drawing/2014/main" id="{EF3225A2-458C-6D79-37FE-30B6FF39C130}"/>
              </a:ext>
            </a:extLst>
          </p:cNvPr>
          <p:cNvSpPr txBox="1"/>
          <p:nvPr/>
        </p:nvSpPr>
        <p:spPr>
          <a:xfrm>
            <a:off x="5521328" y="4982359"/>
            <a:ext cx="814272" cy="28195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800" err="1">
                <a:solidFill>
                  <a:schemeClr val="bg1"/>
                </a:solidFill>
              </a:rPr>
              <a:t>Subcontractor</a:t>
            </a:r>
            <a:r>
              <a:rPr lang="fr-FR" sz="800">
                <a:solidFill>
                  <a:schemeClr val="bg1"/>
                </a:solidFill>
              </a:rPr>
              <a:t> </a:t>
            </a:r>
            <a:r>
              <a:rPr lang="fr-FR" sz="800" err="1">
                <a:solidFill>
                  <a:schemeClr val="bg1"/>
                </a:solidFill>
              </a:rPr>
              <a:t>analysis</a:t>
            </a:r>
            <a:endParaRPr lang="fr-FR" sz="800">
              <a:solidFill>
                <a:schemeClr val="bg1"/>
              </a:solidFill>
            </a:endParaRPr>
          </a:p>
        </p:txBody>
      </p:sp>
      <p:sp>
        <p:nvSpPr>
          <p:cNvPr id="92" name="Losange 91">
            <a:extLst>
              <a:ext uri="{FF2B5EF4-FFF2-40B4-BE49-F238E27FC236}">
                <a16:creationId xmlns:a16="http://schemas.microsoft.com/office/drawing/2014/main" id="{B5B23DE4-016B-5F63-3C3F-974BB4F29F50}"/>
              </a:ext>
            </a:extLst>
          </p:cNvPr>
          <p:cNvSpPr/>
          <p:nvPr/>
        </p:nvSpPr>
        <p:spPr>
          <a:xfrm>
            <a:off x="6196018" y="5309756"/>
            <a:ext cx="172814" cy="159026"/>
          </a:xfrm>
          <a:prstGeom prst="diamond">
            <a:avLst/>
          </a:prstGeom>
          <a:solidFill>
            <a:schemeClr val="bg1"/>
          </a:solidFill>
          <a:ln w="9525" cap="rnd" cmpd="sng" algn="ctr">
            <a:solidFill>
              <a:srgbClr val="2C2C2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200">
              <a:ln>
                <a:solidFill>
                  <a:schemeClr val="bg1"/>
                </a:solidFill>
              </a:ln>
              <a:solidFill>
                <a:schemeClr val="bg1"/>
              </a:solidFill>
            </a:endParaRPr>
          </a:p>
        </p:txBody>
      </p:sp>
      <p:sp>
        <p:nvSpPr>
          <p:cNvPr id="93" name="ZoneTexte 92">
            <a:extLst>
              <a:ext uri="{FF2B5EF4-FFF2-40B4-BE49-F238E27FC236}">
                <a16:creationId xmlns:a16="http://schemas.microsoft.com/office/drawing/2014/main" id="{B1A76FF3-9DB2-22F6-4B5E-5CA5AD57506E}"/>
              </a:ext>
            </a:extLst>
          </p:cNvPr>
          <p:cNvSpPr txBox="1"/>
          <p:nvPr/>
        </p:nvSpPr>
        <p:spPr>
          <a:xfrm>
            <a:off x="5918988" y="5559721"/>
            <a:ext cx="814272" cy="28195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800">
                <a:solidFill>
                  <a:schemeClr val="bg1"/>
                </a:solidFill>
              </a:rPr>
              <a:t>Partnership Agreement</a:t>
            </a:r>
          </a:p>
        </p:txBody>
      </p:sp>
      <p:sp>
        <p:nvSpPr>
          <p:cNvPr id="6" name="ZoneTexte 89">
            <a:extLst>
              <a:ext uri="{FF2B5EF4-FFF2-40B4-BE49-F238E27FC236}">
                <a16:creationId xmlns:a16="http://schemas.microsoft.com/office/drawing/2014/main" id="{CB27D6FF-C335-C8BC-08F3-02B49CCC8B89}"/>
              </a:ext>
            </a:extLst>
          </p:cNvPr>
          <p:cNvSpPr txBox="1"/>
          <p:nvPr/>
        </p:nvSpPr>
        <p:spPr>
          <a:xfrm>
            <a:off x="4360550" y="3391050"/>
            <a:ext cx="2332220" cy="43848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900" err="1">
                <a:solidFill>
                  <a:schemeClr val="bg1"/>
                </a:solidFill>
              </a:rPr>
              <a:t>Get</a:t>
            </a:r>
            <a:r>
              <a:rPr lang="fr-FR" sz="900">
                <a:solidFill>
                  <a:schemeClr val="bg1"/>
                </a:solidFill>
              </a:rPr>
              <a:t> Marketing Team to </a:t>
            </a:r>
            <a:r>
              <a:rPr lang="fr-FR" sz="900" err="1">
                <a:solidFill>
                  <a:schemeClr val="bg1"/>
                </a:solidFill>
              </a:rPr>
              <a:t>digitally</a:t>
            </a:r>
            <a:r>
              <a:rPr lang="fr-FR" sz="900">
                <a:solidFill>
                  <a:schemeClr val="bg1"/>
                </a:solidFill>
              </a:rPr>
              <a:t> input </a:t>
            </a:r>
            <a:r>
              <a:rPr lang="fr-FR" sz="900" err="1">
                <a:solidFill>
                  <a:schemeClr val="bg1"/>
                </a:solidFill>
              </a:rPr>
              <a:t>behavorial</a:t>
            </a:r>
            <a:r>
              <a:rPr lang="fr-FR" sz="900">
                <a:solidFill>
                  <a:schemeClr val="bg1"/>
                </a:solidFill>
              </a:rPr>
              <a:t> / qualitative data</a:t>
            </a:r>
            <a:endParaRPr lang="fr-FR" sz="900" i="1">
              <a:solidFill>
                <a:schemeClr val="bg1"/>
              </a:solidFill>
            </a:endParaRPr>
          </a:p>
        </p:txBody>
      </p:sp>
      <p:sp>
        <p:nvSpPr>
          <p:cNvPr id="94" name="Flèche : pentagone 52">
            <a:extLst>
              <a:ext uri="{FF2B5EF4-FFF2-40B4-BE49-F238E27FC236}">
                <a16:creationId xmlns:a16="http://schemas.microsoft.com/office/drawing/2014/main" id="{739003B6-B831-B22A-780A-4B848085E11D}"/>
              </a:ext>
            </a:extLst>
          </p:cNvPr>
          <p:cNvSpPr/>
          <p:nvPr/>
        </p:nvSpPr>
        <p:spPr>
          <a:xfrm>
            <a:off x="6454251" y="5108457"/>
            <a:ext cx="2685329" cy="263803"/>
          </a:xfrm>
          <a:prstGeom prst="homePlate">
            <a:avLst/>
          </a:prstGeom>
          <a:solidFill>
            <a:schemeClr val="bg1"/>
          </a:solidFill>
          <a:ln w="9525" cap="rnd" cmpd="sng" algn="ctr">
            <a:solidFill>
              <a:srgbClr val="2C2C2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1200" err="1">
                <a:solidFill>
                  <a:srgbClr val="104B26"/>
                </a:solidFill>
              </a:rPr>
              <a:t>Subcontractror</a:t>
            </a:r>
            <a:r>
              <a:rPr lang="fr-FR" sz="1200">
                <a:solidFill>
                  <a:srgbClr val="104B26"/>
                </a:solidFill>
              </a:rPr>
              <a:t> </a:t>
            </a:r>
            <a:r>
              <a:rPr lang="fr-FR" sz="1200" err="1">
                <a:solidFill>
                  <a:srgbClr val="104B26"/>
                </a:solidFill>
              </a:rPr>
              <a:t>Development</a:t>
            </a:r>
            <a:endParaRPr lang="fr-FR" sz="1200">
              <a:solidFill>
                <a:srgbClr val="104B26"/>
              </a:solidFill>
            </a:endParaRPr>
          </a:p>
        </p:txBody>
      </p:sp>
      <p:sp>
        <p:nvSpPr>
          <p:cNvPr id="95" name="Flèche : pentagone 52">
            <a:extLst>
              <a:ext uri="{FF2B5EF4-FFF2-40B4-BE49-F238E27FC236}">
                <a16:creationId xmlns:a16="http://schemas.microsoft.com/office/drawing/2014/main" id="{A39D1610-260A-7705-4905-428FA5FBB988}"/>
              </a:ext>
            </a:extLst>
          </p:cNvPr>
          <p:cNvSpPr/>
          <p:nvPr/>
        </p:nvSpPr>
        <p:spPr>
          <a:xfrm>
            <a:off x="6672467" y="5438868"/>
            <a:ext cx="2467113" cy="228795"/>
          </a:xfrm>
          <a:prstGeom prst="homePlate">
            <a:avLst/>
          </a:prstGeom>
          <a:solidFill>
            <a:schemeClr val="bg1"/>
          </a:solidFill>
          <a:ln w="9525" cap="rnd" cmpd="sng" algn="ctr">
            <a:solidFill>
              <a:srgbClr val="2C2C2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1200">
                <a:solidFill>
                  <a:srgbClr val="104B26"/>
                </a:solidFill>
              </a:rPr>
              <a:t>Warehouse </a:t>
            </a:r>
            <a:r>
              <a:rPr lang="fr-FR" sz="1200" err="1">
                <a:solidFill>
                  <a:srgbClr val="104B26"/>
                </a:solidFill>
              </a:rPr>
              <a:t>processes</a:t>
            </a:r>
            <a:r>
              <a:rPr lang="fr-FR" sz="1200">
                <a:solidFill>
                  <a:srgbClr val="104B26"/>
                </a:solidFill>
              </a:rPr>
              <a:t> adaptation</a:t>
            </a:r>
          </a:p>
        </p:txBody>
      </p:sp>
      <p:sp>
        <p:nvSpPr>
          <p:cNvPr id="97" name="Flèche : pentagone 52">
            <a:extLst>
              <a:ext uri="{FF2B5EF4-FFF2-40B4-BE49-F238E27FC236}">
                <a16:creationId xmlns:a16="http://schemas.microsoft.com/office/drawing/2014/main" id="{DF09C53B-1A2C-6948-EB37-E416C594095C}"/>
              </a:ext>
            </a:extLst>
          </p:cNvPr>
          <p:cNvSpPr/>
          <p:nvPr/>
        </p:nvSpPr>
        <p:spPr>
          <a:xfrm>
            <a:off x="9261907" y="5090569"/>
            <a:ext cx="2046559" cy="219188"/>
          </a:xfrm>
          <a:prstGeom prst="homePlate">
            <a:avLst/>
          </a:prstGeom>
          <a:solidFill>
            <a:schemeClr val="bg1"/>
          </a:solidFill>
          <a:ln w="9525" cap="rnd" cmpd="sng" algn="ctr">
            <a:solidFill>
              <a:srgbClr val="2C2C2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1200" err="1">
                <a:solidFill>
                  <a:srgbClr val="104B26"/>
                </a:solidFill>
              </a:rPr>
              <a:t>Scale</a:t>
            </a:r>
            <a:r>
              <a:rPr lang="fr-FR" sz="1200">
                <a:solidFill>
                  <a:srgbClr val="104B26"/>
                </a:solidFill>
              </a:rPr>
              <a:t> &amp; Run</a:t>
            </a:r>
          </a:p>
        </p:txBody>
      </p:sp>
      <p:sp>
        <p:nvSpPr>
          <p:cNvPr id="98" name="Flèche : pentagone 52">
            <a:extLst>
              <a:ext uri="{FF2B5EF4-FFF2-40B4-BE49-F238E27FC236}">
                <a16:creationId xmlns:a16="http://schemas.microsoft.com/office/drawing/2014/main" id="{751D4708-BCEC-A26E-6C55-F5BE8D002BAF}"/>
              </a:ext>
            </a:extLst>
          </p:cNvPr>
          <p:cNvSpPr/>
          <p:nvPr/>
        </p:nvSpPr>
        <p:spPr>
          <a:xfrm>
            <a:off x="9906585" y="5466913"/>
            <a:ext cx="1615354" cy="443291"/>
          </a:xfrm>
          <a:prstGeom prst="homePlate">
            <a:avLst/>
          </a:prstGeom>
          <a:solidFill>
            <a:schemeClr val="bg1"/>
          </a:solidFill>
          <a:ln w="9525" cap="rnd" cmpd="sng" algn="ctr">
            <a:solidFill>
              <a:srgbClr val="2C2C2C"/>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1200" err="1">
                <a:solidFill>
                  <a:srgbClr val="104B26"/>
                </a:solidFill>
              </a:rPr>
              <a:t>Forecasted</a:t>
            </a:r>
            <a:r>
              <a:rPr lang="fr-FR" sz="1200">
                <a:solidFill>
                  <a:srgbClr val="104B26"/>
                </a:solidFill>
              </a:rPr>
              <a:t> </a:t>
            </a:r>
            <a:r>
              <a:rPr lang="fr-FR" sz="1200" err="1">
                <a:solidFill>
                  <a:srgbClr val="104B26"/>
                </a:solidFill>
              </a:rPr>
              <a:t>Supply</a:t>
            </a:r>
            <a:r>
              <a:rPr lang="fr-FR" sz="1200">
                <a:solidFill>
                  <a:srgbClr val="104B26"/>
                </a:solidFill>
              </a:rPr>
              <a:t> Chain</a:t>
            </a:r>
          </a:p>
        </p:txBody>
      </p:sp>
      <p:sp>
        <p:nvSpPr>
          <p:cNvPr id="7" name="Flèche : pentagone 96">
            <a:extLst>
              <a:ext uri="{FF2B5EF4-FFF2-40B4-BE49-F238E27FC236}">
                <a16:creationId xmlns:a16="http://schemas.microsoft.com/office/drawing/2014/main" id="{9656FDE7-01A0-5BF2-7BD5-A5E84E65DFEC}"/>
              </a:ext>
            </a:extLst>
          </p:cNvPr>
          <p:cNvSpPr/>
          <p:nvPr/>
        </p:nvSpPr>
        <p:spPr>
          <a:xfrm>
            <a:off x="6369298" y="3994171"/>
            <a:ext cx="550097" cy="159026"/>
          </a:xfrm>
          <a:prstGeom prst="homePlate">
            <a:avLst/>
          </a:prstGeom>
          <a:solidFill>
            <a:schemeClr val="bg1"/>
          </a:solidFill>
          <a:ln w="9525" cap="rnd" cmpd="sng" algn="ctr">
            <a:solidFill>
              <a:srgbClr val="2C2C2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200">
              <a:solidFill>
                <a:srgbClr val="FFFFFF"/>
              </a:solidFill>
            </a:endParaRPr>
          </a:p>
        </p:txBody>
      </p:sp>
      <p:sp>
        <p:nvSpPr>
          <p:cNvPr id="8" name="Flèche : pentagone 97">
            <a:extLst>
              <a:ext uri="{FF2B5EF4-FFF2-40B4-BE49-F238E27FC236}">
                <a16:creationId xmlns:a16="http://schemas.microsoft.com/office/drawing/2014/main" id="{1C460580-A0FD-FEDB-BDB1-4F0C2AC9B1ED}"/>
              </a:ext>
            </a:extLst>
          </p:cNvPr>
          <p:cNvSpPr/>
          <p:nvPr/>
        </p:nvSpPr>
        <p:spPr>
          <a:xfrm>
            <a:off x="7226642" y="3992341"/>
            <a:ext cx="1270800" cy="159026"/>
          </a:xfrm>
          <a:prstGeom prst="homePlate">
            <a:avLst/>
          </a:prstGeom>
          <a:solidFill>
            <a:schemeClr val="bg1"/>
          </a:solidFill>
          <a:ln w="9525" cap="rnd" cmpd="sng" algn="ctr">
            <a:solidFill>
              <a:srgbClr val="2C2C2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200">
              <a:solidFill>
                <a:srgbClr val="FFFFFF"/>
              </a:solidFill>
            </a:endParaRPr>
          </a:p>
        </p:txBody>
      </p:sp>
      <p:sp>
        <p:nvSpPr>
          <p:cNvPr id="99" name="Flèche : pentagone 98">
            <a:extLst>
              <a:ext uri="{FF2B5EF4-FFF2-40B4-BE49-F238E27FC236}">
                <a16:creationId xmlns:a16="http://schemas.microsoft.com/office/drawing/2014/main" id="{69F6B5B4-DB67-AC6D-5E40-B8987E3665B3}"/>
              </a:ext>
            </a:extLst>
          </p:cNvPr>
          <p:cNvSpPr/>
          <p:nvPr/>
        </p:nvSpPr>
        <p:spPr>
          <a:xfrm>
            <a:off x="7443123" y="4208047"/>
            <a:ext cx="1270800" cy="159026"/>
          </a:xfrm>
          <a:prstGeom prst="homePlate">
            <a:avLst/>
          </a:prstGeom>
          <a:solidFill>
            <a:schemeClr val="bg1"/>
          </a:solidFill>
          <a:ln w="9525" cap="rnd" cmpd="sng" algn="ctr">
            <a:solidFill>
              <a:srgbClr val="2C2C2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200">
              <a:solidFill>
                <a:srgbClr val="FFFFFF"/>
              </a:solidFill>
            </a:endParaRPr>
          </a:p>
        </p:txBody>
      </p:sp>
      <p:sp>
        <p:nvSpPr>
          <p:cNvPr id="100" name="Losange 99">
            <a:extLst>
              <a:ext uri="{FF2B5EF4-FFF2-40B4-BE49-F238E27FC236}">
                <a16:creationId xmlns:a16="http://schemas.microsoft.com/office/drawing/2014/main" id="{43F51095-5B13-3B1E-427A-EB27E350E102}"/>
              </a:ext>
            </a:extLst>
          </p:cNvPr>
          <p:cNvSpPr/>
          <p:nvPr/>
        </p:nvSpPr>
        <p:spPr>
          <a:xfrm>
            <a:off x="8855936" y="3994171"/>
            <a:ext cx="172814" cy="159026"/>
          </a:xfrm>
          <a:prstGeom prst="diamond">
            <a:avLst/>
          </a:prstGeom>
          <a:solidFill>
            <a:schemeClr val="bg1"/>
          </a:solidFill>
          <a:ln w="9525" cap="rnd" cmpd="sng" algn="ctr">
            <a:solidFill>
              <a:srgbClr val="2C2C2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200">
              <a:ln>
                <a:solidFill>
                  <a:schemeClr val="bg1"/>
                </a:solidFill>
              </a:ln>
              <a:solidFill>
                <a:schemeClr val="bg1"/>
              </a:solidFill>
            </a:endParaRPr>
          </a:p>
        </p:txBody>
      </p:sp>
      <p:sp>
        <p:nvSpPr>
          <p:cNvPr id="101" name="Flèche : pentagone 100">
            <a:extLst>
              <a:ext uri="{FF2B5EF4-FFF2-40B4-BE49-F238E27FC236}">
                <a16:creationId xmlns:a16="http://schemas.microsoft.com/office/drawing/2014/main" id="{8A644B4E-C687-FA17-8EAF-4936ADE24746}"/>
              </a:ext>
            </a:extLst>
          </p:cNvPr>
          <p:cNvSpPr/>
          <p:nvPr/>
        </p:nvSpPr>
        <p:spPr>
          <a:xfrm>
            <a:off x="9174929" y="3996118"/>
            <a:ext cx="1990800" cy="159026"/>
          </a:xfrm>
          <a:prstGeom prst="homePlate">
            <a:avLst/>
          </a:prstGeom>
          <a:solidFill>
            <a:schemeClr val="bg1"/>
          </a:solidFill>
          <a:ln w="9525" cap="rnd" cmpd="sng" algn="ctr">
            <a:solidFill>
              <a:srgbClr val="2C2C2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200">
              <a:solidFill>
                <a:srgbClr val="FFFFFF"/>
              </a:solidFill>
            </a:endParaRPr>
          </a:p>
        </p:txBody>
      </p:sp>
      <p:sp>
        <p:nvSpPr>
          <p:cNvPr id="102" name="ZoneTexte 101">
            <a:extLst>
              <a:ext uri="{FF2B5EF4-FFF2-40B4-BE49-F238E27FC236}">
                <a16:creationId xmlns:a16="http://schemas.microsoft.com/office/drawing/2014/main" id="{DB3151F7-907C-600B-30E9-86B48B538B74}"/>
              </a:ext>
            </a:extLst>
          </p:cNvPr>
          <p:cNvSpPr txBox="1"/>
          <p:nvPr/>
        </p:nvSpPr>
        <p:spPr>
          <a:xfrm>
            <a:off x="9319639" y="3593365"/>
            <a:ext cx="1733787" cy="43848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900">
                <a:solidFill>
                  <a:schemeClr val="bg1"/>
                </a:solidFill>
              </a:rPr>
              <a:t>RUN : </a:t>
            </a:r>
            <a:r>
              <a:rPr lang="fr-FR" sz="900" err="1">
                <a:solidFill>
                  <a:schemeClr val="bg1"/>
                </a:solidFill>
              </a:rPr>
              <a:t>build</a:t>
            </a:r>
            <a:r>
              <a:rPr lang="fr-FR" sz="900">
                <a:solidFill>
                  <a:schemeClr val="bg1"/>
                </a:solidFill>
              </a:rPr>
              <a:t> </a:t>
            </a:r>
            <a:r>
              <a:rPr lang="fr-FR" sz="900" err="1">
                <a:solidFill>
                  <a:schemeClr val="bg1"/>
                </a:solidFill>
              </a:rPr>
              <a:t>internal</a:t>
            </a:r>
            <a:r>
              <a:rPr lang="fr-FR" sz="900">
                <a:solidFill>
                  <a:schemeClr val="bg1"/>
                </a:solidFill>
              </a:rPr>
              <a:t> </a:t>
            </a:r>
            <a:r>
              <a:rPr lang="fr-FR" sz="900" err="1">
                <a:solidFill>
                  <a:schemeClr val="bg1"/>
                </a:solidFill>
              </a:rPr>
              <a:t>capabilities</a:t>
            </a:r>
            <a:r>
              <a:rPr lang="fr-FR" sz="900">
                <a:solidFill>
                  <a:schemeClr val="bg1"/>
                </a:solidFill>
              </a:rPr>
              <a:t> to run </a:t>
            </a:r>
            <a:r>
              <a:rPr lang="fr-FR" sz="900" err="1">
                <a:solidFill>
                  <a:schemeClr val="bg1"/>
                </a:solidFill>
              </a:rPr>
              <a:t>project</a:t>
            </a:r>
            <a:r>
              <a:rPr lang="fr-FR" sz="900">
                <a:solidFill>
                  <a:schemeClr val="bg1"/>
                </a:solidFill>
              </a:rPr>
              <a:t> at </a:t>
            </a:r>
            <a:r>
              <a:rPr lang="fr-FR" sz="900" err="1">
                <a:solidFill>
                  <a:schemeClr val="bg1"/>
                </a:solidFill>
              </a:rPr>
              <a:t>scale</a:t>
            </a:r>
            <a:r>
              <a:rPr lang="fr-FR" sz="900">
                <a:solidFill>
                  <a:schemeClr val="bg1"/>
                </a:solidFill>
              </a:rPr>
              <a:t> </a:t>
            </a:r>
            <a:endParaRPr lang="fr-FR" sz="900" i="1">
              <a:solidFill>
                <a:schemeClr val="bg1"/>
              </a:solidFill>
            </a:endParaRPr>
          </a:p>
        </p:txBody>
      </p:sp>
      <p:sp>
        <p:nvSpPr>
          <p:cNvPr id="103" name="ZoneTexte 102">
            <a:extLst>
              <a:ext uri="{FF2B5EF4-FFF2-40B4-BE49-F238E27FC236}">
                <a16:creationId xmlns:a16="http://schemas.microsoft.com/office/drawing/2014/main" id="{3419B77A-303C-DDF4-20EA-264A56359B9F}"/>
              </a:ext>
            </a:extLst>
          </p:cNvPr>
          <p:cNvSpPr txBox="1"/>
          <p:nvPr/>
        </p:nvSpPr>
        <p:spPr>
          <a:xfrm>
            <a:off x="8628979" y="3542111"/>
            <a:ext cx="654152" cy="43848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900" err="1">
                <a:solidFill>
                  <a:schemeClr val="bg1"/>
                </a:solidFill>
              </a:rPr>
              <a:t>Assess</a:t>
            </a:r>
            <a:r>
              <a:rPr lang="fr-FR" sz="900">
                <a:solidFill>
                  <a:schemeClr val="bg1"/>
                </a:solidFill>
              </a:rPr>
              <a:t> value </a:t>
            </a:r>
            <a:r>
              <a:rPr lang="fr-FR" sz="900" err="1">
                <a:solidFill>
                  <a:schemeClr val="bg1"/>
                </a:solidFill>
              </a:rPr>
              <a:t>creation</a:t>
            </a:r>
            <a:endParaRPr lang="fr-FR" sz="900" i="1">
              <a:solidFill>
                <a:schemeClr val="bg1"/>
              </a:solidFill>
            </a:endParaRPr>
          </a:p>
        </p:txBody>
      </p:sp>
      <p:sp>
        <p:nvSpPr>
          <p:cNvPr id="104" name="ZoneTexte 103">
            <a:extLst>
              <a:ext uri="{FF2B5EF4-FFF2-40B4-BE49-F238E27FC236}">
                <a16:creationId xmlns:a16="http://schemas.microsoft.com/office/drawing/2014/main" id="{46F9BB08-FBA1-5032-CE43-DF4FB87E6470}"/>
              </a:ext>
            </a:extLst>
          </p:cNvPr>
          <p:cNvSpPr txBox="1"/>
          <p:nvPr/>
        </p:nvSpPr>
        <p:spPr>
          <a:xfrm>
            <a:off x="7206402" y="3624969"/>
            <a:ext cx="1299554" cy="43848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900">
                <a:solidFill>
                  <a:schemeClr val="bg1"/>
                </a:solidFill>
              </a:rPr>
              <a:t>Spread and train</a:t>
            </a:r>
            <a:endParaRPr lang="fr-FR" sz="900" i="1">
              <a:solidFill>
                <a:schemeClr val="bg1"/>
              </a:solidFill>
            </a:endParaRPr>
          </a:p>
        </p:txBody>
      </p:sp>
      <p:sp>
        <p:nvSpPr>
          <p:cNvPr id="105" name="ZoneTexte 104">
            <a:extLst>
              <a:ext uri="{FF2B5EF4-FFF2-40B4-BE49-F238E27FC236}">
                <a16:creationId xmlns:a16="http://schemas.microsoft.com/office/drawing/2014/main" id="{8341381B-EAAF-C099-4EF8-BBE42A5793B8}"/>
              </a:ext>
            </a:extLst>
          </p:cNvPr>
          <p:cNvSpPr txBox="1"/>
          <p:nvPr/>
        </p:nvSpPr>
        <p:spPr>
          <a:xfrm>
            <a:off x="7550858" y="4301814"/>
            <a:ext cx="1211869" cy="43848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900">
                <a:solidFill>
                  <a:schemeClr val="bg1"/>
                </a:solidFill>
              </a:rPr>
              <a:t>Tool </a:t>
            </a:r>
            <a:r>
              <a:rPr lang="fr-FR" sz="900" err="1">
                <a:solidFill>
                  <a:schemeClr val="bg1"/>
                </a:solidFill>
              </a:rPr>
              <a:t>continuous</a:t>
            </a:r>
            <a:r>
              <a:rPr lang="fr-FR" sz="900">
                <a:solidFill>
                  <a:schemeClr val="bg1"/>
                </a:solidFill>
              </a:rPr>
              <a:t> </a:t>
            </a:r>
            <a:r>
              <a:rPr lang="fr-FR" sz="900" err="1">
                <a:solidFill>
                  <a:schemeClr val="bg1"/>
                </a:solidFill>
              </a:rPr>
              <a:t>improvement</a:t>
            </a:r>
            <a:endParaRPr lang="fr-FR" sz="900" i="1">
              <a:solidFill>
                <a:schemeClr val="bg1"/>
              </a:solidFill>
            </a:endParaRPr>
          </a:p>
        </p:txBody>
      </p:sp>
      <p:sp>
        <p:nvSpPr>
          <p:cNvPr id="106" name="ZoneTexte 105">
            <a:extLst>
              <a:ext uri="{FF2B5EF4-FFF2-40B4-BE49-F238E27FC236}">
                <a16:creationId xmlns:a16="http://schemas.microsoft.com/office/drawing/2014/main" id="{884D087F-9020-7F7D-77D2-210E95457385}"/>
              </a:ext>
            </a:extLst>
          </p:cNvPr>
          <p:cNvSpPr txBox="1"/>
          <p:nvPr/>
        </p:nvSpPr>
        <p:spPr>
          <a:xfrm>
            <a:off x="6098812" y="4199366"/>
            <a:ext cx="1103252" cy="43848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900">
                <a:solidFill>
                  <a:schemeClr val="bg1"/>
                </a:solidFill>
              </a:rPr>
              <a:t>Process &amp; data : uniformisation </a:t>
            </a:r>
            <a:r>
              <a:rPr lang="fr-FR" sz="900" err="1">
                <a:solidFill>
                  <a:schemeClr val="bg1"/>
                </a:solidFill>
              </a:rPr>
              <a:t>across</a:t>
            </a:r>
            <a:r>
              <a:rPr lang="fr-FR" sz="900">
                <a:solidFill>
                  <a:schemeClr val="bg1"/>
                </a:solidFill>
              </a:rPr>
              <a:t> all teams </a:t>
            </a:r>
          </a:p>
        </p:txBody>
      </p:sp>
      <p:sp>
        <p:nvSpPr>
          <p:cNvPr id="107" name="ZoneTexte 106">
            <a:extLst>
              <a:ext uri="{FF2B5EF4-FFF2-40B4-BE49-F238E27FC236}">
                <a16:creationId xmlns:a16="http://schemas.microsoft.com/office/drawing/2014/main" id="{CB1ED617-5951-886E-85E0-BE8894CAC067}"/>
              </a:ext>
            </a:extLst>
          </p:cNvPr>
          <p:cNvSpPr txBox="1"/>
          <p:nvPr/>
        </p:nvSpPr>
        <p:spPr>
          <a:xfrm>
            <a:off x="6621300" y="3434641"/>
            <a:ext cx="903047" cy="43848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900">
                <a:solidFill>
                  <a:schemeClr val="bg1"/>
                </a:solidFill>
              </a:rPr>
              <a:t>Industrialisation &amp; allocation of data infrastructure</a:t>
            </a:r>
            <a:endParaRPr lang="fr-FR" sz="900" i="1">
              <a:solidFill>
                <a:schemeClr val="bg1"/>
              </a:solidFill>
            </a:endParaRPr>
          </a:p>
        </p:txBody>
      </p:sp>
      <p:sp>
        <p:nvSpPr>
          <p:cNvPr id="108" name="Losange 107">
            <a:extLst>
              <a:ext uri="{FF2B5EF4-FFF2-40B4-BE49-F238E27FC236}">
                <a16:creationId xmlns:a16="http://schemas.microsoft.com/office/drawing/2014/main" id="{224521DA-4B47-5633-87B9-BA3379146FEB}"/>
              </a:ext>
            </a:extLst>
          </p:cNvPr>
          <p:cNvSpPr/>
          <p:nvPr/>
        </p:nvSpPr>
        <p:spPr>
          <a:xfrm>
            <a:off x="6986738" y="3994171"/>
            <a:ext cx="172814" cy="159026"/>
          </a:xfrm>
          <a:prstGeom prst="diamond">
            <a:avLst/>
          </a:prstGeom>
          <a:solidFill>
            <a:schemeClr val="bg1"/>
          </a:solidFill>
          <a:ln w="9525" cap="rnd" cmpd="sng" algn="ctr">
            <a:solidFill>
              <a:srgbClr val="2C2C2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200">
              <a:ln>
                <a:solidFill>
                  <a:schemeClr val="bg1"/>
                </a:solidFill>
              </a:ln>
              <a:solidFill>
                <a:schemeClr val="bg1"/>
              </a:solidFill>
            </a:endParaRPr>
          </a:p>
        </p:txBody>
      </p:sp>
      <p:sp>
        <p:nvSpPr>
          <p:cNvPr id="109" name="Flèche : pentagone 108">
            <a:extLst>
              <a:ext uri="{FF2B5EF4-FFF2-40B4-BE49-F238E27FC236}">
                <a16:creationId xmlns:a16="http://schemas.microsoft.com/office/drawing/2014/main" id="{7FC4805B-08C8-D400-D9DB-CC72DBE3FFA1}"/>
              </a:ext>
            </a:extLst>
          </p:cNvPr>
          <p:cNvSpPr/>
          <p:nvPr/>
        </p:nvSpPr>
        <p:spPr>
          <a:xfrm>
            <a:off x="5504599" y="3984943"/>
            <a:ext cx="658800" cy="159026"/>
          </a:xfrm>
          <a:prstGeom prst="homePlate">
            <a:avLst/>
          </a:prstGeom>
          <a:solidFill>
            <a:schemeClr val="bg1"/>
          </a:solidFill>
          <a:ln w="9525" cap="rnd" cmpd="sng" algn="ctr">
            <a:solidFill>
              <a:srgbClr val="2C2C2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200">
              <a:solidFill>
                <a:srgbClr val="FFFFFF"/>
              </a:solidFill>
            </a:endParaRPr>
          </a:p>
        </p:txBody>
      </p:sp>
      <p:sp>
        <p:nvSpPr>
          <p:cNvPr id="110" name="ZoneTexte 109">
            <a:extLst>
              <a:ext uri="{FF2B5EF4-FFF2-40B4-BE49-F238E27FC236}">
                <a16:creationId xmlns:a16="http://schemas.microsoft.com/office/drawing/2014/main" id="{28A31D7D-BE30-45C3-C6B4-2A24EE127A6B}"/>
              </a:ext>
            </a:extLst>
          </p:cNvPr>
          <p:cNvSpPr txBox="1"/>
          <p:nvPr/>
        </p:nvSpPr>
        <p:spPr>
          <a:xfrm>
            <a:off x="5327765" y="4080811"/>
            <a:ext cx="901412" cy="51779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900" err="1">
                <a:solidFill>
                  <a:schemeClr val="bg1"/>
                </a:solidFill>
              </a:rPr>
              <a:t>Improve</a:t>
            </a:r>
            <a:r>
              <a:rPr lang="fr-FR" sz="900">
                <a:solidFill>
                  <a:schemeClr val="bg1"/>
                </a:solidFill>
              </a:rPr>
              <a:t> first pilot</a:t>
            </a:r>
          </a:p>
        </p:txBody>
      </p:sp>
      <p:sp>
        <p:nvSpPr>
          <p:cNvPr id="111" name="ZoneTexte 110">
            <a:extLst>
              <a:ext uri="{FF2B5EF4-FFF2-40B4-BE49-F238E27FC236}">
                <a16:creationId xmlns:a16="http://schemas.microsoft.com/office/drawing/2014/main" id="{177A799C-60CF-22F5-BC24-BD15F596A038}"/>
              </a:ext>
            </a:extLst>
          </p:cNvPr>
          <p:cNvSpPr txBox="1"/>
          <p:nvPr/>
        </p:nvSpPr>
        <p:spPr>
          <a:xfrm>
            <a:off x="3510992" y="4240259"/>
            <a:ext cx="1050753" cy="43848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900" err="1">
                <a:solidFill>
                  <a:schemeClr val="bg1"/>
                </a:solidFill>
              </a:rPr>
              <a:t>Assess</a:t>
            </a:r>
            <a:r>
              <a:rPr lang="fr-FR" sz="900">
                <a:solidFill>
                  <a:schemeClr val="bg1"/>
                </a:solidFill>
              </a:rPr>
              <a:t> value </a:t>
            </a:r>
            <a:r>
              <a:rPr lang="fr-FR" sz="900" err="1">
                <a:solidFill>
                  <a:schemeClr val="bg1"/>
                </a:solidFill>
              </a:rPr>
              <a:t>creation</a:t>
            </a:r>
            <a:r>
              <a:rPr lang="fr-FR" sz="900">
                <a:solidFill>
                  <a:schemeClr val="bg1"/>
                </a:solidFill>
              </a:rPr>
              <a:t> &amp; </a:t>
            </a:r>
            <a:r>
              <a:rPr lang="fr-FR" sz="900" err="1">
                <a:solidFill>
                  <a:schemeClr val="bg1"/>
                </a:solidFill>
              </a:rPr>
              <a:t>share</a:t>
            </a:r>
            <a:r>
              <a:rPr lang="fr-FR" sz="900">
                <a:solidFill>
                  <a:schemeClr val="bg1"/>
                </a:solidFill>
              </a:rPr>
              <a:t> best practice</a:t>
            </a:r>
            <a:endParaRPr lang="fr-FR" sz="900" i="1">
              <a:solidFill>
                <a:schemeClr val="bg1"/>
              </a:solidFill>
            </a:endParaRPr>
          </a:p>
        </p:txBody>
      </p:sp>
    </p:spTree>
    <p:extLst>
      <p:ext uri="{BB962C8B-B14F-4D97-AF65-F5344CB8AC3E}">
        <p14:creationId xmlns:p14="http://schemas.microsoft.com/office/powerpoint/2010/main" val="300381522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1249" name="think-cell Slide" r:id="rId5" imgW="498" imgH="499" progId="TCLayout.ActiveDocument.1">
                  <p:embed/>
                </p:oleObj>
              </mc:Choice>
              <mc:Fallback>
                <p:oleObj name="think-cell Slide" r:id="rId5" imgW="498" imgH="499"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p:txBody>
          <a:bodyPr/>
          <a:lstStyle/>
          <a:p>
            <a:r>
              <a:rPr lang="en-US"/>
              <a:t>Annex 7a : </a:t>
            </a:r>
            <a:br>
              <a:rPr lang="en-US"/>
            </a:br>
            <a:r>
              <a:rPr lang="en-US"/>
              <a:t>FTE needs for a 12 months deployment plan</a:t>
            </a:r>
          </a:p>
        </p:txBody>
      </p:sp>
      <p:sp>
        <p:nvSpPr>
          <p:cNvPr id="23" name="TextBox 22"/>
          <p:cNvSpPr txBox="1"/>
          <p:nvPr/>
        </p:nvSpPr>
        <p:spPr>
          <a:xfrm>
            <a:off x="1017698" y="4918575"/>
            <a:ext cx="4345739" cy="279598"/>
          </a:xfrm>
          <a:prstGeom prst="rect">
            <a:avLst/>
          </a:prstGeom>
          <a:noFill/>
          <a:ln w="9525" cap="rnd" cmpd="sng" algn="ctr">
            <a:solidFill>
              <a:srgbClr val="29BA74"/>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solidFill>
                  <a:srgbClr val="575757"/>
                </a:solidFill>
              </a:rPr>
              <a:t>Average annual cost for 1 FTE: 150 k€</a:t>
            </a:r>
          </a:p>
        </p:txBody>
      </p:sp>
      <p:graphicFrame>
        <p:nvGraphicFramePr>
          <p:cNvPr id="26" name="Table 25"/>
          <p:cNvGraphicFramePr>
            <a:graphicFrameLocks noGrp="1"/>
          </p:cNvGraphicFramePr>
          <p:nvPr/>
        </p:nvGraphicFramePr>
        <p:xfrm>
          <a:off x="183625" y="2281561"/>
          <a:ext cx="11794484" cy="2147099"/>
        </p:xfrm>
        <a:graphic>
          <a:graphicData uri="http://schemas.openxmlformats.org/drawingml/2006/table">
            <a:tbl>
              <a:tblPr>
                <a:tableStyleId>{2D5ABB26-0587-4C30-8999-92F81FD0307C}</a:tableStyleId>
              </a:tblPr>
              <a:tblGrid>
                <a:gridCol w="1560708">
                  <a:extLst>
                    <a:ext uri="{9D8B030D-6E8A-4147-A177-3AD203B41FA5}">
                      <a16:colId xmlns:a16="http://schemas.microsoft.com/office/drawing/2014/main" val="20000"/>
                    </a:ext>
                  </a:extLst>
                </a:gridCol>
                <a:gridCol w="900012">
                  <a:extLst>
                    <a:ext uri="{9D8B030D-6E8A-4147-A177-3AD203B41FA5}">
                      <a16:colId xmlns:a16="http://schemas.microsoft.com/office/drawing/2014/main" val="20001"/>
                    </a:ext>
                  </a:extLst>
                </a:gridCol>
                <a:gridCol w="848524">
                  <a:extLst>
                    <a:ext uri="{9D8B030D-6E8A-4147-A177-3AD203B41FA5}">
                      <a16:colId xmlns:a16="http://schemas.microsoft.com/office/drawing/2014/main" val="20002"/>
                    </a:ext>
                  </a:extLst>
                </a:gridCol>
                <a:gridCol w="848524">
                  <a:extLst>
                    <a:ext uri="{9D8B030D-6E8A-4147-A177-3AD203B41FA5}">
                      <a16:colId xmlns:a16="http://schemas.microsoft.com/office/drawing/2014/main" val="20003"/>
                    </a:ext>
                  </a:extLst>
                </a:gridCol>
                <a:gridCol w="848524">
                  <a:extLst>
                    <a:ext uri="{9D8B030D-6E8A-4147-A177-3AD203B41FA5}">
                      <a16:colId xmlns:a16="http://schemas.microsoft.com/office/drawing/2014/main" val="20004"/>
                    </a:ext>
                  </a:extLst>
                </a:gridCol>
                <a:gridCol w="1011053">
                  <a:extLst>
                    <a:ext uri="{9D8B030D-6E8A-4147-A177-3AD203B41FA5}">
                      <a16:colId xmlns:a16="http://schemas.microsoft.com/office/drawing/2014/main" val="20005"/>
                    </a:ext>
                  </a:extLst>
                </a:gridCol>
                <a:gridCol w="792213">
                  <a:extLst>
                    <a:ext uri="{9D8B030D-6E8A-4147-A177-3AD203B41FA5}">
                      <a16:colId xmlns:a16="http://schemas.microsoft.com/office/drawing/2014/main" val="20006"/>
                    </a:ext>
                  </a:extLst>
                </a:gridCol>
                <a:gridCol w="742306">
                  <a:extLst>
                    <a:ext uri="{9D8B030D-6E8A-4147-A177-3AD203B41FA5}">
                      <a16:colId xmlns:a16="http://schemas.microsoft.com/office/drawing/2014/main" val="20007"/>
                    </a:ext>
                  </a:extLst>
                </a:gridCol>
                <a:gridCol w="848524">
                  <a:extLst>
                    <a:ext uri="{9D8B030D-6E8A-4147-A177-3AD203B41FA5}">
                      <a16:colId xmlns:a16="http://schemas.microsoft.com/office/drawing/2014/main" val="20008"/>
                    </a:ext>
                  </a:extLst>
                </a:gridCol>
                <a:gridCol w="848524">
                  <a:extLst>
                    <a:ext uri="{9D8B030D-6E8A-4147-A177-3AD203B41FA5}">
                      <a16:colId xmlns:a16="http://schemas.microsoft.com/office/drawing/2014/main" val="20009"/>
                    </a:ext>
                  </a:extLst>
                </a:gridCol>
                <a:gridCol w="848524">
                  <a:extLst>
                    <a:ext uri="{9D8B030D-6E8A-4147-A177-3AD203B41FA5}">
                      <a16:colId xmlns:a16="http://schemas.microsoft.com/office/drawing/2014/main" val="20010"/>
                    </a:ext>
                  </a:extLst>
                </a:gridCol>
                <a:gridCol w="848524">
                  <a:extLst>
                    <a:ext uri="{9D8B030D-6E8A-4147-A177-3AD203B41FA5}">
                      <a16:colId xmlns:a16="http://schemas.microsoft.com/office/drawing/2014/main" val="20011"/>
                    </a:ext>
                  </a:extLst>
                </a:gridCol>
                <a:gridCol w="848524">
                  <a:extLst>
                    <a:ext uri="{9D8B030D-6E8A-4147-A177-3AD203B41FA5}">
                      <a16:colId xmlns:a16="http://schemas.microsoft.com/office/drawing/2014/main" val="20012"/>
                    </a:ext>
                  </a:extLst>
                </a:gridCol>
              </a:tblGrid>
              <a:tr h="424091">
                <a:tc>
                  <a:txBody>
                    <a:bodyPr/>
                    <a:lstStyle/>
                    <a:p>
                      <a:pPr algn="l" fontAlgn="b"/>
                      <a:endParaRPr lang="fr-FR" sz="1100" b="0" i="0" u="none" strike="noStrike">
                        <a:solidFill>
                          <a:srgbClr val="000000"/>
                        </a:solidFill>
                        <a:effectLst/>
                        <a:latin typeface="Calibri" panose="020F0502020204030204" pitchFamily="34" charset="0"/>
                      </a:endParaRPr>
                    </a:p>
                  </a:txBody>
                  <a:tcPr marL="7620" marR="7620" marT="7620" marB="0" anchor="b">
                    <a:lnT>
                      <a:noFill/>
                    </a:lnT>
                    <a:lnB w="9525">
                      <a:solidFill>
                        <a:srgbClr val="9A9A9A">
                          <a:lumMod val="100000"/>
                        </a:srgbClr>
                      </a:solidFill>
                      <a:prstDash val="solid"/>
                    </a:lnB>
                  </a:tcPr>
                </a:tc>
                <a:tc>
                  <a:txBody>
                    <a:bodyPr/>
                    <a:lstStyle/>
                    <a:p>
                      <a:pPr algn="ctr" fontAlgn="b"/>
                      <a:endParaRPr lang="fr-FR" sz="1200" b="1" i="0" u="none" strike="noStrike">
                        <a:solidFill>
                          <a:srgbClr val="29BA74"/>
                        </a:solidFill>
                        <a:effectLst/>
                        <a:latin typeface="Calibri" panose="020F0502020204030204" pitchFamily="34" charset="0"/>
                      </a:endParaRPr>
                    </a:p>
                  </a:txBody>
                  <a:tcPr marL="0" marR="143637" marT="7620" marB="0" anchor="b">
                    <a:lnT>
                      <a:noFill/>
                    </a:lnT>
                    <a:lnB w="9525" cap="flat" cmpd="sng" algn="ctr">
                      <a:solidFill>
                        <a:srgbClr val="9A9A9A">
                          <a:lumMod val="100000"/>
                        </a:srgbClr>
                      </a:solidFill>
                      <a:prstDash val="solid"/>
                      <a:round/>
                      <a:headEnd type="none" w="med" len="med"/>
                      <a:tailEnd type="none" w="med" len="med"/>
                    </a:lnB>
                  </a:tcPr>
                </a:tc>
                <a:tc>
                  <a:txBody>
                    <a:bodyPr/>
                    <a:lstStyle/>
                    <a:p>
                      <a:pPr algn="ctr" fontAlgn="b"/>
                      <a:endParaRPr lang="fr-FR" sz="1200" b="1" i="0" u="none" strike="noStrike">
                        <a:solidFill>
                          <a:srgbClr val="29BA74"/>
                        </a:solidFill>
                        <a:effectLst/>
                        <a:latin typeface="Calibri" panose="020F0502020204030204" pitchFamily="34" charset="0"/>
                      </a:endParaRPr>
                    </a:p>
                  </a:txBody>
                  <a:tcPr marL="0" marR="143637" marT="7620" marB="0" anchor="b">
                    <a:lnT>
                      <a:noFill/>
                    </a:lnT>
                    <a:lnB w="9525" cap="flat" cmpd="sng" algn="ctr">
                      <a:solidFill>
                        <a:srgbClr val="9A9A9A">
                          <a:lumMod val="100000"/>
                        </a:srgbClr>
                      </a:solidFill>
                      <a:prstDash val="solid"/>
                      <a:round/>
                      <a:headEnd type="none" w="med" len="med"/>
                      <a:tailEnd type="none" w="med" len="med"/>
                    </a:lnB>
                  </a:tcPr>
                </a:tc>
                <a:tc>
                  <a:txBody>
                    <a:bodyPr/>
                    <a:lstStyle/>
                    <a:p>
                      <a:pPr algn="ctr" fontAlgn="b"/>
                      <a:endParaRPr lang="fr-FR" sz="1200" b="1" i="0" u="none" strike="noStrike">
                        <a:solidFill>
                          <a:srgbClr val="29BA74"/>
                        </a:solidFill>
                        <a:effectLst/>
                        <a:latin typeface="Calibri" panose="020F0502020204030204" pitchFamily="34" charset="0"/>
                      </a:endParaRPr>
                    </a:p>
                  </a:txBody>
                  <a:tcPr marL="0" marR="19018" marT="7620" marB="0" anchor="b">
                    <a:lnT>
                      <a:noFill/>
                    </a:lnT>
                    <a:lnB w="9525" cap="flat" cmpd="sng" algn="ctr">
                      <a:solidFill>
                        <a:srgbClr val="9A9A9A">
                          <a:lumMod val="100000"/>
                        </a:srgbClr>
                      </a:solidFill>
                      <a:prstDash val="solid"/>
                      <a:round/>
                      <a:headEnd type="none" w="med" len="med"/>
                      <a:tailEnd type="none" w="med" len="med"/>
                    </a:lnB>
                  </a:tcPr>
                </a:tc>
                <a:tc>
                  <a:txBody>
                    <a:bodyPr/>
                    <a:lstStyle/>
                    <a:p>
                      <a:pPr algn="ctr" fontAlgn="b"/>
                      <a:endParaRPr lang="fr-FR" sz="1200" b="1" i="0" u="none" strike="noStrike">
                        <a:solidFill>
                          <a:srgbClr val="29BA74"/>
                        </a:solidFill>
                        <a:effectLst/>
                        <a:latin typeface="Calibri" panose="020F0502020204030204" pitchFamily="34" charset="0"/>
                      </a:endParaRPr>
                    </a:p>
                  </a:txBody>
                  <a:tcPr marL="0" marR="19018" marT="7620" marB="0" anchor="b">
                    <a:lnT>
                      <a:noFill/>
                    </a:lnT>
                    <a:lnB w="9525" cap="flat" cmpd="sng" algn="ctr">
                      <a:solidFill>
                        <a:srgbClr val="9A9A9A">
                          <a:lumMod val="100000"/>
                        </a:srgbClr>
                      </a:solidFill>
                      <a:prstDash val="solid"/>
                      <a:round/>
                      <a:headEnd type="none" w="med" len="med"/>
                      <a:tailEnd type="none" w="med" len="med"/>
                    </a:lnB>
                  </a:tcPr>
                </a:tc>
                <a:tc>
                  <a:txBody>
                    <a:bodyPr/>
                    <a:lstStyle/>
                    <a:p>
                      <a:pPr algn="ctr" fontAlgn="b"/>
                      <a:endParaRPr lang="fr-FR" sz="1200" b="1" i="0" u="none" strike="noStrike">
                        <a:solidFill>
                          <a:srgbClr val="29BA74"/>
                        </a:solidFill>
                        <a:effectLst/>
                        <a:latin typeface="Calibri" panose="020F0502020204030204" pitchFamily="34" charset="0"/>
                      </a:endParaRPr>
                    </a:p>
                  </a:txBody>
                  <a:tcPr marL="0" marR="64262" marT="7620" marB="0" anchor="b">
                    <a:lnT>
                      <a:noFill/>
                    </a:lnT>
                    <a:lnB w="9525" cap="flat" cmpd="sng" algn="ctr">
                      <a:solidFill>
                        <a:srgbClr val="9A9A9A">
                          <a:lumMod val="100000"/>
                        </a:srgbClr>
                      </a:solidFill>
                      <a:prstDash val="solid"/>
                      <a:round/>
                      <a:headEnd type="none" w="med" len="med"/>
                      <a:tailEnd type="none" w="med" len="med"/>
                    </a:lnB>
                  </a:tcPr>
                </a:tc>
                <a:tc>
                  <a:txBody>
                    <a:bodyPr/>
                    <a:lstStyle/>
                    <a:p>
                      <a:pPr algn="ctr" fontAlgn="b"/>
                      <a:endParaRPr lang="fr-FR" sz="1200" b="1" i="0" u="none" strike="noStrike">
                        <a:solidFill>
                          <a:srgbClr val="29BA74"/>
                        </a:solidFill>
                        <a:effectLst/>
                        <a:latin typeface="Calibri" panose="020F0502020204030204" pitchFamily="34" charset="0"/>
                      </a:endParaRPr>
                    </a:p>
                  </a:txBody>
                  <a:tcPr marL="0" marR="64262" marT="7620" marB="0" anchor="b">
                    <a:lnT>
                      <a:noFill/>
                    </a:lnT>
                    <a:lnB w="9525" cap="flat" cmpd="sng" algn="ctr">
                      <a:solidFill>
                        <a:srgbClr val="9A9A9A">
                          <a:lumMod val="100000"/>
                        </a:srgbClr>
                      </a:solidFill>
                      <a:prstDash val="solid"/>
                      <a:round/>
                      <a:headEnd type="none" w="med" len="med"/>
                      <a:tailEnd type="none" w="med" len="med"/>
                    </a:lnB>
                  </a:tcPr>
                </a:tc>
                <a:tc>
                  <a:txBody>
                    <a:bodyPr/>
                    <a:lstStyle/>
                    <a:p>
                      <a:pPr algn="ctr" fontAlgn="b"/>
                      <a:endParaRPr lang="fr-FR" sz="1200" b="1" i="0" u="none" strike="noStrike">
                        <a:solidFill>
                          <a:srgbClr val="29BA74"/>
                        </a:solidFill>
                        <a:effectLst/>
                        <a:latin typeface="Calibri" panose="020F0502020204030204" pitchFamily="34" charset="0"/>
                      </a:endParaRPr>
                    </a:p>
                  </a:txBody>
                  <a:tcPr marL="0" marR="158718" marT="7620" marB="0" anchor="b">
                    <a:lnT>
                      <a:noFill/>
                    </a:lnT>
                    <a:lnB w="9525" cap="flat" cmpd="sng" algn="ctr">
                      <a:solidFill>
                        <a:srgbClr val="9A9A9A">
                          <a:lumMod val="100000"/>
                        </a:srgbClr>
                      </a:solidFill>
                      <a:prstDash val="solid"/>
                      <a:round/>
                      <a:headEnd type="none" w="med" len="med"/>
                      <a:tailEnd type="none" w="med" len="med"/>
                    </a:lnB>
                  </a:tcPr>
                </a:tc>
                <a:tc>
                  <a:txBody>
                    <a:bodyPr/>
                    <a:lstStyle/>
                    <a:p>
                      <a:pPr algn="ctr" fontAlgn="b"/>
                      <a:endParaRPr lang="fr-FR" sz="1200" b="1" i="0" u="none" strike="noStrike">
                        <a:solidFill>
                          <a:srgbClr val="29BA74"/>
                        </a:solidFill>
                        <a:effectLst/>
                        <a:latin typeface="Calibri" panose="020F0502020204030204" pitchFamily="34" charset="0"/>
                      </a:endParaRPr>
                    </a:p>
                  </a:txBody>
                  <a:tcPr marL="0" marR="158718" marT="7620" marB="0" anchor="b">
                    <a:lnT>
                      <a:noFill/>
                    </a:lnT>
                    <a:lnB w="9525" cap="flat" cmpd="sng" algn="ctr">
                      <a:solidFill>
                        <a:srgbClr val="9A9A9A">
                          <a:lumMod val="100000"/>
                        </a:srgbClr>
                      </a:solidFill>
                      <a:prstDash val="solid"/>
                      <a:round/>
                      <a:headEnd type="none" w="med" len="med"/>
                      <a:tailEnd type="none" w="med" len="med"/>
                    </a:lnB>
                  </a:tcPr>
                </a:tc>
                <a:tc>
                  <a:txBody>
                    <a:bodyPr/>
                    <a:lstStyle/>
                    <a:p>
                      <a:pPr algn="ctr" fontAlgn="b"/>
                      <a:endParaRPr lang="fr-FR" sz="1200" b="1" i="0" u="none" strike="noStrike">
                        <a:solidFill>
                          <a:srgbClr val="29BA74"/>
                        </a:solidFill>
                        <a:effectLst/>
                        <a:latin typeface="Calibri" panose="020F0502020204030204" pitchFamily="34" charset="0"/>
                      </a:endParaRPr>
                    </a:p>
                  </a:txBody>
                  <a:tcPr marL="0" marR="158718" marT="7620" marB="0" anchor="b">
                    <a:lnT>
                      <a:noFill/>
                    </a:lnT>
                    <a:lnB w="9525" cap="flat" cmpd="sng" algn="ctr">
                      <a:solidFill>
                        <a:srgbClr val="9A9A9A">
                          <a:lumMod val="100000"/>
                        </a:srgbClr>
                      </a:solidFill>
                      <a:prstDash val="solid"/>
                      <a:round/>
                      <a:headEnd type="none" w="med" len="med"/>
                      <a:tailEnd type="none" w="med" len="med"/>
                    </a:lnB>
                  </a:tcPr>
                </a:tc>
                <a:tc>
                  <a:txBody>
                    <a:bodyPr/>
                    <a:lstStyle/>
                    <a:p>
                      <a:pPr algn="ctr" fontAlgn="b"/>
                      <a:endParaRPr lang="fr-FR" sz="1200" b="1" i="0" u="none" strike="noStrike">
                        <a:solidFill>
                          <a:srgbClr val="29BA74"/>
                        </a:solidFill>
                        <a:effectLst/>
                        <a:latin typeface="Calibri" panose="020F0502020204030204" pitchFamily="34" charset="0"/>
                      </a:endParaRPr>
                    </a:p>
                  </a:txBody>
                  <a:tcPr marL="0" marR="158718" marT="7620" marB="0" anchor="b">
                    <a:lnT>
                      <a:noFill/>
                    </a:lnT>
                    <a:lnB w="9525" cap="flat" cmpd="sng" algn="ctr">
                      <a:solidFill>
                        <a:srgbClr val="9A9A9A">
                          <a:lumMod val="100000"/>
                        </a:srgbClr>
                      </a:solidFill>
                      <a:prstDash val="solid"/>
                      <a:round/>
                      <a:headEnd type="none" w="med" len="med"/>
                      <a:tailEnd type="none" w="med" len="med"/>
                    </a:lnB>
                  </a:tcPr>
                </a:tc>
                <a:tc>
                  <a:txBody>
                    <a:bodyPr/>
                    <a:lstStyle/>
                    <a:p>
                      <a:pPr algn="ctr" fontAlgn="b"/>
                      <a:endParaRPr lang="fr-FR" sz="1200" b="1" i="0" u="none" strike="noStrike">
                        <a:solidFill>
                          <a:srgbClr val="29BA74"/>
                        </a:solidFill>
                        <a:effectLst/>
                        <a:latin typeface="Calibri" panose="020F0502020204030204" pitchFamily="34" charset="0"/>
                      </a:endParaRPr>
                    </a:p>
                  </a:txBody>
                  <a:tcPr marL="0" marR="158718" marT="7620" marB="0" anchor="b">
                    <a:lnT>
                      <a:noFill/>
                    </a:lnT>
                    <a:lnB w="9525" cap="flat" cmpd="sng" algn="ctr">
                      <a:solidFill>
                        <a:srgbClr val="9A9A9A">
                          <a:lumMod val="100000"/>
                        </a:srgbClr>
                      </a:solidFill>
                      <a:prstDash val="solid"/>
                      <a:round/>
                      <a:headEnd type="none" w="med" len="med"/>
                      <a:tailEnd type="none" w="med" len="med"/>
                    </a:lnB>
                  </a:tcPr>
                </a:tc>
                <a:tc>
                  <a:txBody>
                    <a:bodyPr/>
                    <a:lstStyle/>
                    <a:p>
                      <a:pPr algn="ctr" fontAlgn="b"/>
                      <a:endParaRPr lang="fr-FR" sz="1200" b="1" i="0" u="none" strike="noStrike">
                        <a:solidFill>
                          <a:srgbClr val="29BA74"/>
                        </a:solidFill>
                        <a:effectLst/>
                        <a:latin typeface="Calibri" panose="020F0502020204030204" pitchFamily="34" charset="0"/>
                      </a:endParaRPr>
                    </a:p>
                  </a:txBody>
                  <a:tcPr marL="0" marR="158718" marT="7620" marB="0" anchor="b">
                    <a:lnT>
                      <a:noFill/>
                    </a:lnT>
                    <a:lnB w="9525" cap="flat" cmpd="sng" algn="ctr">
                      <a:solidFill>
                        <a:srgbClr val="9A9A9A">
                          <a:lumMod val="100000"/>
                        </a:srgbClr>
                      </a:solidFill>
                      <a:prstDash val="solid"/>
                      <a:round/>
                      <a:headEnd type="none" w="med" len="med"/>
                      <a:tailEnd type="none" w="med" len="med"/>
                    </a:lnB>
                  </a:tcPr>
                </a:tc>
                <a:extLst>
                  <a:ext uri="{0D108BD9-81ED-4DB2-BD59-A6C34878D82A}">
                    <a16:rowId xmlns:a16="http://schemas.microsoft.com/office/drawing/2014/main" val="10000"/>
                  </a:ext>
                </a:extLst>
              </a:tr>
              <a:tr h="430752">
                <a:tc>
                  <a:txBody>
                    <a:bodyPr/>
                    <a:lstStyle/>
                    <a:p>
                      <a:pPr algn="r" fontAlgn="b"/>
                      <a:r>
                        <a:rPr lang="fr-FR" sz="1400" u="none" strike="noStrike">
                          <a:solidFill>
                            <a:srgbClr val="29BA74"/>
                          </a:solidFill>
                          <a:effectLst/>
                        </a:rPr>
                        <a:t>Data </a:t>
                      </a:r>
                      <a:r>
                        <a:rPr lang="fr-FR" sz="1400" u="none" strike="noStrike" err="1">
                          <a:solidFill>
                            <a:srgbClr val="29BA74"/>
                          </a:solidFill>
                          <a:effectLst/>
                        </a:rPr>
                        <a:t>scientists</a:t>
                      </a:r>
                      <a:endParaRPr lang="fr-FR" sz="1400" b="1" i="0" u="none" strike="noStrike">
                        <a:solidFill>
                          <a:srgbClr val="29BA74"/>
                        </a:solidFill>
                        <a:effectLst/>
                        <a:latin typeface="Calibri" panose="020F0502020204030204" pitchFamily="34" charset="0"/>
                      </a:endParaRPr>
                    </a:p>
                  </a:txBody>
                  <a:tcPr marL="0" marR="20605" marT="7620" marB="0">
                    <a:lnT w="9525">
                      <a:solidFill>
                        <a:srgbClr val="9A9A9A">
                          <a:lumMod val="100000"/>
                        </a:srgbClr>
                      </a:solidFill>
                      <a:prstDash val="solid"/>
                    </a:lnT>
                    <a:lnB>
                      <a:noFill/>
                    </a:lnB>
                  </a:tcPr>
                </a:tc>
                <a:tc>
                  <a:txBody>
                    <a:bodyPr/>
                    <a:lstStyle/>
                    <a:p>
                      <a:pPr algn="ctr" rtl="0" fontAlgn="b"/>
                      <a:r>
                        <a:rPr lang="fr-FR" sz="1100" b="0" i="0" u="none" strike="noStrike">
                          <a:solidFill>
                            <a:srgbClr val="575757"/>
                          </a:solidFill>
                          <a:effectLst/>
                          <a:latin typeface="Trebuchet MS" panose="020B0603020202020204" pitchFamily="34" charset="0"/>
                        </a:rPr>
                        <a:t>3</a:t>
                      </a:r>
                    </a:p>
                  </a:txBody>
                  <a:tcPr marL="7620" marR="7620" marT="7620" marB="0" anchor="ctr">
                    <a:lnT w="9525">
                      <a:solidFill>
                        <a:srgbClr val="9A9A9A">
                          <a:lumMod val="100000"/>
                        </a:srgbClr>
                      </a:solidFill>
                      <a:prstDash val="solid"/>
                    </a:lnT>
                    <a:lnB>
                      <a:noFill/>
                    </a:lnB>
                  </a:tcPr>
                </a:tc>
                <a:tc>
                  <a:txBody>
                    <a:bodyPr/>
                    <a:lstStyle/>
                    <a:p>
                      <a:pPr algn="ctr" rtl="0" fontAlgn="b"/>
                      <a:r>
                        <a:rPr lang="fr-FR" sz="1100" b="0" i="0" u="none" strike="noStrike">
                          <a:solidFill>
                            <a:srgbClr val="575757"/>
                          </a:solidFill>
                          <a:effectLst/>
                          <a:latin typeface="Trebuchet MS" panose="020B0603020202020204" pitchFamily="34" charset="0"/>
                        </a:rPr>
                        <a:t>3</a:t>
                      </a:r>
                    </a:p>
                  </a:txBody>
                  <a:tcPr marL="7620" marR="7620" marT="7620" marB="0" anchor="ctr">
                    <a:lnT w="9525">
                      <a:solidFill>
                        <a:srgbClr val="9A9A9A">
                          <a:lumMod val="100000"/>
                        </a:srgbClr>
                      </a:solidFill>
                      <a:prstDash val="solid"/>
                    </a:lnT>
                    <a:lnB>
                      <a:noFill/>
                    </a:lnB>
                  </a:tcPr>
                </a:tc>
                <a:tc>
                  <a:txBody>
                    <a:bodyPr/>
                    <a:lstStyle/>
                    <a:p>
                      <a:pPr algn="ctr" rtl="0" fontAlgn="b"/>
                      <a:r>
                        <a:rPr lang="fr-FR" sz="1100" b="0" i="0" u="none" strike="noStrike">
                          <a:solidFill>
                            <a:srgbClr val="575757"/>
                          </a:solidFill>
                          <a:effectLst/>
                          <a:latin typeface="Trebuchet MS" panose="020B0603020202020204" pitchFamily="34" charset="0"/>
                        </a:rPr>
                        <a:t>3</a:t>
                      </a:r>
                    </a:p>
                  </a:txBody>
                  <a:tcPr marL="7620" marR="7620" marT="7620" marB="0" anchor="ctr">
                    <a:lnT w="9525">
                      <a:solidFill>
                        <a:srgbClr val="9A9A9A">
                          <a:lumMod val="100000"/>
                        </a:srgbClr>
                      </a:solidFill>
                      <a:prstDash val="solid"/>
                    </a:lnT>
                    <a:lnB>
                      <a:noFill/>
                    </a:lnB>
                  </a:tcPr>
                </a:tc>
                <a:tc>
                  <a:txBody>
                    <a:bodyPr/>
                    <a:lstStyle/>
                    <a:p>
                      <a:pPr algn="ctr" rtl="0" fontAlgn="b"/>
                      <a:r>
                        <a:rPr lang="fr-FR" sz="1100" b="0" i="0" u="none" strike="noStrike">
                          <a:solidFill>
                            <a:srgbClr val="575757"/>
                          </a:solidFill>
                          <a:effectLst/>
                          <a:latin typeface="Trebuchet MS" panose="020B0603020202020204" pitchFamily="34" charset="0"/>
                        </a:rPr>
                        <a:t>3</a:t>
                      </a:r>
                    </a:p>
                  </a:txBody>
                  <a:tcPr marL="7620" marR="7620" marT="7620" marB="0" anchor="ctr">
                    <a:lnT w="9525">
                      <a:solidFill>
                        <a:srgbClr val="9A9A9A">
                          <a:lumMod val="100000"/>
                        </a:srgbClr>
                      </a:solidFill>
                      <a:prstDash val="solid"/>
                    </a:lnT>
                    <a:lnB>
                      <a:noFill/>
                    </a:lnB>
                  </a:tcPr>
                </a:tc>
                <a:tc>
                  <a:txBody>
                    <a:bodyPr/>
                    <a:lstStyle/>
                    <a:p>
                      <a:pPr algn="ctr" rtl="0" fontAlgn="b"/>
                      <a:r>
                        <a:rPr lang="fr-FR" sz="1100" b="0" i="0" u="none" strike="noStrike">
                          <a:solidFill>
                            <a:srgbClr val="575757"/>
                          </a:solidFill>
                          <a:effectLst/>
                          <a:latin typeface="Trebuchet MS" panose="020B0603020202020204" pitchFamily="34" charset="0"/>
                        </a:rPr>
                        <a:t>1,5</a:t>
                      </a:r>
                    </a:p>
                  </a:txBody>
                  <a:tcPr marL="7620" marR="7620" marT="7620" marB="0" anchor="ctr">
                    <a:lnT w="9525">
                      <a:solidFill>
                        <a:srgbClr val="9A9A9A">
                          <a:lumMod val="100000"/>
                        </a:srgbClr>
                      </a:solidFill>
                      <a:prstDash val="solid"/>
                    </a:lnT>
                    <a:lnB>
                      <a:noFill/>
                    </a:lnB>
                  </a:tcPr>
                </a:tc>
                <a:tc>
                  <a:txBody>
                    <a:bodyPr/>
                    <a:lstStyle/>
                    <a:p>
                      <a:pPr algn="ctr" rtl="0" fontAlgn="b"/>
                      <a:r>
                        <a:rPr lang="fr-FR" sz="1100" b="0" i="0" u="none" strike="noStrike">
                          <a:solidFill>
                            <a:srgbClr val="575757"/>
                          </a:solidFill>
                          <a:effectLst/>
                          <a:latin typeface="Trebuchet MS" panose="020B0603020202020204" pitchFamily="34" charset="0"/>
                        </a:rPr>
                        <a:t>1,5</a:t>
                      </a:r>
                    </a:p>
                  </a:txBody>
                  <a:tcPr marL="7620" marR="7620" marT="7620" marB="0" anchor="ctr">
                    <a:lnT w="9525">
                      <a:solidFill>
                        <a:srgbClr val="9A9A9A">
                          <a:lumMod val="100000"/>
                        </a:srgbClr>
                      </a:solidFill>
                      <a:prstDash val="solid"/>
                    </a:lnT>
                    <a:lnB>
                      <a:noFill/>
                    </a:lnB>
                  </a:tcPr>
                </a:tc>
                <a:tc>
                  <a:txBody>
                    <a:bodyPr/>
                    <a:lstStyle/>
                    <a:p>
                      <a:pPr algn="ctr" rtl="0" fontAlgn="b"/>
                      <a:r>
                        <a:rPr lang="fr-FR" sz="1100" b="0" i="0" u="none" strike="noStrike">
                          <a:solidFill>
                            <a:srgbClr val="575757"/>
                          </a:solidFill>
                          <a:effectLst/>
                          <a:latin typeface="Trebuchet MS" panose="020B0603020202020204" pitchFamily="34" charset="0"/>
                        </a:rPr>
                        <a:t>0</a:t>
                      </a:r>
                    </a:p>
                  </a:txBody>
                  <a:tcPr marL="7620" marR="7620" marT="7620" marB="0" anchor="ctr">
                    <a:lnT w="9525">
                      <a:solidFill>
                        <a:srgbClr val="9A9A9A">
                          <a:lumMod val="100000"/>
                        </a:srgbClr>
                      </a:solidFill>
                      <a:prstDash val="solid"/>
                    </a:lnT>
                    <a:lnB>
                      <a:noFill/>
                    </a:lnB>
                  </a:tcPr>
                </a:tc>
                <a:tc>
                  <a:txBody>
                    <a:bodyPr/>
                    <a:lstStyle/>
                    <a:p>
                      <a:pPr algn="ctr" rtl="0" fontAlgn="b"/>
                      <a:r>
                        <a:rPr lang="fr-FR" sz="1100" b="0" i="0" u="none" strike="noStrike">
                          <a:solidFill>
                            <a:srgbClr val="575757"/>
                          </a:solidFill>
                          <a:effectLst/>
                          <a:latin typeface="Trebuchet MS" panose="020B0603020202020204" pitchFamily="34" charset="0"/>
                        </a:rPr>
                        <a:t>0</a:t>
                      </a:r>
                    </a:p>
                  </a:txBody>
                  <a:tcPr marL="7620" marR="7620" marT="7620" marB="0" anchor="ctr">
                    <a:lnT w="9525">
                      <a:solidFill>
                        <a:srgbClr val="9A9A9A">
                          <a:lumMod val="100000"/>
                        </a:srgbClr>
                      </a:solidFill>
                      <a:prstDash val="solid"/>
                    </a:lnT>
                    <a:lnB>
                      <a:noFill/>
                    </a:lnB>
                  </a:tcPr>
                </a:tc>
                <a:tc>
                  <a:txBody>
                    <a:bodyPr/>
                    <a:lstStyle/>
                    <a:p>
                      <a:pPr algn="ctr" rtl="0" fontAlgn="b"/>
                      <a:r>
                        <a:rPr lang="fr-FR" sz="1100" b="0" i="0" u="none" strike="noStrike">
                          <a:solidFill>
                            <a:srgbClr val="575757"/>
                          </a:solidFill>
                          <a:effectLst/>
                          <a:latin typeface="Trebuchet MS" panose="020B0603020202020204" pitchFamily="34" charset="0"/>
                        </a:rPr>
                        <a:t>0</a:t>
                      </a:r>
                    </a:p>
                  </a:txBody>
                  <a:tcPr marL="7620" marR="7620" marT="7620" marB="0" anchor="ctr">
                    <a:lnT w="9525">
                      <a:solidFill>
                        <a:srgbClr val="9A9A9A">
                          <a:lumMod val="100000"/>
                        </a:srgbClr>
                      </a:solidFill>
                      <a:prstDash val="solid"/>
                    </a:lnT>
                    <a:lnB>
                      <a:noFill/>
                    </a:lnB>
                  </a:tcPr>
                </a:tc>
                <a:tc>
                  <a:txBody>
                    <a:bodyPr/>
                    <a:lstStyle/>
                    <a:p>
                      <a:pPr algn="ctr" rtl="0" fontAlgn="b"/>
                      <a:r>
                        <a:rPr lang="fr-FR" sz="1100" b="0" i="0" u="none" strike="noStrike">
                          <a:solidFill>
                            <a:srgbClr val="575757"/>
                          </a:solidFill>
                          <a:effectLst/>
                          <a:latin typeface="Trebuchet MS" panose="020B0603020202020204" pitchFamily="34" charset="0"/>
                        </a:rPr>
                        <a:t>0</a:t>
                      </a:r>
                    </a:p>
                  </a:txBody>
                  <a:tcPr marL="7620" marR="7620" marT="7620" marB="0" anchor="ctr">
                    <a:lnT w="9525">
                      <a:solidFill>
                        <a:srgbClr val="9A9A9A">
                          <a:lumMod val="100000"/>
                        </a:srgbClr>
                      </a:solidFill>
                      <a:prstDash val="solid"/>
                    </a:lnT>
                    <a:lnB>
                      <a:noFill/>
                    </a:lnB>
                  </a:tcPr>
                </a:tc>
                <a:tc>
                  <a:txBody>
                    <a:bodyPr/>
                    <a:lstStyle/>
                    <a:p>
                      <a:pPr algn="ctr" rtl="0" fontAlgn="b"/>
                      <a:r>
                        <a:rPr lang="fr-FR" sz="1100" b="0" i="0" u="none" strike="noStrike">
                          <a:solidFill>
                            <a:srgbClr val="575757"/>
                          </a:solidFill>
                          <a:effectLst/>
                          <a:latin typeface="Trebuchet MS" panose="020B0603020202020204" pitchFamily="34" charset="0"/>
                        </a:rPr>
                        <a:t>0</a:t>
                      </a:r>
                    </a:p>
                  </a:txBody>
                  <a:tcPr marL="7620" marR="7620" marT="7620" marB="0" anchor="ctr">
                    <a:lnT w="9525">
                      <a:solidFill>
                        <a:srgbClr val="9A9A9A">
                          <a:lumMod val="100000"/>
                        </a:srgbClr>
                      </a:solidFill>
                      <a:prstDash val="solid"/>
                    </a:lnT>
                    <a:lnB>
                      <a:noFill/>
                    </a:lnB>
                  </a:tcPr>
                </a:tc>
                <a:tc>
                  <a:txBody>
                    <a:bodyPr/>
                    <a:lstStyle/>
                    <a:p>
                      <a:pPr algn="ctr" rtl="0" fontAlgn="b"/>
                      <a:r>
                        <a:rPr lang="fr-FR" sz="1100" b="0" i="0" u="none" strike="noStrike">
                          <a:solidFill>
                            <a:srgbClr val="575757"/>
                          </a:solidFill>
                          <a:effectLst/>
                          <a:latin typeface="Trebuchet MS" panose="020B0603020202020204" pitchFamily="34" charset="0"/>
                        </a:rPr>
                        <a:t>0</a:t>
                      </a:r>
                    </a:p>
                  </a:txBody>
                  <a:tcPr marL="7620" marR="7620" marT="7620" marB="0" anchor="ctr">
                    <a:lnT w="9525">
                      <a:solidFill>
                        <a:srgbClr val="9A9A9A">
                          <a:lumMod val="100000"/>
                        </a:srgbClr>
                      </a:solidFill>
                      <a:prstDash val="solid"/>
                    </a:lnT>
                    <a:lnB>
                      <a:noFill/>
                    </a:lnB>
                  </a:tcPr>
                </a:tc>
                <a:extLst>
                  <a:ext uri="{0D108BD9-81ED-4DB2-BD59-A6C34878D82A}">
                    <a16:rowId xmlns:a16="http://schemas.microsoft.com/office/drawing/2014/main" val="10001"/>
                  </a:ext>
                </a:extLst>
              </a:tr>
              <a:tr h="430752">
                <a:tc>
                  <a:txBody>
                    <a:bodyPr/>
                    <a:lstStyle/>
                    <a:p>
                      <a:pPr algn="r" fontAlgn="b"/>
                      <a:r>
                        <a:rPr lang="fr-FR" sz="1400" u="none" strike="noStrike" err="1">
                          <a:solidFill>
                            <a:srgbClr val="29BA74"/>
                          </a:solidFill>
                          <a:effectLst/>
                        </a:rPr>
                        <a:t>Deployment</a:t>
                      </a:r>
                      <a:r>
                        <a:rPr lang="fr-FR" sz="1400" u="none" strike="noStrike">
                          <a:solidFill>
                            <a:srgbClr val="29BA74"/>
                          </a:solidFill>
                          <a:effectLst/>
                        </a:rPr>
                        <a:t> Leads</a:t>
                      </a:r>
                      <a:endParaRPr lang="fr-FR" sz="1400" b="1" i="0" u="none" strike="noStrike">
                        <a:solidFill>
                          <a:srgbClr val="29BA74"/>
                        </a:solidFill>
                        <a:effectLst/>
                        <a:latin typeface="Calibri" panose="020F0502020204030204" pitchFamily="34" charset="0"/>
                      </a:endParaRPr>
                    </a:p>
                  </a:txBody>
                  <a:tcPr marL="0" marR="20605" marT="7620" marB="0">
                    <a:lnT>
                      <a:noFill/>
                    </a:lnT>
                    <a:lnB>
                      <a:noFill/>
                    </a:lnB>
                  </a:tcPr>
                </a:tc>
                <a:tc>
                  <a:txBody>
                    <a:bodyPr/>
                    <a:lstStyle/>
                    <a:p>
                      <a:pPr algn="ctr" rtl="0" fontAlgn="b"/>
                      <a:r>
                        <a:rPr lang="fr-FR" sz="1100" b="0" i="0" u="none" strike="noStrike">
                          <a:solidFill>
                            <a:srgbClr val="575757"/>
                          </a:solidFill>
                          <a:effectLst/>
                          <a:latin typeface="Trebuchet MS" panose="020B0603020202020204" pitchFamily="34" charset="0"/>
                        </a:rPr>
                        <a:t>3</a:t>
                      </a:r>
                    </a:p>
                  </a:txBody>
                  <a:tcPr marL="7620" marR="7620" marT="7620" marB="0" anchor="ctr">
                    <a:lnT>
                      <a:noFill/>
                    </a:lnT>
                    <a:lnB>
                      <a:noFill/>
                    </a:lnB>
                  </a:tcPr>
                </a:tc>
                <a:tc>
                  <a:txBody>
                    <a:bodyPr/>
                    <a:lstStyle/>
                    <a:p>
                      <a:pPr algn="ctr" rtl="0" fontAlgn="b"/>
                      <a:r>
                        <a:rPr lang="fr-FR" sz="1100" b="0" i="0" u="none" strike="noStrike">
                          <a:solidFill>
                            <a:srgbClr val="575757"/>
                          </a:solidFill>
                          <a:effectLst/>
                          <a:latin typeface="Trebuchet MS" panose="020B0603020202020204" pitchFamily="34" charset="0"/>
                        </a:rPr>
                        <a:t>3</a:t>
                      </a:r>
                    </a:p>
                  </a:txBody>
                  <a:tcPr marL="7620" marR="7620" marT="7620" marB="0" anchor="ctr">
                    <a:lnT>
                      <a:noFill/>
                    </a:lnT>
                    <a:lnB>
                      <a:noFill/>
                    </a:lnB>
                  </a:tcPr>
                </a:tc>
                <a:tc>
                  <a:txBody>
                    <a:bodyPr/>
                    <a:lstStyle/>
                    <a:p>
                      <a:pPr algn="ctr" rtl="0" fontAlgn="b"/>
                      <a:r>
                        <a:rPr lang="fr-FR" sz="1100" b="0" i="0" u="none" strike="noStrike">
                          <a:solidFill>
                            <a:srgbClr val="575757"/>
                          </a:solidFill>
                          <a:effectLst/>
                          <a:latin typeface="Trebuchet MS" panose="020B0603020202020204" pitchFamily="34" charset="0"/>
                        </a:rPr>
                        <a:t>3</a:t>
                      </a:r>
                    </a:p>
                  </a:txBody>
                  <a:tcPr marL="7620" marR="7620" marT="7620" marB="0" anchor="ctr">
                    <a:lnT>
                      <a:noFill/>
                    </a:lnT>
                    <a:lnB>
                      <a:noFill/>
                    </a:lnB>
                  </a:tcPr>
                </a:tc>
                <a:tc>
                  <a:txBody>
                    <a:bodyPr/>
                    <a:lstStyle/>
                    <a:p>
                      <a:pPr algn="ctr" rtl="0" fontAlgn="b"/>
                      <a:r>
                        <a:rPr lang="fr-FR" sz="1100" b="0" i="0" u="none" strike="noStrike">
                          <a:solidFill>
                            <a:srgbClr val="575757"/>
                          </a:solidFill>
                          <a:effectLst/>
                          <a:latin typeface="Trebuchet MS" panose="020B0603020202020204" pitchFamily="34" charset="0"/>
                        </a:rPr>
                        <a:t>3</a:t>
                      </a:r>
                    </a:p>
                  </a:txBody>
                  <a:tcPr marL="7620" marR="7620" marT="7620" marB="0" anchor="ctr">
                    <a:lnT>
                      <a:noFill/>
                    </a:lnT>
                    <a:lnB>
                      <a:noFill/>
                    </a:lnB>
                  </a:tcPr>
                </a:tc>
                <a:tc>
                  <a:txBody>
                    <a:bodyPr/>
                    <a:lstStyle/>
                    <a:p>
                      <a:pPr algn="ctr" rtl="0" fontAlgn="b"/>
                      <a:r>
                        <a:rPr lang="fr-FR" sz="1100" b="0" i="0" u="none" strike="noStrike">
                          <a:solidFill>
                            <a:srgbClr val="575757"/>
                          </a:solidFill>
                          <a:effectLst/>
                          <a:latin typeface="Trebuchet MS" panose="020B0603020202020204" pitchFamily="34" charset="0"/>
                        </a:rPr>
                        <a:t>3</a:t>
                      </a:r>
                    </a:p>
                  </a:txBody>
                  <a:tcPr marL="7620" marR="7620" marT="7620" marB="0" anchor="ctr">
                    <a:lnT>
                      <a:noFill/>
                    </a:lnT>
                    <a:lnB>
                      <a:noFill/>
                    </a:lnB>
                  </a:tcPr>
                </a:tc>
                <a:tc>
                  <a:txBody>
                    <a:bodyPr/>
                    <a:lstStyle/>
                    <a:p>
                      <a:pPr algn="ctr" rtl="0" fontAlgn="b"/>
                      <a:r>
                        <a:rPr lang="fr-FR" sz="1100" b="0" i="0" u="none" strike="noStrike">
                          <a:solidFill>
                            <a:srgbClr val="575757"/>
                          </a:solidFill>
                          <a:effectLst/>
                          <a:latin typeface="Trebuchet MS" panose="020B0603020202020204" pitchFamily="34" charset="0"/>
                        </a:rPr>
                        <a:t>3</a:t>
                      </a:r>
                    </a:p>
                  </a:txBody>
                  <a:tcPr marL="7620" marR="7620" marT="7620" marB="0" anchor="ctr">
                    <a:lnT>
                      <a:noFill/>
                    </a:lnT>
                    <a:lnB>
                      <a:noFill/>
                    </a:lnB>
                  </a:tcPr>
                </a:tc>
                <a:tc>
                  <a:txBody>
                    <a:bodyPr/>
                    <a:lstStyle/>
                    <a:p>
                      <a:pPr algn="ctr" rtl="0" fontAlgn="b"/>
                      <a:r>
                        <a:rPr lang="fr-FR" sz="1100" b="0" i="0" u="none" strike="noStrike">
                          <a:solidFill>
                            <a:srgbClr val="575757"/>
                          </a:solidFill>
                          <a:effectLst/>
                          <a:latin typeface="Trebuchet MS" panose="020B0603020202020204" pitchFamily="34" charset="0"/>
                        </a:rPr>
                        <a:t>0</a:t>
                      </a:r>
                    </a:p>
                  </a:txBody>
                  <a:tcPr marL="7620" marR="7620" marT="7620" marB="0" anchor="ctr">
                    <a:lnT>
                      <a:noFill/>
                    </a:lnT>
                    <a:lnB>
                      <a:noFill/>
                    </a:lnB>
                  </a:tcPr>
                </a:tc>
                <a:tc>
                  <a:txBody>
                    <a:bodyPr/>
                    <a:lstStyle/>
                    <a:p>
                      <a:pPr algn="ctr" rtl="0" fontAlgn="b"/>
                      <a:r>
                        <a:rPr lang="fr-FR" sz="1100" b="0" i="0" u="none" strike="noStrike">
                          <a:solidFill>
                            <a:srgbClr val="575757"/>
                          </a:solidFill>
                          <a:effectLst/>
                          <a:latin typeface="Trebuchet MS" panose="020B0603020202020204" pitchFamily="34" charset="0"/>
                        </a:rPr>
                        <a:t>0</a:t>
                      </a:r>
                    </a:p>
                  </a:txBody>
                  <a:tcPr marL="7620" marR="7620" marT="7620" marB="0" anchor="ctr">
                    <a:lnT>
                      <a:noFill/>
                    </a:lnT>
                    <a:lnB>
                      <a:noFill/>
                    </a:lnB>
                  </a:tcPr>
                </a:tc>
                <a:tc>
                  <a:txBody>
                    <a:bodyPr/>
                    <a:lstStyle/>
                    <a:p>
                      <a:pPr algn="ctr" rtl="0" fontAlgn="b"/>
                      <a:r>
                        <a:rPr lang="fr-FR" sz="1100" b="0" i="0" u="none" strike="noStrike">
                          <a:solidFill>
                            <a:srgbClr val="575757"/>
                          </a:solidFill>
                          <a:effectLst/>
                          <a:latin typeface="Trebuchet MS" panose="020B0603020202020204" pitchFamily="34" charset="0"/>
                        </a:rPr>
                        <a:t>0</a:t>
                      </a:r>
                    </a:p>
                  </a:txBody>
                  <a:tcPr marL="7620" marR="7620" marT="7620" marB="0" anchor="ctr">
                    <a:lnT>
                      <a:noFill/>
                    </a:lnT>
                    <a:lnB>
                      <a:noFill/>
                    </a:lnB>
                  </a:tcPr>
                </a:tc>
                <a:tc>
                  <a:txBody>
                    <a:bodyPr/>
                    <a:lstStyle/>
                    <a:p>
                      <a:pPr algn="ctr" rtl="0" fontAlgn="b"/>
                      <a:r>
                        <a:rPr lang="fr-FR" sz="1100" b="0" i="0" u="none" strike="noStrike">
                          <a:solidFill>
                            <a:srgbClr val="575757"/>
                          </a:solidFill>
                          <a:effectLst/>
                          <a:latin typeface="Trebuchet MS" panose="020B0603020202020204" pitchFamily="34" charset="0"/>
                        </a:rPr>
                        <a:t>0</a:t>
                      </a:r>
                    </a:p>
                  </a:txBody>
                  <a:tcPr marL="7620" marR="7620" marT="7620" marB="0" anchor="ctr">
                    <a:lnT>
                      <a:noFill/>
                    </a:lnT>
                    <a:lnB>
                      <a:noFill/>
                    </a:lnB>
                  </a:tcPr>
                </a:tc>
                <a:tc>
                  <a:txBody>
                    <a:bodyPr/>
                    <a:lstStyle/>
                    <a:p>
                      <a:pPr algn="ctr" rtl="0" fontAlgn="b"/>
                      <a:r>
                        <a:rPr lang="fr-FR" sz="1100" b="0" i="0" u="none" strike="noStrike">
                          <a:solidFill>
                            <a:srgbClr val="575757"/>
                          </a:solidFill>
                          <a:effectLst/>
                          <a:latin typeface="Trebuchet MS" panose="020B0603020202020204" pitchFamily="34" charset="0"/>
                        </a:rPr>
                        <a:t>0</a:t>
                      </a:r>
                    </a:p>
                  </a:txBody>
                  <a:tcPr marL="7620" marR="7620" marT="7620" marB="0" anchor="ctr">
                    <a:lnT>
                      <a:noFill/>
                    </a:lnT>
                    <a:lnB>
                      <a:noFill/>
                    </a:lnB>
                  </a:tcPr>
                </a:tc>
                <a:tc>
                  <a:txBody>
                    <a:bodyPr/>
                    <a:lstStyle/>
                    <a:p>
                      <a:pPr algn="ctr" rtl="0" fontAlgn="b"/>
                      <a:r>
                        <a:rPr lang="fr-FR" sz="1100" b="0" i="0" u="none" strike="noStrike">
                          <a:solidFill>
                            <a:srgbClr val="575757"/>
                          </a:solidFill>
                          <a:effectLst/>
                          <a:latin typeface="Trebuchet MS" panose="020B0603020202020204" pitchFamily="34" charset="0"/>
                        </a:rPr>
                        <a:t>0</a:t>
                      </a:r>
                    </a:p>
                  </a:txBody>
                  <a:tcPr marL="7620" marR="7620" marT="7620" marB="0" anchor="ctr">
                    <a:lnT>
                      <a:noFill/>
                    </a:lnT>
                    <a:lnB>
                      <a:noFill/>
                    </a:lnB>
                  </a:tcPr>
                </a:tc>
                <a:extLst>
                  <a:ext uri="{0D108BD9-81ED-4DB2-BD59-A6C34878D82A}">
                    <a16:rowId xmlns:a16="http://schemas.microsoft.com/office/drawing/2014/main" val="10002"/>
                  </a:ext>
                </a:extLst>
              </a:tr>
              <a:tr h="430752">
                <a:tc>
                  <a:txBody>
                    <a:bodyPr/>
                    <a:lstStyle/>
                    <a:p>
                      <a:pPr algn="r" fontAlgn="b"/>
                      <a:r>
                        <a:rPr lang="fr-FR" sz="1400" u="none" strike="noStrike">
                          <a:solidFill>
                            <a:srgbClr val="29BA74"/>
                          </a:solidFill>
                          <a:effectLst/>
                        </a:rPr>
                        <a:t>Business Leads</a:t>
                      </a:r>
                      <a:endParaRPr lang="fr-FR" sz="1400" b="1" i="0" u="none" strike="noStrike">
                        <a:solidFill>
                          <a:srgbClr val="29BA74"/>
                        </a:solidFill>
                        <a:effectLst/>
                        <a:latin typeface="Calibri" panose="020F0502020204030204" pitchFamily="34" charset="0"/>
                      </a:endParaRPr>
                    </a:p>
                  </a:txBody>
                  <a:tcPr marL="0" marR="20605" marT="7620" marB="0">
                    <a:lnT>
                      <a:noFill/>
                    </a:lnT>
                    <a:lnB>
                      <a:noFill/>
                    </a:lnB>
                  </a:tcPr>
                </a:tc>
                <a:tc>
                  <a:txBody>
                    <a:bodyPr/>
                    <a:lstStyle/>
                    <a:p>
                      <a:pPr algn="ctr" rtl="0" fontAlgn="b"/>
                      <a:r>
                        <a:rPr lang="fr-FR" sz="1100" b="0" i="0" u="none" strike="noStrike">
                          <a:solidFill>
                            <a:srgbClr val="575757"/>
                          </a:solidFill>
                          <a:effectLst/>
                          <a:latin typeface="Trebuchet MS" panose="020B0603020202020204" pitchFamily="34" charset="0"/>
                        </a:rPr>
                        <a:t>1,5</a:t>
                      </a:r>
                    </a:p>
                  </a:txBody>
                  <a:tcPr marL="7620" marR="7620" marT="7620" marB="0" anchor="ctr">
                    <a:lnT>
                      <a:noFill/>
                    </a:lnT>
                    <a:lnB>
                      <a:noFill/>
                    </a:lnB>
                  </a:tcPr>
                </a:tc>
                <a:tc>
                  <a:txBody>
                    <a:bodyPr/>
                    <a:lstStyle/>
                    <a:p>
                      <a:pPr algn="ctr" rtl="0" fontAlgn="b"/>
                      <a:r>
                        <a:rPr lang="fr-FR" sz="1100" b="0" i="0" u="none" strike="noStrike">
                          <a:solidFill>
                            <a:srgbClr val="575757"/>
                          </a:solidFill>
                          <a:effectLst/>
                          <a:latin typeface="Trebuchet MS" panose="020B0603020202020204" pitchFamily="34" charset="0"/>
                        </a:rPr>
                        <a:t>1,5</a:t>
                      </a:r>
                    </a:p>
                  </a:txBody>
                  <a:tcPr marL="7620" marR="7620" marT="7620" marB="0" anchor="ctr">
                    <a:lnT>
                      <a:noFill/>
                    </a:lnT>
                    <a:lnB>
                      <a:noFill/>
                    </a:lnB>
                  </a:tcPr>
                </a:tc>
                <a:tc>
                  <a:txBody>
                    <a:bodyPr/>
                    <a:lstStyle/>
                    <a:p>
                      <a:pPr algn="ctr" rtl="0" fontAlgn="b"/>
                      <a:r>
                        <a:rPr lang="fr-FR" sz="1100" b="0" i="0" u="none" strike="noStrike">
                          <a:solidFill>
                            <a:srgbClr val="575757"/>
                          </a:solidFill>
                          <a:effectLst/>
                          <a:latin typeface="Trebuchet MS" panose="020B0603020202020204" pitchFamily="34" charset="0"/>
                        </a:rPr>
                        <a:t>1,5</a:t>
                      </a:r>
                    </a:p>
                  </a:txBody>
                  <a:tcPr marL="7620" marR="7620" marT="7620" marB="0" anchor="ctr">
                    <a:lnT>
                      <a:noFill/>
                    </a:lnT>
                    <a:lnB>
                      <a:noFill/>
                    </a:lnB>
                  </a:tcPr>
                </a:tc>
                <a:tc>
                  <a:txBody>
                    <a:bodyPr/>
                    <a:lstStyle/>
                    <a:p>
                      <a:pPr algn="ctr" rtl="0" fontAlgn="b"/>
                      <a:r>
                        <a:rPr lang="fr-FR" sz="1100" b="0" i="0" u="none" strike="noStrike">
                          <a:solidFill>
                            <a:srgbClr val="575757"/>
                          </a:solidFill>
                          <a:effectLst/>
                          <a:latin typeface="Trebuchet MS" panose="020B0603020202020204" pitchFamily="34" charset="0"/>
                        </a:rPr>
                        <a:t>1,5</a:t>
                      </a:r>
                    </a:p>
                  </a:txBody>
                  <a:tcPr marL="7620" marR="7620" marT="7620" marB="0" anchor="ctr">
                    <a:lnT>
                      <a:noFill/>
                    </a:lnT>
                    <a:lnB>
                      <a:noFill/>
                    </a:lnB>
                  </a:tcPr>
                </a:tc>
                <a:tc>
                  <a:txBody>
                    <a:bodyPr/>
                    <a:lstStyle/>
                    <a:p>
                      <a:pPr algn="ctr" rtl="0" fontAlgn="b"/>
                      <a:r>
                        <a:rPr lang="fr-FR" sz="1100" b="0" i="0" u="none" strike="noStrike">
                          <a:solidFill>
                            <a:srgbClr val="575757"/>
                          </a:solidFill>
                          <a:effectLst/>
                          <a:latin typeface="Trebuchet MS" panose="020B0603020202020204" pitchFamily="34" charset="0"/>
                        </a:rPr>
                        <a:t>1,5</a:t>
                      </a:r>
                    </a:p>
                  </a:txBody>
                  <a:tcPr marL="7620" marR="7620" marT="7620" marB="0" anchor="ctr">
                    <a:lnT>
                      <a:noFill/>
                    </a:lnT>
                    <a:lnB>
                      <a:noFill/>
                    </a:lnB>
                  </a:tcPr>
                </a:tc>
                <a:tc>
                  <a:txBody>
                    <a:bodyPr/>
                    <a:lstStyle/>
                    <a:p>
                      <a:pPr algn="ctr" rtl="0" fontAlgn="b"/>
                      <a:r>
                        <a:rPr lang="fr-FR" sz="1100" b="0" i="0" u="none" strike="noStrike">
                          <a:solidFill>
                            <a:srgbClr val="575757"/>
                          </a:solidFill>
                          <a:effectLst/>
                          <a:latin typeface="Trebuchet MS" panose="020B0603020202020204" pitchFamily="34" charset="0"/>
                        </a:rPr>
                        <a:t>1,5</a:t>
                      </a:r>
                    </a:p>
                  </a:txBody>
                  <a:tcPr marL="7620" marR="7620" marT="7620" marB="0" anchor="ctr">
                    <a:lnT>
                      <a:noFill/>
                    </a:lnT>
                    <a:lnB>
                      <a:noFill/>
                    </a:lnB>
                  </a:tcPr>
                </a:tc>
                <a:tc>
                  <a:txBody>
                    <a:bodyPr/>
                    <a:lstStyle/>
                    <a:p>
                      <a:pPr algn="ctr" rtl="0" fontAlgn="b"/>
                      <a:r>
                        <a:rPr lang="fr-FR" sz="1100" b="0" i="0" u="none" strike="noStrike">
                          <a:solidFill>
                            <a:srgbClr val="575757"/>
                          </a:solidFill>
                          <a:effectLst/>
                          <a:latin typeface="Trebuchet MS" panose="020B0603020202020204" pitchFamily="34" charset="0"/>
                        </a:rPr>
                        <a:t>1,5</a:t>
                      </a:r>
                    </a:p>
                  </a:txBody>
                  <a:tcPr marL="7620" marR="7620" marT="7620" marB="0" anchor="ctr">
                    <a:lnT>
                      <a:noFill/>
                    </a:lnT>
                    <a:lnB>
                      <a:noFill/>
                    </a:lnB>
                  </a:tcPr>
                </a:tc>
                <a:tc>
                  <a:txBody>
                    <a:bodyPr/>
                    <a:lstStyle/>
                    <a:p>
                      <a:pPr algn="ctr" rtl="0" fontAlgn="b"/>
                      <a:r>
                        <a:rPr lang="fr-FR" sz="1100" b="0" i="0" u="none" strike="noStrike">
                          <a:solidFill>
                            <a:srgbClr val="575757"/>
                          </a:solidFill>
                          <a:effectLst/>
                          <a:latin typeface="Trebuchet MS" panose="020B0603020202020204" pitchFamily="34" charset="0"/>
                        </a:rPr>
                        <a:t>1,5</a:t>
                      </a:r>
                    </a:p>
                  </a:txBody>
                  <a:tcPr marL="7620" marR="7620" marT="7620" marB="0" anchor="ctr">
                    <a:lnT>
                      <a:noFill/>
                    </a:lnT>
                    <a:lnB>
                      <a:noFill/>
                    </a:lnB>
                  </a:tcPr>
                </a:tc>
                <a:tc>
                  <a:txBody>
                    <a:bodyPr/>
                    <a:lstStyle/>
                    <a:p>
                      <a:pPr algn="ctr" rtl="0" fontAlgn="b"/>
                      <a:r>
                        <a:rPr lang="fr-FR" sz="1100" b="0" i="0" u="none" strike="noStrike">
                          <a:solidFill>
                            <a:srgbClr val="575757"/>
                          </a:solidFill>
                          <a:effectLst/>
                          <a:latin typeface="Trebuchet MS" panose="020B0603020202020204" pitchFamily="34" charset="0"/>
                        </a:rPr>
                        <a:t>1,5</a:t>
                      </a:r>
                    </a:p>
                  </a:txBody>
                  <a:tcPr marL="7620" marR="7620" marT="7620" marB="0" anchor="ctr">
                    <a:lnT>
                      <a:noFill/>
                    </a:lnT>
                    <a:lnB>
                      <a:noFill/>
                    </a:lnB>
                  </a:tcPr>
                </a:tc>
                <a:tc>
                  <a:txBody>
                    <a:bodyPr/>
                    <a:lstStyle/>
                    <a:p>
                      <a:pPr algn="ctr" rtl="0" fontAlgn="b"/>
                      <a:r>
                        <a:rPr lang="fr-FR" sz="1100" b="0" i="0" u="none" strike="noStrike">
                          <a:solidFill>
                            <a:srgbClr val="575757"/>
                          </a:solidFill>
                          <a:effectLst/>
                          <a:latin typeface="Trebuchet MS" panose="020B0603020202020204" pitchFamily="34" charset="0"/>
                        </a:rPr>
                        <a:t>1,5</a:t>
                      </a:r>
                    </a:p>
                  </a:txBody>
                  <a:tcPr marL="7620" marR="7620" marT="7620" marB="0" anchor="ctr">
                    <a:lnT>
                      <a:noFill/>
                    </a:lnT>
                    <a:lnB>
                      <a:noFill/>
                    </a:lnB>
                  </a:tcPr>
                </a:tc>
                <a:tc>
                  <a:txBody>
                    <a:bodyPr/>
                    <a:lstStyle/>
                    <a:p>
                      <a:pPr algn="ctr" rtl="0" fontAlgn="b"/>
                      <a:r>
                        <a:rPr lang="fr-FR" sz="1100" b="0" i="0" u="none" strike="noStrike">
                          <a:solidFill>
                            <a:srgbClr val="575757"/>
                          </a:solidFill>
                          <a:effectLst/>
                          <a:latin typeface="Trebuchet MS" panose="020B0603020202020204" pitchFamily="34" charset="0"/>
                        </a:rPr>
                        <a:t>1,5</a:t>
                      </a:r>
                    </a:p>
                  </a:txBody>
                  <a:tcPr marL="7620" marR="7620" marT="7620" marB="0" anchor="ctr">
                    <a:lnT>
                      <a:noFill/>
                    </a:lnT>
                    <a:lnB>
                      <a:noFill/>
                    </a:lnB>
                  </a:tcPr>
                </a:tc>
                <a:tc>
                  <a:txBody>
                    <a:bodyPr/>
                    <a:lstStyle/>
                    <a:p>
                      <a:pPr algn="ctr" rtl="0" fontAlgn="b"/>
                      <a:r>
                        <a:rPr lang="fr-FR" sz="1100" b="0" i="0" u="none" strike="noStrike">
                          <a:solidFill>
                            <a:srgbClr val="575757"/>
                          </a:solidFill>
                          <a:effectLst/>
                          <a:latin typeface="Trebuchet MS" panose="020B0603020202020204" pitchFamily="34" charset="0"/>
                        </a:rPr>
                        <a:t>1,5</a:t>
                      </a:r>
                    </a:p>
                  </a:txBody>
                  <a:tcPr marL="7620" marR="7620" marT="7620" marB="0" anchor="ctr">
                    <a:lnT>
                      <a:noFill/>
                    </a:lnT>
                    <a:lnB>
                      <a:noFill/>
                    </a:lnB>
                  </a:tcPr>
                </a:tc>
                <a:extLst>
                  <a:ext uri="{0D108BD9-81ED-4DB2-BD59-A6C34878D82A}">
                    <a16:rowId xmlns:a16="http://schemas.microsoft.com/office/drawing/2014/main" val="10003"/>
                  </a:ext>
                </a:extLst>
              </a:tr>
              <a:tr h="430752">
                <a:tc>
                  <a:txBody>
                    <a:bodyPr/>
                    <a:lstStyle/>
                    <a:p>
                      <a:pPr algn="r" fontAlgn="b"/>
                      <a:r>
                        <a:rPr lang="fr-FR" sz="1400" u="none" strike="noStrike">
                          <a:solidFill>
                            <a:srgbClr val="29BA74"/>
                          </a:solidFill>
                          <a:effectLst/>
                        </a:rPr>
                        <a:t>IT teams</a:t>
                      </a:r>
                      <a:endParaRPr lang="fr-FR" sz="1400" b="1" i="0" u="none" strike="noStrike">
                        <a:solidFill>
                          <a:srgbClr val="29BA74"/>
                        </a:solidFill>
                        <a:effectLst/>
                        <a:latin typeface="Calibri" panose="020F0502020204030204" pitchFamily="34" charset="0"/>
                      </a:endParaRPr>
                    </a:p>
                  </a:txBody>
                  <a:tcPr marL="0" marR="20605" marT="7620" marB="0">
                    <a:lnT>
                      <a:noFill/>
                    </a:lnT>
                  </a:tcPr>
                </a:tc>
                <a:tc>
                  <a:txBody>
                    <a:bodyPr/>
                    <a:lstStyle/>
                    <a:p>
                      <a:pPr algn="ctr" rtl="0" fontAlgn="b"/>
                      <a:r>
                        <a:rPr lang="fr-FR" sz="1100" b="0" i="0" u="none" strike="noStrike">
                          <a:solidFill>
                            <a:srgbClr val="575757"/>
                          </a:solidFill>
                          <a:effectLst/>
                          <a:latin typeface="Trebuchet MS" panose="020B0603020202020204" pitchFamily="34" charset="0"/>
                        </a:rPr>
                        <a:t>1,5</a:t>
                      </a:r>
                    </a:p>
                  </a:txBody>
                  <a:tcPr marL="7620" marR="7620" marT="7620" marB="0" anchor="ctr">
                    <a:lnT>
                      <a:noFill/>
                    </a:lnT>
                  </a:tcPr>
                </a:tc>
                <a:tc>
                  <a:txBody>
                    <a:bodyPr/>
                    <a:lstStyle/>
                    <a:p>
                      <a:pPr algn="ctr" rtl="0" fontAlgn="b"/>
                      <a:r>
                        <a:rPr lang="fr-FR" sz="1100" b="0" i="0" u="none" strike="noStrike">
                          <a:solidFill>
                            <a:srgbClr val="575757"/>
                          </a:solidFill>
                          <a:effectLst/>
                          <a:latin typeface="Trebuchet MS" panose="020B0603020202020204" pitchFamily="34" charset="0"/>
                        </a:rPr>
                        <a:t>1,5</a:t>
                      </a:r>
                    </a:p>
                  </a:txBody>
                  <a:tcPr marL="7620" marR="7620" marT="7620" marB="0" anchor="ctr">
                    <a:lnT>
                      <a:noFill/>
                    </a:lnT>
                  </a:tcPr>
                </a:tc>
                <a:tc>
                  <a:txBody>
                    <a:bodyPr/>
                    <a:lstStyle/>
                    <a:p>
                      <a:pPr algn="ctr" rtl="0" fontAlgn="b"/>
                      <a:r>
                        <a:rPr lang="fr-FR" sz="1100" b="0" i="0" u="none" strike="noStrike">
                          <a:solidFill>
                            <a:srgbClr val="575757"/>
                          </a:solidFill>
                          <a:effectLst/>
                          <a:latin typeface="Trebuchet MS" panose="020B0603020202020204" pitchFamily="34" charset="0"/>
                        </a:rPr>
                        <a:t>1,5</a:t>
                      </a:r>
                    </a:p>
                  </a:txBody>
                  <a:tcPr marL="7620" marR="7620" marT="7620" marB="0" anchor="ctr">
                    <a:lnT>
                      <a:noFill/>
                    </a:lnT>
                  </a:tcPr>
                </a:tc>
                <a:tc>
                  <a:txBody>
                    <a:bodyPr/>
                    <a:lstStyle/>
                    <a:p>
                      <a:pPr algn="ctr" rtl="0" fontAlgn="b"/>
                      <a:r>
                        <a:rPr lang="fr-FR" sz="1100" b="0" i="0" u="none" strike="noStrike">
                          <a:solidFill>
                            <a:srgbClr val="575757"/>
                          </a:solidFill>
                          <a:effectLst/>
                          <a:latin typeface="Trebuchet MS" panose="020B0603020202020204" pitchFamily="34" charset="0"/>
                        </a:rPr>
                        <a:t>1,5</a:t>
                      </a:r>
                    </a:p>
                  </a:txBody>
                  <a:tcPr marL="7620" marR="7620" marT="7620" marB="0" anchor="ctr">
                    <a:lnT>
                      <a:noFill/>
                    </a:lnT>
                  </a:tcPr>
                </a:tc>
                <a:tc>
                  <a:txBody>
                    <a:bodyPr/>
                    <a:lstStyle/>
                    <a:p>
                      <a:pPr algn="ctr" rtl="0" fontAlgn="b"/>
                      <a:r>
                        <a:rPr lang="fr-FR" sz="1100" b="0" i="0" u="none" strike="noStrike">
                          <a:solidFill>
                            <a:srgbClr val="575757"/>
                          </a:solidFill>
                          <a:effectLst/>
                          <a:latin typeface="Trebuchet MS" panose="020B0603020202020204" pitchFamily="34" charset="0"/>
                        </a:rPr>
                        <a:t>1,5</a:t>
                      </a:r>
                    </a:p>
                  </a:txBody>
                  <a:tcPr marL="7620" marR="7620" marT="7620" marB="0" anchor="ctr">
                    <a:lnT>
                      <a:noFill/>
                    </a:lnT>
                  </a:tcPr>
                </a:tc>
                <a:tc>
                  <a:txBody>
                    <a:bodyPr/>
                    <a:lstStyle/>
                    <a:p>
                      <a:pPr algn="ctr" rtl="0" fontAlgn="b"/>
                      <a:r>
                        <a:rPr lang="fr-FR" sz="1100" b="0" i="0" u="none" strike="noStrike">
                          <a:solidFill>
                            <a:srgbClr val="575757"/>
                          </a:solidFill>
                          <a:effectLst/>
                          <a:latin typeface="Trebuchet MS" panose="020B0603020202020204" pitchFamily="34" charset="0"/>
                        </a:rPr>
                        <a:t>1,5</a:t>
                      </a:r>
                    </a:p>
                  </a:txBody>
                  <a:tcPr marL="7620" marR="7620" marT="7620" marB="0" anchor="ctr">
                    <a:lnT>
                      <a:noFill/>
                    </a:lnT>
                  </a:tcPr>
                </a:tc>
                <a:tc>
                  <a:txBody>
                    <a:bodyPr/>
                    <a:lstStyle/>
                    <a:p>
                      <a:pPr algn="ctr" rtl="0" fontAlgn="b"/>
                      <a:r>
                        <a:rPr lang="fr-FR" sz="1100" b="0" i="0" u="none" strike="noStrike">
                          <a:solidFill>
                            <a:srgbClr val="575757"/>
                          </a:solidFill>
                          <a:effectLst/>
                          <a:latin typeface="Trebuchet MS" panose="020B0603020202020204" pitchFamily="34" charset="0"/>
                        </a:rPr>
                        <a:t>0</a:t>
                      </a:r>
                    </a:p>
                  </a:txBody>
                  <a:tcPr marL="7620" marR="7620" marT="7620" marB="0" anchor="ctr">
                    <a:lnT>
                      <a:noFill/>
                    </a:lnT>
                  </a:tcPr>
                </a:tc>
                <a:tc>
                  <a:txBody>
                    <a:bodyPr/>
                    <a:lstStyle/>
                    <a:p>
                      <a:pPr algn="ctr" rtl="0" fontAlgn="b"/>
                      <a:r>
                        <a:rPr lang="fr-FR" sz="1100" b="0" i="0" u="none" strike="noStrike">
                          <a:solidFill>
                            <a:srgbClr val="575757"/>
                          </a:solidFill>
                          <a:effectLst/>
                          <a:latin typeface="Trebuchet MS" panose="020B0603020202020204" pitchFamily="34" charset="0"/>
                        </a:rPr>
                        <a:t>0</a:t>
                      </a:r>
                    </a:p>
                  </a:txBody>
                  <a:tcPr marL="7620" marR="7620" marT="7620" marB="0" anchor="ctr">
                    <a:lnT>
                      <a:noFill/>
                    </a:lnT>
                  </a:tcPr>
                </a:tc>
                <a:tc>
                  <a:txBody>
                    <a:bodyPr/>
                    <a:lstStyle/>
                    <a:p>
                      <a:pPr algn="ctr" rtl="0" fontAlgn="b"/>
                      <a:r>
                        <a:rPr lang="fr-FR" sz="1100" b="0" i="0" u="none" strike="noStrike">
                          <a:solidFill>
                            <a:srgbClr val="575757"/>
                          </a:solidFill>
                          <a:effectLst/>
                          <a:latin typeface="Trebuchet MS" panose="020B0603020202020204" pitchFamily="34" charset="0"/>
                        </a:rPr>
                        <a:t>0</a:t>
                      </a:r>
                    </a:p>
                  </a:txBody>
                  <a:tcPr marL="7620" marR="7620" marT="7620" marB="0" anchor="ctr">
                    <a:lnT>
                      <a:noFill/>
                    </a:lnT>
                  </a:tcPr>
                </a:tc>
                <a:tc>
                  <a:txBody>
                    <a:bodyPr/>
                    <a:lstStyle/>
                    <a:p>
                      <a:pPr algn="ctr" rtl="0" fontAlgn="b"/>
                      <a:r>
                        <a:rPr lang="fr-FR" sz="1100" b="0" i="0" u="none" strike="noStrike">
                          <a:solidFill>
                            <a:srgbClr val="575757"/>
                          </a:solidFill>
                          <a:effectLst/>
                          <a:latin typeface="Trebuchet MS" panose="020B0603020202020204" pitchFamily="34" charset="0"/>
                        </a:rPr>
                        <a:t>0</a:t>
                      </a:r>
                    </a:p>
                  </a:txBody>
                  <a:tcPr marL="7620" marR="7620" marT="7620" marB="0" anchor="ctr">
                    <a:lnT>
                      <a:noFill/>
                    </a:lnT>
                  </a:tcPr>
                </a:tc>
                <a:tc>
                  <a:txBody>
                    <a:bodyPr/>
                    <a:lstStyle/>
                    <a:p>
                      <a:pPr algn="ctr" rtl="0" fontAlgn="b"/>
                      <a:r>
                        <a:rPr lang="fr-FR" sz="1100" b="0" i="0" u="none" strike="noStrike">
                          <a:solidFill>
                            <a:srgbClr val="575757"/>
                          </a:solidFill>
                          <a:effectLst/>
                          <a:latin typeface="Trebuchet MS" panose="020B0603020202020204" pitchFamily="34" charset="0"/>
                        </a:rPr>
                        <a:t>0</a:t>
                      </a:r>
                    </a:p>
                  </a:txBody>
                  <a:tcPr marL="7620" marR="7620" marT="7620" marB="0" anchor="ctr">
                    <a:lnT>
                      <a:noFill/>
                    </a:lnT>
                  </a:tcPr>
                </a:tc>
                <a:tc>
                  <a:txBody>
                    <a:bodyPr/>
                    <a:lstStyle/>
                    <a:p>
                      <a:pPr algn="ctr" rtl="0" fontAlgn="b"/>
                      <a:r>
                        <a:rPr lang="fr-FR" sz="1100" b="0" i="0" u="none" strike="noStrike">
                          <a:solidFill>
                            <a:srgbClr val="575757"/>
                          </a:solidFill>
                          <a:effectLst/>
                          <a:latin typeface="Trebuchet MS" panose="020B0603020202020204" pitchFamily="34" charset="0"/>
                        </a:rPr>
                        <a:t>0</a:t>
                      </a:r>
                    </a:p>
                  </a:txBody>
                  <a:tcPr marL="7620" marR="7620" marT="7620" marB="0" anchor="ctr">
                    <a:lnT>
                      <a:noFill/>
                    </a:lnT>
                  </a:tcPr>
                </a:tc>
                <a:extLst>
                  <a:ext uri="{0D108BD9-81ED-4DB2-BD59-A6C34878D82A}">
                    <a16:rowId xmlns:a16="http://schemas.microsoft.com/office/drawing/2014/main" val="10004"/>
                  </a:ext>
                </a:extLst>
              </a:tr>
            </a:tbl>
          </a:graphicData>
        </a:graphic>
      </p:graphicFrame>
      <p:sp>
        <p:nvSpPr>
          <p:cNvPr id="27" name="TextBox 26"/>
          <p:cNvSpPr txBox="1"/>
          <p:nvPr/>
        </p:nvSpPr>
        <p:spPr>
          <a:xfrm>
            <a:off x="1735128" y="2379216"/>
            <a:ext cx="825623" cy="23082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i="1">
                <a:solidFill>
                  <a:srgbClr val="575757"/>
                </a:solidFill>
              </a:rPr>
              <a:t>1 month</a:t>
            </a:r>
          </a:p>
        </p:txBody>
      </p:sp>
      <p:sp>
        <p:nvSpPr>
          <p:cNvPr id="28" name="TextBox 27"/>
          <p:cNvSpPr txBox="1"/>
          <p:nvPr/>
        </p:nvSpPr>
        <p:spPr>
          <a:xfrm>
            <a:off x="2560751" y="2379216"/>
            <a:ext cx="825623" cy="23082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i="1">
                <a:solidFill>
                  <a:srgbClr val="575757"/>
                </a:solidFill>
              </a:rPr>
              <a:t>1 month</a:t>
            </a:r>
          </a:p>
        </p:txBody>
      </p:sp>
      <p:sp>
        <p:nvSpPr>
          <p:cNvPr id="34" name="TextBox 33"/>
          <p:cNvSpPr txBox="1"/>
          <p:nvPr/>
        </p:nvSpPr>
        <p:spPr>
          <a:xfrm>
            <a:off x="3495185" y="2379216"/>
            <a:ext cx="825623" cy="23082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i="1">
                <a:solidFill>
                  <a:srgbClr val="575757"/>
                </a:solidFill>
              </a:rPr>
              <a:t>1 month</a:t>
            </a:r>
          </a:p>
        </p:txBody>
      </p:sp>
      <p:sp>
        <p:nvSpPr>
          <p:cNvPr id="35" name="TextBox 34"/>
          <p:cNvSpPr txBox="1"/>
          <p:nvPr/>
        </p:nvSpPr>
        <p:spPr>
          <a:xfrm>
            <a:off x="4320808" y="2379216"/>
            <a:ext cx="825623" cy="23082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i="1">
                <a:solidFill>
                  <a:srgbClr val="575757"/>
                </a:solidFill>
              </a:rPr>
              <a:t>1 month</a:t>
            </a:r>
          </a:p>
        </p:txBody>
      </p:sp>
      <p:sp>
        <p:nvSpPr>
          <p:cNvPr id="36" name="TextBox 35"/>
          <p:cNvSpPr txBox="1"/>
          <p:nvPr/>
        </p:nvSpPr>
        <p:spPr>
          <a:xfrm>
            <a:off x="5215175" y="2379216"/>
            <a:ext cx="825623" cy="23082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i="1">
                <a:solidFill>
                  <a:srgbClr val="575757"/>
                </a:solidFill>
              </a:rPr>
              <a:t>1 month</a:t>
            </a:r>
          </a:p>
        </p:txBody>
      </p:sp>
      <p:sp>
        <p:nvSpPr>
          <p:cNvPr id="37" name="TextBox 36"/>
          <p:cNvSpPr txBox="1"/>
          <p:nvPr/>
        </p:nvSpPr>
        <p:spPr>
          <a:xfrm>
            <a:off x="6109542" y="2379216"/>
            <a:ext cx="825623" cy="23082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i="1">
                <a:solidFill>
                  <a:srgbClr val="575757"/>
                </a:solidFill>
              </a:rPr>
              <a:t>1 month</a:t>
            </a:r>
          </a:p>
        </p:txBody>
      </p:sp>
      <p:sp>
        <p:nvSpPr>
          <p:cNvPr id="38" name="TextBox 37"/>
          <p:cNvSpPr txBox="1"/>
          <p:nvPr/>
        </p:nvSpPr>
        <p:spPr>
          <a:xfrm>
            <a:off x="6890990" y="2379216"/>
            <a:ext cx="825623" cy="23082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i="1">
                <a:solidFill>
                  <a:srgbClr val="575757"/>
                </a:solidFill>
              </a:rPr>
              <a:t>1 month</a:t>
            </a:r>
          </a:p>
        </p:txBody>
      </p:sp>
      <p:sp>
        <p:nvSpPr>
          <p:cNvPr id="39" name="TextBox 38"/>
          <p:cNvSpPr txBox="1"/>
          <p:nvPr/>
        </p:nvSpPr>
        <p:spPr>
          <a:xfrm>
            <a:off x="7716613" y="2379216"/>
            <a:ext cx="825623" cy="23082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i="1">
                <a:solidFill>
                  <a:srgbClr val="575757"/>
                </a:solidFill>
              </a:rPr>
              <a:t>1 month</a:t>
            </a:r>
          </a:p>
        </p:txBody>
      </p:sp>
      <p:sp>
        <p:nvSpPr>
          <p:cNvPr id="40" name="TextBox 39"/>
          <p:cNvSpPr txBox="1"/>
          <p:nvPr/>
        </p:nvSpPr>
        <p:spPr>
          <a:xfrm>
            <a:off x="8498061" y="2379216"/>
            <a:ext cx="825623" cy="23082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i="1">
                <a:solidFill>
                  <a:srgbClr val="575757"/>
                </a:solidFill>
              </a:rPr>
              <a:t>1 month</a:t>
            </a:r>
          </a:p>
        </p:txBody>
      </p:sp>
      <p:sp>
        <p:nvSpPr>
          <p:cNvPr id="41" name="TextBox 40"/>
          <p:cNvSpPr txBox="1"/>
          <p:nvPr/>
        </p:nvSpPr>
        <p:spPr>
          <a:xfrm>
            <a:off x="9392428" y="2379216"/>
            <a:ext cx="825623" cy="23082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i="1">
                <a:solidFill>
                  <a:srgbClr val="575757"/>
                </a:solidFill>
              </a:rPr>
              <a:t>1 month</a:t>
            </a:r>
          </a:p>
        </p:txBody>
      </p:sp>
      <p:sp>
        <p:nvSpPr>
          <p:cNvPr id="42" name="TextBox 41"/>
          <p:cNvSpPr txBox="1"/>
          <p:nvPr/>
        </p:nvSpPr>
        <p:spPr>
          <a:xfrm>
            <a:off x="10173876" y="2379216"/>
            <a:ext cx="825623" cy="23082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i="1">
                <a:solidFill>
                  <a:srgbClr val="575757"/>
                </a:solidFill>
              </a:rPr>
              <a:t>1 month</a:t>
            </a:r>
          </a:p>
        </p:txBody>
      </p:sp>
      <p:sp>
        <p:nvSpPr>
          <p:cNvPr id="43" name="TextBox 42"/>
          <p:cNvSpPr txBox="1"/>
          <p:nvPr/>
        </p:nvSpPr>
        <p:spPr>
          <a:xfrm>
            <a:off x="10999499" y="2379216"/>
            <a:ext cx="825623" cy="23082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i="1">
                <a:solidFill>
                  <a:srgbClr val="575757"/>
                </a:solidFill>
              </a:rPr>
              <a:t>1 month</a:t>
            </a:r>
          </a:p>
        </p:txBody>
      </p:sp>
      <p:cxnSp>
        <p:nvCxnSpPr>
          <p:cNvPr id="46" name="Straight Arrow Connector 45"/>
          <p:cNvCxnSpPr/>
          <p:nvPr/>
        </p:nvCxnSpPr>
        <p:spPr>
          <a:xfrm flipV="1">
            <a:off x="1928364" y="2166150"/>
            <a:ext cx="1492210" cy="17756"/>
          </a:xfrm>
          <a:prstGeom prst="straightConnector1">
            <a:avLst/>
          </a:prstGeom>
          <a:ln w="9525" cap="rnd" cmpd="sng" algn="ctr">
            <a:solidFill>
              <a:srgbClr val="29BA74"/>
            </a:solidFill>
            <a:prstDash val="solid"/>
            <a:roun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4" name="TextBox 43"/>
          <p:cNvSpPr txBox="1"/>
          <p:nvPr/>
        </p:nvSpPr>
        <p:spPr>
          <a:xfrm>
            <a:off x="2201191" y="2032986"/>
            <a:ext cx="946559" cy="248575"/>
          </a:xfrm>
          <a:prstGeom prst="rect">
            <a:avLst/>
          </a:prstGeom>
          <a:solidFill>
            <a:srgbClr val="F2F2F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i="1">
                <a:solidFill>
                  <a:srgbClr val="29BA74"/>
                </a:solidFill>
              </a:rPr>
              <a:t>Scoping</a:t>
            </a:r>
          </a:p>
        </p:txBody>
      </p:sp>
      <p:cxnSp>
        <p:nvCxnSpPr>
          <p:cNvPr id="48" name="Straight Arrow Connector 47"/>
          <p:cNvCxnSpPr/>
          <p:nvPr/>
        </p:nvCxnSpPr>
        <p:spPr>
          <a:xfrm flipV="1">
            <a:off x="3574703" y="2166150"/>
            <a:ext cx="1492210" cy="17756"/>
          </a:xfrm>
          <a:prstGeom prst="straightConnector1">
            <a:avLst/>
          </a:prstGeom>
          <a:ln w="9525" cap="rnd" cmpd="sng" algn="ctr">
            <a:solidFill>
              <a:srgbClr val="29BA74"/>
            </a:solidFill>
            <a:prstDash val="solid"/>
            <a:roun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9" name="TextBox 48"/>
          <p:cNvSpPr txBox="1"/>
          <p:nvPr/>
        </p:nvSpPr>
        <p:spPr>
          <a:xfrm>
            <a:off x="3748141" y="2032986"/>
            <a:ext cx="1145337" cy="248575"/>
          </a:xfrm>
          <a:prstGeom prst="rect">
            <a:avLst/>
          </a:prstGeom>
          <a:solidFill>
            <a:srgbClr val="F2F2F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i="1">
                <a:solidFill>
                  <a:srgbClr val="29BA74"/>
                </a:solidFill>
              </a:rPr>
              <a:t>Prototyping</a:t>
            </a:r>
          </a:p>
        </p:txBody>
      </p:sp>
      <p:cxnSp>
        <p:nvCxnSpPr>
          <p:cNvPr id="50" name="Straight Arrow Connector 49"/>
          <p:cNvCxnSpPr/>
          <p:nvPr/>
        </p:nvCxnSpPr>
        <p:spPr>
          <a:xfrm flipV="1">
            <a:off x="5363437" y="2166150"/>
            <a:ext cx="1492210" cy="17756"/>
          </a:xfrm>
          <a:prstGeom prst="straightConnector1">
            <a:avLst/>
          </a:prstGeom>
          <a:ln w="9525" cap="rnd" cmpd="sng" algn="ctr">
            <a:solidFill>
              <a:srgbClr val="29BA74"/>
            </a:solidFill>
            <a:prstDash val="solid"/>
            <a:roun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1" name="TextBox 50"/>
          <p:cNvSpPr txBox="1"/>
          <p:nvPr/>
        </p:nvSpPr>
        <p:spPr>
          <a:xfrm>
            <a:off x="5536875" y="2032986"/>
            <a:ext cx="1145337" cy="248575"/>
          </a:xfrm>
          <a:prstGeom prst="rect">
            <a:avLst/>
          </a:prstGeom>
          <a:solidFill>
            <a:srgbClr val="F2F2F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i="1">
                <a:solidFill>
                  <a:srgbClr val="29BA74"/>
                </a:solidFill>
              </a:rPr>
              <a:t>Validation</a:t>
            </a:r>
          </a:p>
        </p:txBody>
      </p:sp>
      <p:cxnSp>
        <p:nvCxnSpPr>
          <p:cNvPr id="52" name="Straight Arrow Connector 51"/>
          <p:cNvCxnSpPr/>
          <p:nvPr/>
        </p:nvCxnSpPr>
        <p:spPr>
          <a:xfrm flipV="1">
            <a:off x="7050832" y="2166150"/>
            <a:ext cx="4683192" cy="17756"/>
          </a:xfrm>
          <a:prstGeom prst="straightConnector1">
            <a:avLst/>
          </a:prstGeom>
          <a:ln w="9525" cap="rnd" cmpd="sng" algn="ctr">
            <a:solidFill>
              <a:srgbClr val="29BA74"/>
            </a:solidFill>
            <a:prstDash val="solid"/>
            <a:roun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3" name="TextBox 52"/>
          <p:cNvSpPr txBox="1"/>
          <p:nvPr/>
        </p:nvSpPr>
        <p:spPr>
          <a:xfrm>
            <a:off x="8819761" y="2032986"/>
            <a:ext cx="1145337" cy="248575"/>
          </a:xfrm>
          <a:prstGeom prst="rect">
            <a:avLst/>
          </a:prstGeom>
          <a:solidFill>
            <a:srgbClr val="F2F2F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i="1">
                <a:solidFill>
                  <a:srgbClr val="29BA74"/>
                </a:solidFill>
              </a:rPr>
              <a:t>Rollout</a:t>
            </a:r>
          </a:p>
        </p:txBody>
      </p:sp>
    </p:spTree>
    <p:extLst>
      <p:ext uri="{BB962C8B-B14F-4D97-AF65-F5344CB8AC3E}">
        <p14:creationId xmlns:p14="http://schemas.microsoft.com/office/powerpoint/2010/main" val="145969350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B6F7017-CCC7-C4BF-11A1-BC6D21A0A74F}"/>
              </a:ext>
            </a:extLst>
          </p:cNvPr>
          <p:cNvSpPr>
            <a:spLocks noGrp="1"/>
          </p:cNvSpPr>
          <p:nvPr>
            <p:ph type="title"/>
          </p:nvPr>
        </p:nvSpPr>
        <p:spPr/>
        <p:txBody>
          <a:bodyPr/>
          <a:lstStyle/>
          <a:p>
            <a:r>
              <a:rPr lang="fr-FR"/>
              <a:t>Annex 7b :</a:t>
            </a:r>
            <a:br>
              <a:rPr lang="fr-FR"/>
            </a:br>
            <a:r>
              <a:rPr lang="fr-FR" err="1"/>
              <a:t>Projects</a:t>
            </a:r>
            <a:r>
              <a:rPr lang="fr-FR"/>
              <a:t> </a:t>
            </a:r>
            <a:r>
              <a:rPr lang="fr-FR" err="1"/>
              <a:t>pricing</a:t>
            </a:r>
            <a:endParaRPr lang="fr-FR"/>
          </a:p>
        </p:txBody>
      </p:sp>
      <p:graphicFrame>
        <p:nvGraphicFramePr>
          <p:cNvPr id="4" name="Tableau 3">
            <a:extLst>
              <a:ext uri="{FF2B5EF4-FFF2-40B4-BE49-F238E27FC236}">
                <a16:creationId xmlns:a16="http://schemas.microsoft.com/office/drawing/2014/main" id="{D03074F4-F3B4-2C33-0F2D-4CB6D6F69301}"/>
              </a:ext>
            </a:extLst>
          </p:cNvPr>
          <p:cNvGraphicFramePr>
            <a:graphicFrameLocks noGrp="1"/>
          </p:cNvGraphicFramePr>
          <p:nvPr/>
        </p:nvGraphicFramePr>
        <p:xfrm>
          <a:off x="1056861" y="1731562"/>
          <a:ext cx="2286000" cy="1104900"/>
        </p:xfrm>
        <a:graphic>
          <a:graphicData uri="http://schemas.openxmlformats.org/drawingml/2006/table">
            <a:tbl>
              <a:tblPr>
                <a:tableStyleId>{5C22544A-7EE6-4342-B048-85BDC9FD1C3A}</a:tableStyleId>
              </a:tblPr>
              <a:tblGrid>
                <a:gridCol w="762000">
                  <a:extLst>
                    <a:ext uri="{9D8B030D-6E8A-4147-A177-3AD203B41FA5}">
                      <a16:colId xmlns:a16="http://schemas.microsoft.com/office/drawing/2014/main" val="3779223659"/>
                    </a:ext>
                  </a:extLst>
                </a:gridCol>
                <a:gridCol w="762000">
                  <a:extLst>
                    <a:ext uri="{9D8B030D-6E8A-4147-A177-3AD203B41FA5}">
                      <a16:colId xmlns:a16="http://schemas.microsoft.com/office/drawing/2014/main" val="2000829066"/>
                    </a:ext>
                  </a:extLst>
                </a:gridCol>
                <a:gridCol w="762000">
                  <a:extLst>
                    <a:ext uri="{9D8B030D-6E8A-4147-A177-3AD203B41FA5}">
                      <a16:colId xmlns:a16="http://schemas.microsoft.com/office/drawing/2014/main" val="892765681"/>
                    </a:ext>
                  </a:extLst>
                </a:gridCol>
              </a:tblGrid>
              <a:tr h="184150">
                <a:tc>
                  <a:txBody>
                    <a:bodyPr/>
                    <a:lstStyle/>
                    <a:p>
                      <a:pPr algn="l" fontAlgn="b"/>
                      <a:r>
                        <a:rPr lang="fr-FR" sz="1100" u="none" strike="noStrike">
                          <a:effectLst/>
                        </a:rPr>
                        <a:t>Projet 1</a:t>
                      </a:r>
                      <a:endParaRPr lang="fr-FR"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fr-FR" sz="1100" u="none" strike="noStrike">
                          <a:effectLst/>
                        </a:rPr>
                        <a:t>Nb de mois</a:t>
                      </a:r>
                      <a:endParaRPr lang="fr-FR"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fr-FR" sz="1100" u="none" strike="noStrike">
                          <a:effectLst/>
                        </a:rPr>
                        <a:t>Prix</a:t>
                      </a:r>
                      <a:endParaRPr lang="fr-FR"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2642355144"/>
                  </a:ext>
                </a:extLst>
              </a:tr>
              <a:tr h="184150">
                <a:tc>
                  <a:txBody>
                    <a:bodyPr/>
                    <a:lstStyle/>
                    <a:p>
                      <a:pPr algn="l" fontAlgn="b"/>
                      <a:r>
                        <a:rPr lang="fr-FR" sz="1100" u="none" strike="noStrike">
                          <a:effectLst/>
                        </a:rPr>
                        <a:t>Scoping</a:t>
                      </a:r>
                      <a:endParaRPr lang="fr-FR"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fr-FR" sz="1100" u="none" strike="noStrike">
                          <a:effectLst/>
                        </a:rPr>
                        <a:t>2</a:t>
                      </a:r>
                      <a:endParaRPr lang="fr-FR"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fr-FR" sz="1100" u="none" strike="noStrike">
                          <a:effectLst/>
                        </a:rPr>
                        <a:t>225000</a:t>
                      </a:r>
                      <a:endParaRPr lang="fr-FR"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1711280819"/>
                  </a:ext>
                </a:extLst>
              </a:tr>
              <a:tr h="184150">
                <a:tc>
                  <a:txBody>
                    <a:bodyPr/>
                    <a:lstStyle/>
                    <a:p>
                      <a:pPr algn="l" fontAlgn="b"/>
                      <a:r>
                        <a:rPr lang="fr-FR" sz="1100" u="none" strike="noStrike">
                          <a:effectLst/>
                        </a:rPr>
                        <a:t>Prototyping</a:t>
                      </a:r>
                      <a:endParaRPr lang="fr-FR"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fr-FR" sz="1100" u="none" strike="noStrike">
                          <a:effectLst/>
                        </a:rPr>
                        <a:t>2</a:t>
                      </a:r>
                      <a:endParaRPr lang="fr-FR"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fr-FR" sz="1100" u="none" strike="noStrike">
                          <a:effectLst/>
                        </a:rPr>
                        <a:t>225000</a:t>
                      </a:r>
                      <a:endParaRPr lang="fr-FR"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613379353"/>
                  </a:ext>
                </a:extLst>
              </a:tr>
              <a:tr h="184150">
                <a:tc>
                  <a:txBody>
                    <a:bodyPr/>
                    <a:lstStyle/>
                    <a:p>
                      <a:pPr algn="l" fontAlgn="b"/>
                      <a:r>
                        <a:rPr lang="fr-FR" sz="1100" u="none" strike="noStrike">
                          <a:effectLst/>
                        </a:rPr>
                        <a:t>Validation</a:t>
                      </a:r>
                      <a:endParaRPr lang="fr-FR"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fr-FR" sz="1100" u="none" strike="noStrike">
                          <a:effectLst/>
                        </a:rPr>
                        <a:t>2</a:t>
                      </a:r>
                      <a:endParaRPr lang="fr-FR"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fr-FR" sz="1100" u="none" strike="noStrike">
                          <a:effectLst/>
                        </a:rPr>
                        <a:t>187500</a:t>
                      </a:r>
                      <a:endParaRPr lang="fr-FR"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2772922249"/>
                  </a:ext>
                </a:extLst>
              </a:tr>
              <a:tr h="184150">
                <a:tc>
                  <a:txBody>
                    <a:bodyPr/>
                    <a:lstStyle/>
                    <a:p>
                      <a:pPr algn="l" fontAlgn="b"/>
                      <a:r>
                        <a:rPr lang="fr-FR" sz="1100" u="none" strike="noStrike">
                          <a:effectLst/>
                        </a:rPr>
                        <a:t>Roll out</a:t>
                      </a:r>
                      <a:endParaRPr lang="fr-FR"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fr-FR" sz="1100" u="none" strike="noStrike">
                          <a:effectLst/>
                        </a:rPr>
                        <a:t>4</a:t>
                      </a:r>
                      <a:endParaRPr lang="fr-FR"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fr-FR" sz="1100" u="none" strike="noStrike">
                          <a:effectLst/>
                        </a:rPr>
                        <a:t>75000</a:t>
                      </a:r>
                      <a:endParaRPr lang="fr-FR"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3886728525"/>
                  </a:ext>
                </a:extLst>
              </a:tr>
              <a:tr h="184150">
                <a:tc>
                  <a:txBody>
                    <a:bodyPr/>
                    <a:lstStyle/>
                    <a:p>
                      <a:pPr algn="l" fontAlgn="b"/>
                      <a:endParaRPr lang="fr-FR"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fr-FR" sz="1100" u="none" strike="noStrike">
                          <a:effectLst/>
                        </a:rPr>
                        <a:t>Total</a:t>
                      </a:r>
                      <a:endParaRPr lang="fr-FR"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fr-FR" sz="1100" u="none" strike="noStrike">
                          <a:effectLst/>
                        </a:rPr>
                        <a:t>712500</a:t>
                      </a:r>
                      <a:endParaRPr lang="fr-FR"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2659767964"/>
                  </a:ext>
                </a:extLst>
              </a:tr>
            </a:tbl>
          </a:graphicData>
        </a:graphic>
      </p:graphicFrame>
      <p:graphicFrame>
        <p:nvGraphicFramePr>
          <p:cNvPr id="5" name="Tableau 4">
            <a:extLst>
              <a:ext uri="{FF2B5EF4-FFF2-40B4-BE49-F238E27FC236}">
                <a16:creationId xmlns:a16="http://schemas.microsoft.com/office/drawing/2014/main" id="{22035224-E72C-BAFE-42C6-1084079D2FF8}"/>
              </a:ext>
            </a:extLst>
          </p:cNvPr>
          <p:cNvGraphicFramePr>
            <a:graphicFrameLocks noGrp="1"/>
          </p:cNvGraphicFramePr>
          <p:nvPr/>
        </p:nvGraphicFramePr>
        <p:xfrm>
          <a:off x="4778072" y="1731562"/>
          <a:ext cx="2286000" cy="1104900"/>
        </p:xfrm>
        <a:graphic>
          <a:graphicData uri="http://schemas.openxmlformats.org/drawingml/2006/table">
            <a:tbl>
              <a:tblPr>
                <a:tableStyleId>{5C22544A-7EE6-4342-B048-85BDC9FD1C3A}</a:tableStyleId>
              </a:tblPr>
              <a:tblGrid>
                <a:gridCol w="762000">
                  <a:extLst>
                    <a:ext uri="{9D8B030D-6E8A-4147-A177-3AD203B41FA5}">
                      <a16:colId xmlns:a16="http://schemas.microsoft.com/office/drawing/2014/main" val="2212966579"/>
                    </a:ext>
                  </a:extLst>
                </a:gridCol>
                <a:gridCol w="762000">
                  <a:extLst>
                    <a:ext uri="{9D8B030D-6E8A-4147-A177-3AD203B41FA5}">
                      <a16:colId xmlns:a16="http://schemas.microsoft.com/office/drawing/2014/main" val="2154195963"/>
                    </a:ext>
                  </a:extLst>
                </a:gridCol>
                <a:gridCol w="762000">
                  <a:extLst>
                    <a:ext uri="{9D8B030D-6E8A-4147-A177-3AD203B41FA5}">
                      <a16:colId xmlns:a16="http://schemas.microsoft.com/office/drawing/2014/main" val="2544223189"/>
                    </a:ext>
                  </a:extLst>
                </a:gridCol>
              </a:tblGrid>
              <a:tr h="184150">
                <a:tc>
                  <a:txBody>
                    <a:bodyPr/>
                    <a:lstStyle/>
                    <a:p>
                      <a:pPr algn="l" fontAlgn="b"/>
                      <a:r>
                        <a:rPr lang="fr-FR" sz="1100" u="none" strike="noStrike">
                          <a:effectLst/>
                        </a:rPr>
                        <a:t>Projet 2</a:t>
                      </a:r>
                      <a:endParaRPr lang="fr-FR"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fr-FR" sz="1100" u="none" strike="noStrike">
                          <a:effectLst/>
                        </a:rPr>
                        <a:t>Nb de mois</a:t>
                      </a:r>
                      <a:endParaRPr lang="fr-FR"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fr-FR" sz="1100" u="none" strike="noStrike">
                          <a:effectLst/>
                        </a:rPr>
                        <a:t>Prix</a:t>
                      </a:r>
                      <a:endParaRPr lang="fr-FR"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1673072864"/>
                  </a:ext>
                </a:extLst>
              </a:tr>
              <a:tr h="184150">
                <a:tc>
                  <a:txBody>
                    <a:bodyPr/>
                    <a:lstStyle/>
                    <a:p>
                      <a:pPr algn="l" fontAlgn="b"/>
                      <a:r>
                        <a:rPr lang="fr-FR" sz="1100" u="none" strike="noStrike">
                          <a:effectLst/>
                        </a:rPr>
                        <a:t>Scoping</a:t>
                      </a:r>
                      <a:endParaRPr lang="fr-FR"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fr-FR" sz="1100" u="none" strike="noStrike">
                          <a:effectLst/>
                        </a:rPr>
                        <a:t>2</a:t>
                      </a:r>
                      <a:endParaRPr lang="fr-FR"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fr-FR" sz="1100" u="none" strike="noStrike">
                          <a:effectLst/>
                        </a:rPr>
                        <a:t>225000</a:t>
                      </a:r>
                      <a:endParaRPr lang="fr-FR"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3472693616"/>
                  </a:ext>
                </a:extLst>
              </a:tr>
              <a:tr h="184150">
                <a:tc>
                  <a:txBody>
                    <a:bodyPr/>
                    <a:lstStyle/>
                    <a:p>
                      <a:pPr algn="l" fontAlgn="b"/>
                      <a:r>
                        <a:rPr lang="fr-FR" sz="1100" u="none" strike="noStrike">
                          <a:effectLst/>
                        </a:rPr>
                        <a:t>Prototyping</a:t>
                      </a:r>
                      <a:endParaRPr lang="fr-FR"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fr-FR" sz="1100" u="none" strike="noStrike">
                          <a:effectLst/>
                        </a:rPr>
                        <a:t>2</a:t>
                      </a:r>
                      <a:endParaRPr lang="fr-FR"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fr-FR" sz="1100" u="none" strike="noStrike">
                          <a:effectLst/>
                        </a:rPr>
                        <a:t>225000</a:t>
                      </a:r>
                      <a:endParaRPr lang="fr-FR"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53641710"/>
                  </a:ext>
                </a:extLst>
              </a:tr>
              <a:tr h="184150">
                <a:tc>
                  <a:txBody>
                    <a:bodyPr/>
                    <a:lstStyle/>
                    <a:p>
                      <a:pPr algn="l" fontAlgn="b"/>
                      <a:r>
                        <a:rPr lang="fr-FR" sz="1100" u="none" strike="noStrike">
                          <a:effectLst/>
                        </a:rPr>
                        <a:t>Validation</a:t>
                      </a:r>
                      <a:endParaRPr lang="fr-FR"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fr-FR" sz="1100" u="none" strike="noStrike">
                          <a:effectLst/>
                        </a:rPr>
                        <a:t>2</a:t>
                      </a:r>
                      <a:endParaRPr lang="fr-FR"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fr-FR" sz="1100" u="none" strike="noStrike">
                          <a:effectLst/>
                        </a:rPr>
                        <a:t>187500</a:t>
                      </a:r>
                      <a:endParaRPr lang="fr-FR"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2955958616"/>
                  </a:ext>
                </a:extLst>
              </a:tr>
              <a:tr h="184150">
                <a:tc>
                  <a:txBody>
                    <a:bodyPr/>
                    <a:lstStyle/>
                    <a:p>
                      <a:pPr algn="l" fontAlgn="b"/>
                      <a:r>
                        <a:rPr lang="fr-FR" sz="1100" u="none" strike="noStrike">
                          <a:effectLst/>
                        </a:rPr>
                        <a:t>Roll out</a:t>
                      </a:r>
                      <a:endParaRPr lang="fr-FR"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fr-FR" sz="1100" u="none" strike="noStrike">
                          <a:effectLst/>
                        </a:rPr>
                        <a:t>4</a:t>
                      </a:r>
                      <a:endParaRPr lang="fr-FR"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fr-FR" sz="1100" u="none" strike="noStrike">
                          <a:effectLst/>
                        </a:rPr>
                        <a:t>75000</a:t>
                      </a:r>
                      <a:endParaRPr lang="fr-FR"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1985949079"/>
                  </a:ext>
                </a:extLst>
              </a:tr>
              <a:tr h="184150">
                <a:tc>
                  <a:txBody>
                    <a:bodyPr/>
                    <a:lstStyle/>
                    <a:p>
                      <a:pPr algn="l" fontAlgn="b"/>
                      <a:endParaRPr lang="fr-FR"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fr-FR" sz="1100" u="none" strike="noStrike">
                          <a:effectLst/>
                        </a:rPr>
                        <a:t>Total</a:t>
                      </a:r>
                      <a:endParaRPr lang="fr-FR"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fr-FR" sz="1100" u="none" strike="noStrike">
                          <a:effectLst/>
                        </a:rPr>
                        <a:t>712500</a:t>
                      </a:r>
                      <a:endParaRPr lang="fr-FR"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2091528732"/>
                  </a:ext>
                </a:extLst>
              </a:tr>
            </a:tbl>
          </a:graphicData>
        </a:graphic>
      </p:graphicFrame>
      <p:graphicFrame>
        <p:nvGraphicFramePr>
          <p:cNvPr id="6" name="Tableau 5">
            <a:extLst>
              <a:ext uri="{FF2B5EF4-FFF2-40B4-BE49-F238E27FC236}">
                <a16:creationId xmlns:a16="http://schemas.microsoft.com/office/drawing/2014/main" id="{D680D0E4-CD68-99BD-C07A-9DAFE630F090}"/>
              </a:ext>
            </a:extLst>
          </p:cNvPr>
          <p:cNvGraphicFramePr>
            <a:graphicFrameLocks noGrp="1"/>
          </p:cNvGraphicFramePr>
          <p:nvPr/>
        </p:nvGraphicFramePr>
        <p:xfrm>
          <a:off x="8348207" y="1731562"/>
          <a:ext cx="2286000" cy="1104900"/>
        </p:xfrm>
        <a:graphic>
          <a:graphicData uri="http://schemas.openxmlformats.org/drawingml/2006/table">
            <a:tbl>
              <a:tblPr>
                <a:tableStyleId>{5C22544A-7EE6-4342-B048-85BDC9FD1C3A}</a:tableStyleId>
              </a:tblPr>
              <a:tblGrid>
                <a:gridCol w="762000">
                  <a:extLst>
                    <a:ext uri="{9D8B030D-6E8A-4147-A177-3AD203B41FA5}">
                      <a16:colId xmlns:a16="http://schemas.microsoft.com/office/drawing/2014/main" val="901924179"/>
                    </a:ext>
                  </a:extLst>
                </a:gridCol>
                <a:gridCol w="762000">
                  <a:extLst>
                    <a:ext uri="{9D8B030D-6E8A-4147-A177-3AD203B41FA5}">
                      <a16:colId xmlns:a16="http://schemas.microsoft.com/office/drawing/2014/main" val="3028227685"/>
                    </a:ext>
                  </a:extLst>
                </a:gridCol>
                <a:gridCol w="762000">
                  <a:extLst>
                    <a:ext uri="{9D8B030D-6E8A-4147-A177-3AD203B41FA5}">
                      <a16:colId xmlns:a16="http://schemas.microsoft.com/office/drawing/2014/main" val="1642595081"/>
                    </a:ext>
                  </a:extLst>
                </a:gridCol>
              </a:tblGrid>
              <a:tr h="184150">
                <a:tc>
                  <a:txBody>
                    <a:bodyPr/>
                    <a:lstStyle/>
                    <a:p>
                      <a:pPr algn="l" fontAlgn="b"/>
                      <a:r>
                        <a:rPr lang="fr-FR" sz="1100" u="none" strike="noStrike">
                          <a:effectLst/>
                        </a:rPr>
                        <a:t>Projet 3</a:t>
                      </a:r>
                      <a:endParaRPr lang="fr-FR"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fr-FR" sz="1100" u="none" strike="noStrike">
                          <a:effectLst/>
                        </a:rPr>
                        <a:t>Nb de mois</a:t>
                      </a:r>
                      <a:endParaRPr lang="fr-FR"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fr-FR" sz="1100" u="none" strike="noStrike">
                          <a:effectLst/>
                        </a:rPr>
                        <a:t>Prix</a:t>
                      </a:r>
                      <a:endParaRPr lang="fr-FR"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1258351249"/>
                  </a:ext>
                </a:extLst>
              </a:tr>
              <a:tr h="184150">
                <a:tc>
                  <a:txBody>
                    <a:bodyPr/>
                    <a:lstStyle/>
                    <a:p>
                      <a:pPr algn="l" fontAlgn="b"/>
                      <a:r>
                        <a:rPr lang="fr-FR" sz="1100" u="none" strike="noStrike">
                          <a:effectLst/>
                        </a:rPr>
                        <a:t>Scoping</a:t>
                      </a:r>
                      <a:endParaRPr lang="fr-FR"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fr-FR" sz="1100" u="none" strike="noStrike">
                          <a:effectLst/>
                        </a:rPr>
                        <a:t>2</a:t>
                      </a:r>
                      <a:endParaRPr lang="fr-FR"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fr-FR" sz="1100" u="none" strike="noStrike">
                          <a:effectLst/>
                        </a:rPr>
                        <a:t>225000</a:t>
                      </a:r>
                      <a:endParaRPr lang="fr-FR"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888364894"/>
                  </a:ext>
                </a:extLst>
              </a:tr>
              <a:tr h="184150">
                <a:tc>
                  <a:txBody>
                    <a:bodyPr/>
                    <a:lstStyle/>
                    <a:p>
                      <a:pPr algn="l" fontAlgn="b"/>
                      <a:r>
                        <a:rPr lang="fr-FR" sz="1100" u="none" strike="noStrike">
                          <a:effectLst/>
                        </a:rPr>
                        <a:t>Prototyping</a:t>
                      </a:r>
                      <a:endParaRPr lang="fr-FR"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fr-FR" sz="1100" u="none" strike="noStrike">
                          <a:effectLst/>
                        </a:rPr>
                        <a:t>3</a:t>
                      </a:r>
                      <a:endParaRPr lang="fr-FR"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fr-FR" sz="1100" u="none" strike="noStrike">
                          <a:effectLst/>
                        </a:rPr>
                        <a:t>337500</a:t>
                      </a:r>
                      <a:endParaRPr lang="fr-FR"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749131745"/>
                  </a:ext>
                </a:extLst>
              </a:tr>
              <a:tr h="184150">
                <a:tc>
                  <a:txBody>
                    <a:bodyPr/>
                    <a:lstStyle/>
                    <a:p>
                      <a:pPr algn="l" fontAlgn="b"/>
                      <a:r>
                        <a:rPr lang="fr-FR" sz="1100" u="none" strike="noStrike">
                          <a:effectLst/>
                        </a:rPr>
                        <a:t>Validation</a:t>
                      </a:r>
                      <a:endParaRPr lang="fr-FR"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fr-FR" sz="1100" u="none" strike="noStrike">
                          <a:effectLst/>
                        </a:rPr>
                        <a:t>2</a:t>
                      </a:r>
                      <a:endParaRPr lang="fr-FR"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fr-FR" sz="1100" u="none" strike="noStrike">
                          <a:effectLst/>
                        </a:rPr>
                        <a:t>187500</a:t>
                      </a:r>
                      <a:endParaRPr lang="fr-FR"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3108896063"/>
                  </a:ext>
                </a:extLst>
              </a:tr>
              <a:tr h="184150">
                <a:tc>
                  <a:txBody>
                    <a:bodyPr/>
                    <a:lstStyle/>
                    <a:p>
                      <a:pPr algn="l" fontAlgn="b"/>
                      <a:r>
                        <a:rPr lang="fr-FR" sz="1100" u="none" strike="noStrike">
                          <a:effectLst/>
                        </a:rPr>
                        <a:t>Roll out</a:t>
                      </a:r>
                      <a:endParaRPr lang="fr-FR"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fr-FR" sz="1100" u="none" strike="noStrike">
                          <a:effectLst/>
                        </a:rPr>
                        <a:t>7</a:t>
                      </a:r>
                      <a:endParaRPr lang="fr-FR"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fr-FR" sz="1100" u="none" strike="noStrike">
                          <a:effectLst/>
                        </a:rPr>
                        <a:t>131250</a:t>
                      </a:r>
                      <a:endParaRPr lang="fr-FR"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2252569768"/>
                  </a:ext>
                </a:extLst>
              </a:tr>
              <a:tr h="184150">
                <a:tc>
                  <a:txBody>
                    <a:bodyPr/>
                    <a:lstStyle/>
                    <a:p>
                      <a:pPr algn="l" fontAlgn="b"/>
                      <a:endParaRPr lang="fr-FR"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fr-FR" sz="1100" u="none" strike="noStrike">
                          <a:effectLst/>
                        </a:rPr>
                        <a:t>Total</a:t>
                      </a:r>
                      <a:endParaRPr lang="fr-FR"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fr-FR" sz="1100" u="none" strike="noStrike">
                          <a:effectLst/>
                        </a:rPr>
                        <a:t>881250</a:t>
                      </a:r>
                      <a:endParaRPr lang="fr-FR"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3064554892"/>
                  </a:ext>
                </a:extLst>
              </a:tr>
            </a:tbl>
          </a:graphicData>
        </a:graphic>
      </p:graphicFrame>
    </p:spTree>
    <p:extLst>
      <p:ext uri="{BB962C8B-B14F-4D97-AF65-F5344CB8AC3E}">
        <p14:creationId xmlns:p14="http://schemas.microsoft.com/office/powerpoint/2010/main" val="202344965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92020EC-C1EA-0C0E-ACB2-73A5DE593A54}"/>
              </a:ext>
            </a:extLst>
          </p:cNvPr>
          <p:cNvSpPr/>
          <p:nvPr/>
        </p:nvSpPr>
        <p:spPr>
          <a:xfrm>
            <a:off x="628650" y="2081212"/>
            <a:ext cx="10934700" cy="1230837"/>
          </a:xfrm>
          <a:prstGeom prst="rect">
            <a:avLst/>
          </a:prstGeom>
          <a:solidFill>
            <a:srgbClr val="2C2C2C">
              <a:alpha val="12000"/>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200">
              <a:solidFill>
                <a:srgbClr val="FFFFFF"/>
              </a:solidFill>
            </a:endParaRPr>
          </a:p>
        </p:txBody>
      </p:sp>
      <p:sp>
        <p:nvSpPr>
          <p:cNvPr id="15" name="Rectangle 14">
            <a:extLst>
              <a:ext uri="{FF2B5EF4-FFF2-40B4-BE49-F238E27FC236}">
                <a16:creationId xmlns:a16="http://schemas.microsoft.com/office/drawing/2014/main" id="{D7DE16B4-AAC7-6B37-BA32-09413E4929B1}"/>
              </a:ext>
            </a:extLst>
          </p:cNvPr>
          <p:cNvSpPr/>
          <p:nvPr/>
        </p:nvSpPr>
        <p:spPr>
          <a:xfrm>
            <a:off x="628650" y="3991183"/>
            <a:ext cx="10934700" cy="1304148"/>
          </a:xfrm>
          <a:prstGeom prst="rect">
            <a:avLst/>
          </a:prstGeom>
          <a:solidFill>
            <a:srgbClr val="2C2C2C">
              <a:alpha val="12000"/>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200">
              <a:solidFill>
                <a:srgbClr val="FFFFFF"/>
              </a:solidFill>
            </a:endParaRPr>
          </a:p>
        </p:txBody>
      </p:sp>
      <p:sp>
        <p:nvSpPr>
          <p:cNvPr id="4" name="object 3">
            <a:extLst>
              <a:ext uri="{FF2B5EF4-FFF2-40B4-BE49-F238E27FC236}">
                <a16:creationId xmlns:a16="http://schemas.microsoft.com/office/drawing/2014/main" id="{FE687DFB-1496-49CD-DDF6-D479C9FF7101}"/>
              </a:ext>
            </a:extLst>
          </p:cNvPr>
          <p:cNvSpPr txBox="1"/>
          <p:nvPr/>
        </p:nvSpPr>
        <p:spPr>
          <a:xfrm>
            <a:off x="1805215" y="2095719"/>
            <a:ext cx="6860943" cy="3652282"/>
          </a:xfrm>
          <a:prstGeom prst="rect">
            <a:avLst/>
          </a:prstGeom>
        </p:spPr>
        <p:txBody>
          <a:bodyPr vert="horz" wrap="square" lIns="0" tIns="12700" rIns="0" bIns="0" rtlCol="0">
            <a:spAutoFit/>
          </a:bodyPr>
          <a:lstStyle/>
          <a:p>
            <a:pPr marL="226060" indent="-213360">
              <a:lnSpc>
                <a:spcPct val="100000"/>
              </a:lnSpc>
              <a:spcBef>
                <a:spcPts val="100"/>
              </a:spcBef>
              <a:buClr>
                <a:srgbClr val="9A9CA1"/>
              </a:buClr>
              <a:buChar char="•"/>
              <a:tabLst>
                <a:tab pos="226060" algn="l"/>
              </a:tabLst>
            </a:pPr>
            <a:r>
              <a:rPr lang="en-US" sz="1400" spc="-5">
                <a:solidFill>
                  <a:srgbClr val="373739"/>
                </a:solidFill>
                <a:latin typeface="Trebuchet MS"/>
              </a:rPr>
              <a:t>Customer’s regularity: </a:t>
            </a:r>
            <a:r>
              <a:rPr lang="en-US" sz="1400" b="1" spc="-5">
                <a:solidFill>
                  <a:srgbClr val="373739"/>
                </a:solidFill>
                <a:latin typeface="Trebuchet MS"/>
              </a:rPr>
              <a:t>frequency of commands</a:t>
            </a:r>
          </a:p>
          <a:p>
            <a:pPr marL="226060" indent="-213360">
              <a:lnSpc>
                <a:spcPct val="100000"/>
              </a:lnSpc>
              <a:spcBef>
                <a:spcPts val="100"/>
              </a:spcBef>
              <a:buClr>
                <a:srgbClr val="9A9CA1"/>
              </a:buClr>
              <a:buChar char="•"/>
              <a:tabLst>
                <a:tab pos="226060" algn="l"/>
              </a:tabLst>
            </a:pPr>
            <a:r>
              <a:rPr lang="en-US" sz="1400" spc="-5">
                <a:solidFill>
                  <a:srgbClr val="373739"/>
                </a:solidFill>
                <a:latin typeface="Trebuchet MS"/>
              </a:rPr>
              <a:t>Commands size: </a:t>
            </a:r>
            <a:r>
              <a:rPr lang="en-US" sz="1400" b="1" spc="-5">
                <a:solidFill>
                  <a:srgbClr val="373739"/>
                </a:solidFill>
                <a:latin typeface="Trebuchet MS"/>
              </a:rPr>
              <a:t>Mean of net sales</a:t>
            </a:r>
          </a:p>
          <a:p>
            <a:pPr marL="226060" indent="-213360">
              <a:lnSpc>
                <a:spcPct val="100000"/>
              </a:lnSpc>
              <a:spcBef>
                <a:spcPts val="100"/>
              </a:spcBef>
              <a:buClr>
                <a:srgbClr val="9A9CA1"/>
              </a:buClr>
              <a:buChar char="•"/>
              <a:tabLst>
                <a:tab pos="226060" algn="l"/>
              </a:tabLst>
            </a:pPr>
            <a:r>
              <a:rPr lang="en-US" sz="1400" b="1" spc="-5">
                <a:solidFill>
                  <a:srgbClr val="373739"/>
                </a:solidFill>
                <a:latin typeface="Trebuchet MS"/>
              </a:rPr>
              <a:t>Number of commands</a:t>
            </a:r>
          </a:p>
          <a:p>
            <a:pPr marL="226060" indent="-213360">
              <a:lnSpc>
                <a:spcPct val="100000"/>
              </a:lnSpc>
              <a:spcBef>
                <a:spcPts val="100"/>
              </a:spcBef>
              <a:buClr>
                <a:srgbClr val="9A9CA1"/>
              </a:buClr>
              <a:buChar char="•"/>
              <a:tabLst>
                <a:tab pos="226060" algn="l"/>
              </a:tabLst>
            </a:pPr>
            <a:r>
              <a:rPr lang="en-US" sz="1400" b="1" spc="-5">
                <a:solidFill>
                  <a:srgbClr val="373739"/>
                </a:solidFill>
                <a:latin typeface="Trebuchet MS"/>
              </a:rPr>
              <a:t>Time for last command</a:t>
            </a:r>
          </a:p>
          <a:p>
            <a:pPr marL="226060" indent="-213360">
              <a:lnSpc>
                <a:spcPct val="100000"/>
              </a:lnSpc>
              <a:spcBef>
                <a:spcPts val="100"/>
              </a:spcBef>
              <a:buClr>
                <a:srgbClr val="9A9CA1"/>
              </a:buClr>
              <a:buChar char="•"/>
              <a:tabLst>
                <a:tab pos="226060" algn="l"/>
              </a:tabLst>
            </a:pPr>
            <a:r>
              <a:rPr lang="en-US" sz="1400" b="1" spc="-5">
                <a:solidFill>
                  <a:srgbClr val="373739"/>
                </a:solidFill>
                <a:latin typeface="Trebuchet MS"/>
              </a:rPr>
              <a:t>Seniority</a:t>
            </a:r>
          </a:p>
          <a:p>
            <a:pPr marL="226060" indent="-213360">
              <a:lnSpc>
                <a:spcPct val="100000"/>
              </a:lnSpc>
              <a:spcBef>
                <a:spcPts val="100"/>
              </a:spcBef>
              <a:buClr>
                <a:srgbClr val="9A9CA1"/>
              </a:buClr>
              <a:buChar char="•"/>
              <a:tabLst>
                <a:tab pos="226060" algn="l"/>
              </a:tabLst>
            </a:pPr>
            <a:endParaRPr lang="en-US" sz="1400" spc="-5">
              <a:solidFill>
                <a:srgbClr val="373739"/>
              </a:solidFill>
              <a:latin typeface="Trebuchet MS"/>
            </a:endParaRPr>
          </a:p>
          <a:p>
            <a:pPr marL="226060" indent="-213360">
              <a:lnSpc>
                <a:spcPct val="100000"/>
              </a:lnSpc>
              <a:spcBef>
                <a:spcPts val="100"/>
              </a:spcBef>
              <a:buClr>
                <a:srgbClr val="9A9CA1"/>
              </a:buClr>
              <a:buChar char="•"/>
              <a:tabLst>
                <a:tab pos="226060" algn="l"/>
              </a:tabLst>
            </a:pPr>
            <a:r>
              <a:rPr lang="en-US" sz="1400" b="1" spc="-5">
                <a:solidFill>
                  <a:srgbClr val="373739"/>
                </a:solidFill>
                <a:latin typeface="Trebuchet MS"/>
              </a:rPr>
              <a:t>Favorite product </a:t>
            </a:r>
            <a:r>
              <a:rPr lang="en-US" sz="1400" spc="-5">
                <a:solidFill>
                  <a:srgbClr val="373739"/>
                </a:solidFill>
                <a:latin typeface="Trebuchet MS"/>
              </a:rPr>
              <a:t>commanded/Proportion of purchases of each products</a:t>
            </a:r>
          </a:p>
          <a:p>
            <a:pPr marL="226060" indent="-213360">
              <a:lnSpc>
                <a:spcPct val="100000"/>
              </a:lnSpc>
              <a:spcBef>
                <a:spcPts val="100"/>
              </a:spcBef>
              <a:buClr>
                <a:srgbClr val="9A9CA1"/>
              </a:buClr>
              <a:buChar char="•"/>
              <a:tabLst>
                <a:tab pos="226060" algn="l"/>
              </a:tabLst>
            </a:pPr>
            <a:r>
              <a:rPr lang="en-US" sz="1400" b="1" spc="-5">
                <a:solidFill>
                  <a:srgbClr val="373739"/>
                </a:solidFill>
                <a:latin typeface="Trebuchet MS"/>
              </a:rPr>
              <a:t>Favorite channel</a:t>
            </a:r>
            <a:r>
              <a:rPr lang="en-US" sz="1400" spc="-5">
                <a:solidFill>
                  <a:srgbClr val="373739"/>
                </a:solidFill>
                <a:latin typeface="Trebuchet MS"/>
              </a:rPr>
              <a:t>/Proportion of commands in each channel</a:t>
            </a:r>
          </a:p>
          <a:p>
            <a:pPr marL="12700">
              <a:lnSpc>
                <a:spcPct val="100000"/>
              </a:lnSpc>
              <a:spcBef>
                <a:spcPts val="100"/>
              </a:spcBef>
              <a:buClr>
                <a:srgbClr val="9A9CA1"/>
              </a:buClr>
              <a:tabLst>
                <a:tab pos="226060" algn="l"/>
              </a:tabLst>
            </a:pPr>
            <a:endParaRPr lang="en-US" sz="1400" spc="-5">
              <a:solidFill>
                <a:srgbClr val="373739"/>
              </a:solidFill>
              <a:latin typeface="Trebuchet MS"/>
            </a:endParaRPr>
          </a:p>
          <a:p>
            <a:pPr marL="226060" indent="-213360">
              <a:lnSpc>
                <a:spcPct val="100000"/>
              </a:lnSpc>
              <a:spcBef>
                <a:spcPts val="100"/>
              </a:spcBef>
              <a:buClr>
                <a:srgbClr val="9A9CA1"/>
              </a:buClr>
              <a:buChar char="•"/>
              <a:tabLst>
                <a:tab pos="226060" algn="l"/>
              </a:tabLst>
            </a:pPr>
            <a:r>
              <a:rPr lang="en-US" sz="1400" spc="-5">
                <a:solidFill>
                  <a:srgbClr val="373739"/>
                </a:solidFill>
                <a:latin typeface="Trebuchet MS"/>
              </a:rPr>
              <a:t>Difference of commands’ </a:t>
            </a:r>
            <a:r>
              <a:rPr lang="en-US" sz="1400" b="1" spc="-5">
                <a:solidFill>
                  <a:srgbClr val="373739"/>
                </a:solidFill>
                <a:latin typeface="Trebuchet MS"/>
              </a:rPr>
              <a:t>frequency</a:t>
            </a:r>
            <a:r>
              <a:rPr lang="en-US" sz="1400" spc="-5">
                <a:solidFill>
                  <a:srgbClr val="373739"/>
                </a:solidFill>
                <a:latin typeface="Trebuchet MS"/>
              </a:rPr>
              <a:t> between last X commands and all commands</a:t>
            </a:r>
          </a:p>
          <a:p>
            <a:pPr marL="226060" indent="-213360">
              <a:lnSpc>
                <a:spcPct val="100000"/>
              </a:lnSpc>
              <a:spcBef>
                <a:spcPts val="100"/>
              </a:spcBef>
              <a:buClr>
                <a:srgbClr val="9A9CA1"/>
              </a:buClr>
              <a:buChar char="•"/>
              <a:tabLst>
                <a:tab pos="226060" algn="l"/>
              </a:tabLst>
            </a:pPr>
            <a:r>
              <a:rPr lang="en-US" sz="1400" spc="-5">
                <a:solidFill>
                  <a:srgbClr val="373739"/>
                </a:solidFill>
                <a:latin typeface="Trebuchet MS"/>
              </a:rPr>
              <a:t>Difference of</a:t>
            </a:r>
            <a:r>
              <a:rPr lang="en-US" sz="1400" b="1" spc="-5">
                <a:solidFill>
                  <a:srgbClr val="373739"/>
                </a:solidFill>
                <a:latin typeface="Trebuchet MS"/>
              </a:rPr>
              <a:t> net sales </a:t>
            </a:r>
            <a:r>
              <a:rPr lang="en-US" sz="1400" spc="-5">
                <a:solidFill>
                  <a:srgbClr val="373739"/>
                </a:solidFill>
                <a:latin typeface="Trebuchet MS"/>
              </a:rPr>
              <a:t>between last X commands and all commands</a:t>
            </a:r>
          </a:p>
          <a:p>
            <a:pPr marL="226060" indent="-213360">
              <a:lnSpc>
                <a:spcPct val="100000"/>
              </a:lnSpc>
              <a:spcBef>
                <a:spcPts val="100"/>
              </a:spcBef>
              <a:buClr>
                <a:srgbClr val="9A9CA1"/>
              </a:buClr>
              <a:buChar char="•"/>
              <a:tabLst>
                <a:tab pos="226060" algn="l"/>
              </a:tabLst>
            </a:pPr>
            <a:r>
              <a:rPr lang="en-US" sz="1400" spc="-5">
                <a:solidFill>
                  <a:srgbClr val="373739"/>
                </a:solidFill>
                <a:latin typeface="Trebuchet MS"/>
              </a:rPr>
              <a:t>Number of returns in the last X commands</a:t>
            </a:r>
          </a:p>
          <a:p>
            <a:pPr marL="226060" indent="-213360">
              <a:lnSpc>
                <a:spcPct val="100000"/>
              </a:lnSpc>
              <a:spcBef>
                <a:spcPts val="100"/>
              </a:spcBef>
              <a:buClr>
                <a:srgbClr val="9A9CA1"/>
              </a:buClr>
              <a:buChar char="•"/>
              <a:tabLst>
                <a:tab pos="226060" algn="l"/>
              </a:tabLst>
            </a:pPr>
            <a:r>
              <a:rPr lang="en-US" sz="1400" spc="-5">
                <a:solidFill>
                  <a:srgbClr val="373739"/>
                </a:solidFill>
                <a:latin typeface="Trebuchet MS"/>
              </a:rPr>
              <a:t>Difference of </a:t>
            </a:r>
            <a:r>
              <a:rPr lang="en-US" sz="1400" b="1" spc="-5">
                <a:solidFill>
                  <a:srgbClr val="373739"/>
                </a:solidFill>
                <a:latin typeface="Trebuchet MS"/>
              </a:rPr>
              <a:t>payment term </a:t>
            </a:r>
            <a:r>
              <a:rPr lang="en-US" sz="1400" spc="-5">
                <a:solidFill>
                  <a:srgbClr val="373739"/>
                </a:solidFill>
                <a:latin typeface="Trebuchet MS"/>
              </a:rPr>
              <a:t>between last X commands and all commands</a:t>
            </a:r>
          </a:p>
          <a:p>
            <a:pPr marL="12700">
              <a:lnSpc>
                <a:spcPct val="100000"/>
              </a:lnSpc>
              <a:spcBef>
                <a:spcPts val="100"/>
              </a:spcBef>
              <a:buClr>
                <a:srgbClr val="9A9CA1"/>
              </a:buClr>
              <a:tabLst>
                <a:tab pos="226060" algn="l"/>
              </a:tabLst>
            </a:pPr>
            <a:endParaRPr lang="en-US" sz="1400" spc="-5">
              <a:solidFill>
                <a:srgbClr val="373739"/>
              </a:solidFill>
              <a:latin typeface="Trebuchet MS"/>
            </a:endParaRPr>
          </a:p>
          <a:p>
            <a:pPr marL="12700">
              <a:lnSpc>
                <a:spcPct val="100000"/>
              </a:lnSpc>
              <a:spcBef>
                <a:spcPts val="100"/>
              </a:spcBef>
              <a:buClr>
                <a:srgbClr val="9A9CA1"/>
              </a:buClr>
              <a:tabLst>
                <a:tab pos="226060" algn="l"/>
              </a:tabLst>
            </a:pPr>
            <a:endParaRPr lang="en-US" sz="1400" spc="-5">
              <a:solidFill>
                <a:srgbClr val="373739"/>
              </a:solidFill>
              <a:latin typeface="Trebuchet MS"/>
            </a:endParaRPr>
          </a:p>
          <a:p>
            <a:pPr marL="226060" indent="-213360">
              <a:lnSpc>
                <a:spcPct val="100000"/>
              </a:lnSpc>
              <a:spcBef>
                <a:spcPts val="100"/>
              </a:spcBef>
              <a:buClr>
                <a:srgbClr val="9A9CA1"/>
              </a:buClr>
              <a:buChar char="•"/>
              <a:tabLst>
                <a:tab pos="226060" algn="l"/>
              </a:tabLst>
            </a:pPr>
            <a:r>
              <a:rPr lang="en-US" sz="1400" spc="-5">
                <a:solidFill>
                  <a:srgbClr val="373739"/>
                </a:solidFill>
                <a:latin typeface="Trebuchet MS"/>
              </a:rPr>
              <a:t>Has churned</a:t>
            </a:r>
          </a:p>
        </p:txBody>
      </p:sp>
      <p:sp>
        <p:nvSpPr>
          <p:cNvPr id="5" name="object 20">
            <a:extLst>
              <a:ext uri="{FF2B5EF4-FFF2-40B4-BE49-F238E27FC236}">
                <a16:creationId xmlns:a16="http://schemas.microsoft.com/office/drawing/2014/main" id="{36D1A0A5-D9EB-E69D-849E-7929AA2580E4}"/>
              </a:ext>
            </a:extLst>
          </p:cNvPr>
          <p:cNvSpPr txBox="1"/>
          <p:nvPr/>
        </p:nvSpPr>
        <p:spPr>
          <a:xfrm>
            <a:off x="736155" y="2443996"/>
            <a:ext cx="992777" cy="505267"/>
          </a:xfrm>
          <a:prstGeom prst="rect">
            <a:avLst/>
          </a:prstGeom>
        </p:spPr>
        <p:txBody>
          <a:bodyPr vert="horz" wrap="square" lIns="0" tIns="12700" rIns="0" bIns="0" rtlCol="0">
            <a:spAutoFit/>
          </a:bodyPr>
          <a:lstStyle/>
          <a:p>
            <a:pPr marL="12700" algn="ctr">
              <a:lnSpc>
                <a:spcPct val="100000"/>
              </a:lnSpc>
              <a:spcBef>
                <a:spcPts val="100"/>
              </a:spcBef>
            </a:pPr>
            <a:r>
              <a:rPr lang="fr-FR" sz="1600" spc="15" err="1">
                <a:solidFill>
                  <a:srgbClr val="20BE60"/>
                </a:solidFill>
                <a:latin typeface="Trebuchet MS" panose="020B0603020202020204" pitchFamily="34" charset="0"/>
                <a:cs typeface="Microsoft Sans Serif"/>
              </a:rPr>
              <a:t>Loyalty</a:t>
            </a:r>
            <a:r>
              <a:rPr lang="fr-FR" sz="1600" spc="15">
                <a:solidFill>
                  <a:srgbClr val="20BE60"/>
                </a:solidFill>
                <a:latin typeface="Trebuchet MS" panose="020B0603020202020204" pitchFamily="34" charset="0"/>
                <a:cs typeface="Microsoft Sans Serif"/>
              </a:rPr>
              <a:t> of </a:t>
            </a:r>
            <a:r>
              <a:rPr lang="fr-FR" sz="1600" spc="15" err="1">
                <a:solidFill>
                  <a:srgbClr val="20BE60"/>
                </a:solidFill>
                <a:latin typeface="Trebuchet MS" panose="020B0603020202020204" pitchFamily="34" charset="0"/>
                <a:cs typeface="Microsoft Sans Serif"/>
              </a:rPr>
              <a:t>customers</a:t>
            </a:r>
            <a:endParaRPr lang="fr-FR" sz="1600">
              <a:latin typeface="Trebuchet MS" panose="020B0603020202020204" pitchFamily="34" charset="0"/>
              <a:cs typeface="Microsoft Sans Serif"/>
            </a:endParaRPr>
          </a:p>
        </p:txBody>
      </p:sp>
      <p:sp>
        <p:nvSpPr>
          <p:cNvPr id="7" name="object 20">
            <a:extLst>
              <a:ext uri="{FF2B5EF4-FFF2-40B4-BE49-F238E27FC236}">
                <a16:creationId xmlns:a16="http://schemas.microsoft.com/office/drawing/2014/main" id="{19386F09-7E53-EDC6-BAF5-DE0F95FAF957}"/>
              </a:ext>
            </a:extLst>
          </p:cNvPr>
          <p:cNvSpPr txBox="1"/>
          <p:nvPr/>
        </p:nvSpPr>
        <p:spPr>
          <a:xfrm>
            <a:off x="693952" y="5471763"/>
            <a:ext cx="992777" cy="259045"/>
          </a:xfrm>
          <a:prstGeom prst="rect">
            <a:avLst/>
          </a:prstGeom>
        </p:spPr>
        <p:txBody>
          <a:bodyPr vert="horz" wrap="square" lIns="0" tIns="12700" rIns="0" bIns="0" rtlCol="0">
            <a:spAutoFit/>
          </a:bodyPr>
          <a:lstStyle/>
          <a:p>
            <a:pPr marL="12700" algn="ctr">
              <a:lnSpc>
                <a:spcPct val="100000"/>
              </a:lnSpc>
              <a:spcBef>
                <a:spcPts val="100"/>
              </a:spcBef>
            </a:pPr>
            <a:r>
              <a:rPr lang="fr-FR" sz="1600" spc="15">
                <a:solidFill>
                  <a:srgbClr val="20BE60"/>
                </a:solidFill>
                <a:latin typeface="Trebuchet MS" panose="020B0603020202020204" pitchFamily="34" charset="0"/>
                <a:cs typeface="Microsoft Sans Serif"/>
              </a:rPr>
              <a:t>Output</a:t>
            </a:r>
          </a:p>
        </p:txBody>
      </p:sp>
      <p:sp>
        <p:nvSpPr>
          <p:cNvPr id="8" name="object 20">
            <a:extLst>
              <a:ext uri="{FF2B5EF4-FFF2-40B4-BE49-F238E27FC236}">
                <a16:creationId xmlns:a16="http://schemas.microsoft.com/office/drawing/2014/main" id="{B2789F3D-A639-0C28-AA9D-AB90B2CCC3F6}"/>
              </a:ext>
            </a:extLst>
          </p:cNvPr>
          <p:cNvSpPr txBox="1"/>
          <p:nvPr/>
        </p:nvSpPr>
        <p:spPr>
          <a:xfrm>
            <a:off x="533688" y="3392830"/>
            <a:ext cx="1313304" cy="505267"/>
          </a:xfrm>
          <a:prstGeom prst="rect">
            <a:avLst/>
          </a:prstGeom>
        </p:spPr>
        <p:txBody>
          <a:bodyPr vert="horz" wrap="square" lIns="0" tIns="12700" rIns="0" bIns="0" rtlCol="0">
            <a:spAutoFit/>
          </a:bodyPr>
          <a:lstStyle/>
          <a:p>
            <a:pPr marL="12700" algn="ctr">
              <a:lnSpc>
                <a:spcPct val="100000"/>
              </a:lnSpc>
              <a:spcBef>
                <a:spcPts val="100"/>
              </a:spcBef>
            </a:pPr>
            <a:r>
              <a:rPr lang="fr-FR" sz="1600" spc="15">
                <a:solidFill>
                  <a:srgbClr val="20BE60"/>
                </a:solidFill>
                <a:latin typeface="Trebuchet MS" panose="020B0603020202020204" pitchFamily="34" charset="0"/>
                <a:cs typeface="Microsoft Sans Serif"/>
              </a:rPr>
              <a:t>Habits of </a:t>
            </a:r>
            <a:r>
              <a:rPr lang="fr-FR" sz="1600" spc="15" err="1">
                <a:solidFill>
                  <a:srgbClr val="20BE60"/>
                </a:solidFill>
                <a:latin typeface="Trebuchet MS" panose="020B0603020202020204" pitchFamily="34" charset="0"/>
                <a:cs typeface="Microsoft Sans Serif"/>
              </a:rPr>
              <a:t>customers</a:t>
            </a:r>
            <a:endParaRPr lang="fr-FR" sz="1600" spc="15">
              <a:solidFill>
                <a:srgbClr val="20BE60"/>
              </a:solidFill>
              <a:latin typeface="Trebuchet MS" panose="020B0603020202020204" pitchFamily="34" charset="0"/>
              <a:cs typeface="Microsoft Sans Serif"/>
            </a:endParaRPr>
          </a:p>
        </p:txBody>
      </p:sp>
      <p:sp>
        <p:nvSpPr>
          <p:cNvPr id="9" name="object 20">
            <a:extLst>
              <a:ext uri="{FF2B5EF4-FFF2-40B4-BE49-F238E27FC236}">
                <a16:creationId xmlns:a16="http://schemas.microsoft.com/office/drawing/2014/main" id="{7CF6D3BC-46D6-0213-089A-95421F1A3ECA}"/>
              </a:ext>
            </a:extLst>
          </p:cNvPr>
          <p:cNvSpPr txBox="1"/>
          <p:nvPr/>
        </p:nvSpPr>
        <p:spPr>
          <a:xfrm>
            <a:off x="683655" y="4232183"/>
            <a:ext cx="1097778" cy="751488"/>
          </a:xfrm>
          <a:prstGeom prst="rect">
            <a:avLst/>
          </a:prstGeom>
        </p:spPr>
        <p:txBody>
          <a:bodyPr vert="horz" wrap="square" lIns="0" tIns="12700" rIns="0" bIns="0" rtlCol="0">
            <a:spAutoFit/>
          </a:bodyPr>
          <a:lstStyle/>
          <a:p>
            <a:pPr marL="12700" algn="ctr">
              <a:lnSpc>
                <a:spcPct val="100000"/>
              </a:lnSpc>
              <a:spcBef>
                <a:spcPts val="100"/>
              </a:spcBef>
            </a:pPr>
            <a:r>
              <a:rPr lang="fr-FR" sz="1600" spc="15">
                <a:solidFill>
                  <a:srgbClr val="20BE60"/>
                </a:solidFill>
                <a:latin typeface="Trebuchet MS" panose="020B0603020202020204" pitchFamily="34" charset="0"/>
                <a:cs typeface="Microsoft Sans Serif"/>
              </a:rPr>
              <a:t>Change of </a:t>
            </a:r>
            <a:r>
              <a:rPr lang="fr-FR" sz="1600" spc="15" err="1">
                <a:solidFill>
                  <a:srgbClr val="20BE60"/>
                </a:solidFill>
                <a:latin typeface="Trebuchet MS" panose="020B0603020202020204" pitchFamily="34" charset="0"/>
                <a:cs typeface="Microsoft Sans Serif"/>
              </a:rPr>
              <a:t>commands</a:t>
            </a:r>
            <a:r>
              <a:rPr lang="fr-FR" sz="1600" spc="15">
                <a:solidFill>
                  <a:srgbClr val="20BE60"/>
                </a:solidFill>
                <a:latin typeface="Trebuchet MS" panose="020B0603020202020204" pitchFamily="34" charset="0"/>
                <a:cs typeface="Microsoft Sans Serif"/>
              </a:rPr>
              <a:t>’ habits</a:t>
            </a:r>
          </a:p>
        </p:txBody>
      </p:sp>
      <p:sp>
        <p:nvSpPr>
          <p:cNvPr id="10" name="object 20">
            <a:extLst>
              <a:ext uri="{FF2B5EF4-FFF2-40B4-BE49-F238E27FC236}">
                <a16:creationId xmlns:a16="http://schemas.microsoft.com/office/drawing/2014/main" id="{21272C52-A7FB-B6EC-1FBF-0AAAABF03C30}"/>
              </a:ext>
            </a:extLst>
          </p:cNvPr>
          <p:cNvSpPr txBox="1"/>
          <p:nvPr/>
        </p:nvSpPr>
        <p:spPr>
          <a:xfrm>
            <a:off x="8666158" y="3488482"/>
            <a:ext cx="3998604" cy="197490"/>
          </a:xfrm>
          <a:prstGeom prst="rect">
            <a:avLst/>
          </a:prstGeom>
        </p:spPr>
        <p:txBody>
          <a:bodyPr vert="horz" wrap="square" lIns="0" tIns="12700" rIns="0" bIns="0" rtlCol="0">
            <a:spAutoFit/>
          </a:bodyPr>
          <a:lstStyle/>
          <a:p>
            <a:pPr marL="12700">
              <a:lnSpc>
                <a:spcPct val="100000"/>
              </a:lnSpc>
              <a:spcBef>
                <a:spcPts val="100"/>
              </a:spcBef>
            </a:pPr>
            <a:r>
              <a:rPr lang="fr-FR" sz="1200" spc="15">
                <a:solidFill>
                  <a:srgbClr val="20BE60"/>
                </a:solidFill>
                <a:latin typeface="Trebuchet MS" panose="020B0603020202020204" pitchFamily="34" charset="0"/>
                <a:cs typeface="Microsoft Sans Serif"/>
              </a:rPr>
              <a:t>Hard to analyse all 600.000 </a:t>
            </a:r>
            <a:r>
              <a:rPr lang="fr-FR" sz="1200" spc="15" err="1">
                <a:solidFill>
                  <a:srgbClr val="20BE60"/>
                </a:solidFill>
                <a:latin typeface="Trebuchet MS" panose="020B0603020202020204" pitchFamily="34" charset="0"/>
                <a:cs typeface="Microsoft Sans Serif"/>
              </a:rPr>
              <a:t>products</a:t>
            </a:r>
            <a:endParaRPr lang="fr-FR" sz="1200" spc="15">
              <a:solidFill>
                <a:srgbClr val="20BE60"/>
              </a:solidFill>
              <a:latin typeface="Trebuchet MS" panose="020B0603020202020204" pitchFamily="34" charset="0"/>
              <a:cs typeface="Microsoft Sans Serif"/>
            </a:endParaRPr>
          </a:p>
        </p:txBody>
      </p:sp>
      <p:sp>
        <p:nvSpPr>
          <p:cNvPr id="11" name="object 20">
            <a:extLst>
              <a:ext uri="{FF2B5EF4-FFF2-40B4-BE49-F238E27FC236}">
                <a16:creationId xmlns:a16="http://schemas.microsoft.com/office/drawing/2014/main" id="{BAF5A74C-B687-338A-FFAD-F7C83E58A1EA}"/>
              </a:ext>
            </a:extLst>
          </p:cNvPr>
          <p:cNvSpPr txBox="1"/>
          <p:nvPr/>
        </p:nvSpPr>
        <p:spPr>
          <a:xfrm>
            <a:off x="8666158" y="4227979"/>
            <a:ext cx="2686964" cy="764312"/>
          </a:xfrm>
          <a:prstGeom prst="rect">
            <a:avLst/>
          </a:prstGeom>
        </p:spPr>
        <p:txBody>
          <a:bodyPr vert="horz" wrap="square" lIns="0" tIns="12700" rIns="0" bIns="0" rtlCol="0">
            <a:spAutoFit/>
          </a:bodyPr>
          <a:lstStyle/>
          <a:p>
            <a:pPr marL="12700">
              <a:lnSpc>
                <a:spcPct val="100000"/>
              </a:lnSpc>
              <a:spcBef>
                <a:spcPts val="100"/>
              </a:spcBef>
            </a:pPr>
            <a:r>
              <a:rPr lang="fr-FR" sz="1200" spc="15">
                <a:solidFill>
                  <a:srgbClr val="20BE60"/>
                </a:solidFill>
                <a:latin typeface="Trebuchet MS" panose="020B0603020202020204" pitchFamily="34" charset="0"/>
                <a:cs typeface="Microsoft Sans Serif"/>
              </a:rPr>
              <a:t>Set X in </a:t>
            </a:r>
            <a:r>
              <a:rPr lang="fr-FR" sz="1200" spc="15" err="1">
                <a:solidFill>
                  <a:srgbClr val="20BE60"/>
                </a:solidFill>
                <a:latin typeface="Trebuchet MS" panose="020B0603020202020204" pitchFamily="34" charset="0"/>
                <a:cs typeface="Microsoft Sans Serif"/>
              </a:rPr>
              <a:t>function</a:t>
            </a:r>
            <a:r>
              <a:rPr lang="fr-FR" sz="1200" spc="15">
                <a:solidFill>
                  <a:srgbClr val="20BE60"/>
                </a:solidFill>
                <a:latin typeface="Trebuchet MS" panose="020B0603020202020204" pitchFamily="34" charset="0"/>
                <a:cs typeface="Microsoft Sans Serif"/>
              </a:rPr>
              <a:t> of the </a:t>
            </a:r>
            <a:r>
              <a:rPr lang="fr-FR" sz="1200" spc="15" err="1">
                <a:solidFill>
                  <a:srgbClr val="20BE60"/>
                </a:solidFill>
                <a:latin typeface="Trebuchet MS" panose="020B0603020202020204" pitchFamily="34" charset="0"/>
                <a:cs typeface="Microsoft Sans Serif"/>
              </a:rPr>
              <a:t>numbers</a:t>
            </a:r>
            <a:r>
              <a:rPr lang="fr-FR" sz="1200" spc="15">
                <a:solidFill>
                  <a:srgbClr val="20BE60"/>
                </a:solidFill>
                <a:latin typeface="Trebuchet MS" panose="020B0603020202020204" pitchFamily="34" charset="0"/>
                <a:cs typeface="Microsoft Sans Serif"/>
              </a:rPr>
              <a:t> of </a:t>
            </a:r>
            <a:r>
              <a:rPr lang="fr-FR" sz="1200" spc="15" err="1">
                <a:solidFill>
                  <a:srgbClr val="20BE60"/>
                </a:solidFill>
                <a:latin typeface="Trebuchet MS" panose="020B0603020202020204" pitchFamily="34" charset="0"/>
                <a:cs typeface="Microsoft Sans Serif"/>
              </a:rPr>
              <a:t>commands</a:t>
            </a:r>
            <a:r>
              <a:rPr lang="fr-FR" sz="1200" spc="15">
                <a:solidFill>
                  <a:srgbClr val="20BE60"/>
                </a:solidFill>
                <a:latin typeface="Trebuchet MS" panose="020B0603020202020204" pitchFamily="34" charset="0"/>
                <a:cs typeface="Microsoft Sans Serif"/>
              </a:rPr>
              <a:t> by clients</a:t>
            </a:r>
          </a:p>
          <a:p>
            <a:pPr marL="12700">
              <a:lnSpc>
                <a:spcPct val="100000"/>
              </a:lnSpc>
              <a:spcBef>
                <a:spcPts val="100"/>
              </a:spcBef>
            </a:pPr>
            <a:r>
              <a:rPr lang="fr-FR" sz="1200" spc="15">
                <a:solidFill>
                  <a:srgbClr val="20BE60"/>
                </a:solidFill>
                <a:latin typeface="Trebuchet MS" panose="020B0603020202020204" pitchFamily="34" charset="0"/>
                <a:cs typeface="Microsoft Sans Serif"/>
              </a:rPr>
              <a:t>75% of clients have </a:t>
            </a:r>
            <a:r>
              <a:rPr lang="fr-FR" sz="1200" spc="15" err="1">
                <a:solidFill>
                  <a:srgbClr val="20BE60"/>
                </a:solidFill>
                <a:latin typeface="Trebuchet MS" panose="020B0603020202020204" pitchFamily="34" charset="0"/>
                <a:cs typeface="Microsoft Sans Serif"/>
              </a:rPr>
              <a:t>done</a:t>
            </a:r>
            <a:r>
              <a:rPr lang="fr-FR" sz="1200" spc="15">
                <a:solidFill>
                  <a:srgbClr val="20BE60"/>
                </a:solidFill>
                <a:latin typeface="Trebuchet MS" panose="020B0603020202020204" pitchFamily="34" charset="0"/>
                <a:cs typeface="Microsoft Sans Serif"/>
              </a:rPr>
              <a:t> more </a:t>
            </a:r>
            <a:r>
              <a:rPr lang="fr-FR" sz="1200" spc="15" err="1">
                <a:solidFill>
                  <a:srgbClr val="20BE60"/>
                </a:solidFill>
                <a:latin typeface="Trebuchet MS" panose="020B0603020202020204" pitchFamily="34" charset="0"/>
                <a:cs typeface="Microsoft Sans Serif"/>
              </a:rPr>
              <a:t>than</a:t>
            </a:r>
            <a:r>
              <a:rPr lang="fr-FR" sz="1200" spc="15">
                <a:solidFill>
                  <a:srgbClr val="20BE60"/>
                </a:solidFill>
                <a:latin typeface="Trebuchet MS" panose="020B0603020202020204" pitchFamily="34" charset="0"/>
                <a:cs typeface="Microsoft Sans Serif"/>
              </a:rPr>
              <a:t> 3 </a:t>
            </a:r>
            <a:r>
              <a:rPr lang="fr-FR" sz="1200" spc="15" err="1">
                <a:solidFill>
                  <a:srgbClr val="20BE60"/>
                </a:solidFill>
                <a:latin typeface="Trebuchet MS" panose="020B0603020202020204" pitchFamily="34" charset="0"/>
                <a:cs typeface="Microsoft Sans Serif"/>
              </a:rPr>
              <a:t>commands</a:t>
            </a:r>
            <a:r>
              <a:rPr lang="fr-FR" sz="1200" spc="15">
                <a:solidFill>
                  <a:srgbClr val="20BE60"/>
                </a:solidFill>
                <a:latin typeface="Trebuchet MS" panose="020B0603020202020204" pitchFamily="34" charset="0"/>
                <a:cs typeface="Microsoft Sans Serif"/>
              </a:rPr>
              <a:t> </a:t>
            </a:r>
            <a:r>
              <a:rPr lang="fr-FR" sz="1200" spc="15">
                <a:solidFill>
                  <a:srgbClr val="20BE60"/>
                </a:solidFill>
                <a:latin typeface="Trebuchet MS" panose="020B0603020202020204" pitchFamily="34" charset="0"/>
                <a:cs typeface="Microsoft Sans Serif"/>
                <a:sym typeface="Wingdings" panose="05000000000000000000" pitchFamily="2" charset="2"/>
              </a:rPr>
              <a:t> can set x = 3</a:t>
            </a:r>
            <a:endParaRPr lang="fr-FR" sz="1200" spc="15">
              <a:solidFill>
                <a:srgbClr val="20BE60"/>
              </a:solidFill>
              <a:latin typeface="Trebuchet MS" panose="020B0603020202020204" pitchFamily="34" charset="0"/>
              <a:cs typeface="Microsoft Sans Serif"/>
            </a:endParaRPr>
          </a:p>
        </p:txBody>
      </p:sp>
      <p:sp>
        <p:nvSpPr>
          <p:cNvPr id="13" name="object 20">
            <a:extLst>
              <a:ext uri="{FF2B5EF4-FFF2-40B4-BE49-F238E27FC236}">
                <a16:creationId xmlns:a16="http://schemas.microsoft.com/office/drawing/2014/main" id="{9A9C69E8-19FB-F78C-A68D-D50DAD4015B6}"/>
              </a:ext>
            </a:extLst>
          </p:cNvPr>
          <p:cNvSpPr txBox="1"/>
          <p:nvPr/>
        </p:nvSpPr>
        <p:spPr>
          <a:xfrm>
            <a:off x="8666158" y="5345908"/>
            <a:ext cx="2897192" cy="777136"/>
          </a:xfrm>
          <a:prstGeom prst="rect">
            <a:avLst/>
          </a:prstGeom>
        </p:spPr>
        <p:txBody>
          <a:bodyPr vert="horz" wrap="square" lIns="0" tIns="12700" rIns="0" bIns="0" rtlCol="0">
            <a:spAutoFit/>
          </a:bodyPr>
          <a:lstStyle/>
          <a:p>
            <a:pPr marL="12700">
              <a:lnSpc>
                <a:spcPct val="100000"/>
              </a:lnSpc>
              <a:spcBef>
                <a:spcPts val="100"/>
              </a:spcBef>
            </a:pPr>
            <a:r>
              <a:rPr lang="fr-FR" sz="1200" spc="15">
                <a:solidFill>
                  <a:srgbClr val="20BE60"/>
                </a:solidFill>
                <a:latin typeface="Trebuchet MS" panose="020B0603020202020204" pitchFamily="34" charset="0"/>
                <a:cs typeface="Microsoft Sans Serif"/>
              </a:rPr>
              <a:t>Set clients </a:t>
            </a:r>
            <a:r>
              <a:rPr lang="fr-FR" sz="1200" spc="15" err="1">
                <a:solidFill>
                  <a:srgbClr val="20BE60"/>
                </a:solidFill>
                <a:latin typeface="Trebuchet MS" panose="020B0603020202020204" pitchFamily="34" charset="0"/>
                <a:cs typeface="Microsoft Sans Serif"/>
              </a:rPr>
              <a:t>that</a:t>
            </a:r>
            <a:r>
              <a:rPr lang="fr-FR" sz="1200" spc="15">
                <a:solidFill>
                  <a:srgbClr val="20BE60"/>
                </a:solidFill>
                <a:latin typeface="Trebuchet MS" panose="020B0603020202020204" pitchFamily="34" charset="0"/>
                <a:cs typeface="Microsoft Sans Serif"/>
              </a:rPr>
              <a:t> </a:t>
            </a:r>
            <a:r>
              <a:rPr lang="fr-FR" sz="1200" spc="15" err="1">
                <a:solidFill>
                  <a:srgbClr val="20BE60"/>
                </a:solidFill>
                <a:latin typeface="Trebuchet MS" panose="020B0603020202020204" pitchFamily="34" charset="0"/>
                <a:cs typeface="Microsoft Sans Serif"/>
              </a:rPr>
              <a:t>we</a:t>
            </a:r>
            <a:r>
              <a:rPr lang="fr-FR" sz="1200" spc="15">
                <a:solidFill>
                  <a:srgbClr val="20BE60"/>
                </a:solidFill>
                <a:latin typeface="Trebuchet MS" panose="020B0603020202020204" pitchFamily="34" charset="0"/>
                <a:cs typeface="Microsoft Sans Serif"/>
              </a:rPr>
              <a:t> </a:t>
            </a:r>
            <a:r>
              <a:rPr lang="fr-FR" sz="1200" spc="15" err="1">
                <a:solidFill>
                  <a:srgbClr val="20BE60"/>
                </a:solidFill>
                <a:latin typeface="Trebuchet MS" panose="020B0603020202020204" pitchFamily="34" charset="0"/>
                <a:cs typeface="Microsoft Sans Serif"/>
              </a:rPr>
              <a:t>consider</a:t>
            </a:r>
            <a:r>
              <a:rPr lang="fr-FR" sz="1200" spc="15">
                <a:solidFill>
                  <a:srgbClr val="20BE60"/>
                </a:solidFill>
                <a:latin typeface="Trebuchet MS" panose="020B0603020202020204" pitchFamily="34" charset="0"/>
                <a:cs typeface="Microsoft Sans Serif"/>
              </a:rPr>
              <a:t> as </a:t>
            </a:r>
            <a:r>
              <a:rPr lang="fr-FR" sz="1200" spc="15" err="1">
                <a:solidFill>
                  <a:srgbClr val="20BE60"/>
                </a:solidFill>
                <a:latin typeface="Trebuchet MS" panose="020B0603020202020204" pitchFamily="34" charset="0"/>
                <a:cs typeface="Microsoft Sans Serif"/>
              </a:rPr>
              <a:t>churners</a:t>
            </a:r>
            <a:r>
              <a:rPr lang="fr-FR" sz="1200" spc="15">
                <a:solidFill>
                  <a:srgbClr val="20BE60"/>
                </a:solidFill>
                <a:latin typeface="Trebuchet MS" panose="020B0603020202020204" pitchFamily="34" charset="0"/>
                <a:cs typeface="Microsoft Sans Serif"/>
              </a:rPr>
              <a:t>: </a:t>
            </a:r>
          </a:p>
          <a:p>
            <a:pPr marL="184150" indent="-171450">
              <a:lnSpc>
                <a:spcPct val="100000"/>
              </a:lnSpc>
              <a:spcBef>
                <a:spcPts val="100"/>
              </a:spcBef>
              <a:buFontTx/>
              <a:buChar char="-"/>
            </a:pPr>
            <a:r>
              <a:rPr lang="fr-FR" sz="1200" spc="15" err="1">
                <a:solidFill>
                  <a:srgbClr val="20BE60"/>
                </a:solidFill>
                <a:latin typeface="Trebuchet MS" panose="020B0603020202020204" pitchFamily="34" charset="0"/>
                <a:cs typeface="Microsoft Sans Serif"/>
              </a:rPr>
              <a:t>Mean</a:t>
            </a:r>
            <a:r>
              <a:rPr lang="fr-FR" sz="1200" spc="15">
                <a:solidFill>
                  <a:srgbClr val="20BE60"/>
                </a:solidFill>
                <a:latin typeface="Trebuchet MS" panose="020B0603020202020204" pitchFamily="34" charset="0"/>
                <a:cs typeface="Microsoft Sans Serif"/>
              </a:rPr>
              <a:t> </a:t>
            </a:r>
            <a:r>
              <a:rPr lang="fr-FR" sz="1200" spc="15" err="1">
                <a:solidFill>
                  <a:srgbClr val="20BE60"/>
                </a:solidFill>
                <a:latin typeface="Trebuchet MS" panose="020B0603020202020204" pitchFamily="34" charset="0"/>
                <a:cs typeface="Microsoft Sans Serif"/>
              </a:rPr>
              <a:t>Churn</a:t>
            </a:r>
            <a:r>
              <a:rPr lang="fr-FR" sz="1200" spc="15">
                <a:solidFill>
                  <a:srgbClr val="20BE60"/>
                </a:solidFill>
                <a:latin typeface="Trebuchet MS" panose="020B0603020202020204" pitchFamily="34" charset="0"/>
                <a:cs typeface="Microsoft Sans Serif"/>
              </a:rPr>
              <a:t> rate of the construction </a:t>
            </a:r>
            <a:r>
              <a:rPr lang="fr-FR" sz="1200" spc="15" err="1">
                <a:solidFill>
                  <a:srgbClr val="20BE60"/>
                </a:solidFill>
                <a:latin typeface="Trebuchet MS" panose="020B0603020202020204" pitchFamily="34" charset="0"/>
                <a:cs typeface="Microsoft Sans Serif"/>
              </a:rPr>
              <a:t>industry</a:t>
            </a:r>
            <a:r>
              <a:rPr lang="fr-FR" sz="1200" spc="15">
                <a:solidFill>
                  <a:srgbClr val="20BE60"/>
                </a:solidFill>
                <a:latin typeface="Trebuchet MS" panose="020B0603020202020204" pitchFamily="34" charset="0"/>
                <a:cs typeface="Microsoft Sans Serif"/>
              </a:rPr>
              <a:t> : 25-35%</a:t>
            </a:r>
          </a:p>
          <a:p>
            <a:pPr marL="184150" indent="-171450">
              <a:lnSpc>
                <a:spcPct val="100000"/>
              </a:lnSpc>
              <a:spcBef>
                <a:spcPts val="100"/>
              </a:spcBef>
              <a:buFontTx/>
              <a:buChar char="-"/>
            </a:pPr>
            <a:r>
              <a:rPr lang="fr-FR" sz="1200" spc="15" err="1">
                <a:solidFill>
                  <a:srgbClr val="20BE60"/>
                </a:solidFill>
                <a:latin typeface="Trebuchet MS" panose="020B0603020202020204" pitchFamily="34" charset="0"/>
                <a:cs typeface="Microsoft Sans Serif"/>
              </a:rPr>
              <a:t>Mean</a:t>
            </a:r>
            <a:r>
              <a:rPr lang="fr-FR" sz="1200" spc="15">
                <a:solidFill>
                  <a:srgbClr val="20BE60"/>
                </a:solidFill>
                <a:latin typeface="Trebuchet MS" panose="020B0603020202020204" pitchFamily="34" charset="0"/>
                <a:cs typeface="Microsoft Sans Serif"/>
              </a:rPr>
              <a:t> </a:t>
            </a:r>
            <a:r>
              <a:rPr lang="fr-FR" sz="1200" spc="15" err="1">
                <a:solidFill>
                  <a:srgbClr val="20BE60"/>
                </a:solidFill>
                <a:latin typeface="Trebuchet MS" panose="020B0603020202020204" pitchFamily="34" charset="0"/>
                <a:cs typeface="Microsoft Sans Serif"/>
              </a:rPr>
              <a:t>commands</a:t>
            </a:r>
            <a:r>
              <a:rPr lang="fr-FR" sz="1200" spc="15">
                <a:solidFill>
                  <a:srgbClr val="20BE60"/>
                </a:solidFill>
                <a:latin typeface="Trebuchet MS" panose="020B0603020202020204" pitchFamily="34" charset="0"/>
                <a:cs typeface="Microsoft Sans Serif"/>
              </a:rPr>
              <a:t>’ </a:t>
            </a:r>
            <a:r>
              <a:rPr lang="fr-FR" sz="1200" spc="15" err="1">
                <a:solidFill>
                  <a:srgbClr val="20BE60"/>
                </a:solidFill>
                <a:latin typeface="Trebuchet MS" panose="020B0603020202020204" pitchFamily="34" charset="0"/>
                <a:cs typeface="Microsoft Sans Serif"/>
              </a:rPr>
              <a:t>frequency</a:t>
            </a:r>
            <a:r>
              <a:rPr lang="fr-FR" sz="1200" spc="15">
                <a:solidFill>
                  <a:srgbClr val="20BE60"/>
                </a:solidFill>
                <a:latin typeface="Trebuchet MS" panose="020B0603020202020204" pitchFamily="34" charset="0"/>
                <a:cs typeface="Microsoft Sans Serif"/>
              </a:rPr>
              <a:t> : 49 </a:t>
            </a:r>
            <a:r>
              <a:rPr lang="fr-FR" sz="1200" spc="15" err="1">
                <a:solidFill>
                  <a:srgbClr val="20BE60"/>
                </a:solidFill>
                <a:latin typeface="Trebuchet MS" panose="020B0603020202020204" pitchFamily="34" charset="0"/>
                <a:cs typeface="Microsoft Sans Serif"/>
              </a:rPr>
              <a:t>days</a:t>
            </a:r>
            <a:endParaRPr lang="fr-FR" sz="1200" spc="15">
              <a:solidFill>
                <a:srgbClr val="20BE60"/>
              </a:solidFill>
              <a:latin typeface="Trebuchet MS" panose="020B0603020202020204" pitchFamily="34" charset="0"/>
              <a:cs typeface="Microsoft Sans Serif"/>
            </a:endParaRPr>
          </a:p>
        </p:txBody>
      </p:sp>
      <p:sp>
        <p:nvSpPr>
          <p:cNvPr id="16" name="object 2">
            <a:extLst>
              <a:ext uri="{FF2B5EF4-FFF2-40B4-BE49-F238E27FC236}">
                <a16:creationId xmlns:a16="http://schemas.microsoft.com/office/drawing/2014/main" id="{2B9B8881-9AB3-BF71-7A4A-0B688D80E9BF}"/>
              </a:ext>
            </a:extLst>
          </p:cNvPr>
          <p:cNvSpPr txBox="1">
            <a:spLocks/>
          </p:cNvSpPr>
          <p:nvPr/>
        </p:nvSpPr>
        <p:spPr>
          <a:xfrm>
            <a:off x="559299" y="73103"/>
            <a:ext cx="11073402" cy="1540806"/>
          </a:xfrm>
          <a:prstGeom prst="rect">
            <a:avLst/>
          </a:prstGeom>
        </p:spPr>
        <p:txBody>
          <a:bodyPr vert="horz" wrap="square" lIns="0" tIns="52705" rIns="0" bIns="0" rtlCol="0">
            <a:spAutoFit/>
          </a:bodyPr>
          <a:lstStyle>
            <a:lvl1pPr algn="l" defTabSz="914400" rtl="0" eaLnBrk="1" latinLnBrk="0" hangingPunct="1">
              <a:lnSpc>
                <a:spcPct val="93000"/>
              </a:lnSpc>
              <a:spcBef>
                <a:spcPct val="0"/>
              </a:spcBef>
              <a:buNone/>
              <a:defRPr sz="2800" kern="0">
                <a:solidFill>
                  <a:srgbClr val="21BF61"/>
                </a:solidFill>
                <a:latin typeface="+mj-lt"/>
                <a:ea typeface="+mj-ea"/>
                <a:cs typeface="+mj-cs"/>
                <a:sym typeface="Trebuchet MS" panose="020B0603020202020204" pitchFamily="34" charset="0"/>
              </a:defRPr>
            </a:lvl1pPr>
          </a:lstStyle>
          <a:p>
            <a:pPr marL="12700" marR="5080">
              <a:lnSpc>
                <a:spcPts val="3610"/>
              </a:lnSpc>
              <a:spcBef>
                <a:spcPts val="415"/>
              </a:spcBef>
            </a:pPr>
            <a:r>
              <a:rPr lang="fr-FR" sz="3200" spc="-5">
                <a:solidFill>
                  <a:srgbClr val="20BE60"/>
                </a:solidFill>
              </a:rPr>
              <a:t>Annex 8a : </a:t>
            </a:r>
          </a:p>
          <a:p>
            <a:pPr marL="12700" marR="5080">
              <a:lnSpc>
                <a:spcPts val="3610"/>
              </a:lnSpc>
              <a:spcBef>
                <a:spcPts val="415"/>
              </a:spcBef>
            </a:pPr>
            <a:r>
              <a:rPr lang="fr-FR" sz="3200" spc="-5" err="1">
                <a:solidFill>
                  <a:srgbClr val="20BE60"/>
                </a:solidFill>
              </a:rPr>
              <a:t>Churn</a:t>
            </a:r>
            <a:r>
              <a:rPr lang="fr-FR" sz="3200" spc="-5">
                <a:solidFill>
                  <a:srgbClr val="20BE60"/>
                </a:solidFill>
              </a:rPr>
              <a:t> modélisation : </a:t>
            </a:r>
            <a:r>
              <a:rPr lang="fr-FR" sz="3200" spc="-5" err="1">
                <a:solidFill>
                  <a:srgbClr val="20BE60"/>
                </a:solidFill>
              </a:rPr>
              <a:t>creation</a:t>
            </a:r>
            <a:r>
              <a:rPr lang="fr-FR" sz="3200" spc="-5">
                <a:solidFill>
                  <a:srgbClr val="20BE60"/>
                </a:solidFill>
              </a:rPr>
              <a:t> of </a:t>
            </a:r>
            <a:r>
              <a:rPr lang="fr-FR" sz="3200" spc="-5" err="1">
                <a:solidFill>
                  <a:srgbClr val="20BE60"/>
                </a:solidFill>
              </a:rPr>
              <a:t>customers</a:t>
            </a:r>
            <a:r>
              <a:rPr lang="fr-FR" sz="3200" spc="-5">
                <a:solidFill>
                  <a:srgbClr val="20BE60"/>
                </a:solidFill>
              </a:rPr>
              <a:t> profiles </a:t>
            </a:r>
            <a:r>
              <a:rPr lang="fr-FR" sz="3200" spc="-5" err="1">
                <a:solidFill>
                  <a:srgbClr val="20BE60"/>
                </a:solidFill>
              </a:rPr>
              <a:t>with</a:t>
            </a:r>
            <a:r>
              <a:rPr lang="fr-FR" sz="3200" spc="-5">
                <a:solidFill>
                  <a:srgbClr val="20BE60"/>
                </a:solidFill>
              </a:rPr>
              <a:t> </a:t>
            </a:r>
            <a:r>
              <a:rPr lang="fr-FR" sz="3200" spc="-5" err="1">
                <a:solidFill>
                  <a:srgbClr val="20BE60"/>
                </a:solidFill>
              </a:rPr>
              <a:t>significant</a:t>
            </a:r>
            <a:r>
              <a:rPr lang="fr-FR" sz="3200" spc="-5">
                <a:solidFill>
                  <a:srgbClr val="20BE60"/>
                </a:solidFill>
              </a:rPr>
              <a:t> </a:t>
            </a:r>
            <a:r>
              <a:rPr lang="fr-FR" sz="3200" spc="-5" err="1">
                <a:solidFill>
                  <a:srgbClr val="20BE60"/>
                </a:solidFill>
              </a:rPr>
              <a:t>features</a:t>
            </a:r>
            <a:endParaRPr lang="en-US" sz="3200"/>
          </a:p>
        </p:txBody>
      </p:sp>
    </p:spTree>
    <p:extLst>
      <p:ext uri="{BB962C8B-B14F-4D97-AF65-F5344CB8AC3E}">
        <p14:creationId xmlns:p14="http://schemas.microsoft.com/office/powerpoint/2010/main" val="53165629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E7D7E47-8883-FFA1-6233-F06BB274F14C}"/>
              </a:ext>
            </a:extLst>
          </p:cNvPr>
          <p:cNvSpPr>
            <a:spLocks noGrp="1"/>
          </p:cNvSpPr>
          <p:nvPr>
            <p:ph type="title" idx="4294967295"/>
          </p:nvPr>
        </p:nvSpPr>
        <p:spPr>
          <a:xfrm>
            <a:off x="647112" y="622300"/>
            <a:ext cx="6256338" cy="471488"/>
          </a:xfrm>
        </p:spPr>
        <p:txBody>
          <a:bodyPr/>
          <a:lstStyle/>
          <a:p>
            <a:r>
              <a:rPr lang="fr-FR"/>
              <a:t>Annex 8b : </a:t>
            </a:r>
            <a:br>
              <a:rPr lang="fr-FR"/>
            </a:br>
            <a:r>
              <a:rPr lang="fr-FR" err="1"/>
              <a:t>Choice</a:t>
            </a:r>
            <a:r>
              <a:rPr lang="fr-FR"/>
              <a:t> of </a:t>
            </a:r>
            <a:r>
              <a:rPr lang="fr-FR" err="1"/>
              <a:t>parameters</a:t>
            </a:r>
            <a:r>
              <a:rPr lang="fr-FR"/>
              <a:t> in the model</a:t>
            </a:r>
          </a:p>
        </p:txBody>
      </p:sp>
      <p:pic>
        <p:nvPicPr>
          <p:cNvPr id="5" name="Picture 4">
            <a:extLst>
              <a:ext uri="{FF2B5EF4-FFF2-40B4-BE49-F238E27FC236}">
                <a16:creationId xmlns:a16="http://schemas.microsoft.com/office/drawing/2014/main" id="{18BF6404-4F2F-DAE1-5842-B9D8550B43EF}"/>
              </a:ext>
            </a:extLst>
          </p:cNvPr>
          <p:cNvPicPr>
            <a:picLocks noChangeAspect="1"/>
          </p:cNvPicPr>
          <p:nvPr/>
        </p:nvPicPr>
        <p:blipFill>
          <a:blip r:embed="rId2"/>
          <a:stretch>
            <a:fillRect/>
          </a:stretch>
        </p:blipFill>
        <p:spPr>
          <a:xfrm>
            <a:off x="1796976" y="2448672"/>
            <a:ext cx="2521708" cy="2490317"/>
          </a:xfrm>
          <a:prstGeom prst="rect">
            <a:avLst/>
          </a:prstGeom>
        </p:spPr>
      </p:pic>
      <p:pic>
        <p:nvPicPr>
          <p:cNvPr id="7" name="Picture 6">
            <a:extLst>
              <a:ext uri="{FF2B5EF4-FFF2-40B4-BE49-F238E27FC236}">
                <a16:creationId xmlns:a16="http://schemas.microsoft.com/office/drawing/2014/main" id="{0D95C813-7E29-9985-7206-563EDCD1F2B6}"/>
              </a:ext>
            </a:extLst>
          </p:cNvPr>
          <p:cNvPicPr>
            <a:picLocks noChangeAspect="1"/>
          </p:cNvPicPr>
          <p:nvPr/>
        </p:nvPicPr>
        <p:blipFill>
          <a:blip r:embed="rId3"/>
          <a:stretch>
            <a:fillRect/>
          </a:stretch>
        </p:blipFill>
        <p:spPr>
          <a:xfrm>
            <a:off x="5426537" y="2519899"/>
            <a:ext cx="2310693" cy="2483455"/>
          </a:xfrm>
          <a:prstGeom prst="rect">
            <a:avLst/>
          </a:prstGeom>
        </p:spPr>
      </p:pic>
      <p:sp>
        <p:nvSpPr>
          <p:cNvPr id="9" name="object 3">
            <a:extLst>
              <a:ext uri="{FF2B5EF4-FFF2-40B4-BE49-F238E27FC236}">
                <a16:creationId xmlns:a16="http://schemas.microsoft.com/office/drawing/2014/main" id="{1E2445DA-DEBD-FCB1-86C7-0FCDF1F8FE03}"/>
              </a:ext>
            </a:extLst>
          </p:cNvPr>
          <p:cNvSpPr txBox="1"/>
          <p:nvPr/>
        </p:nvSpPr>
        <p:spPr>
          <a:xfrm>
            <a:off x="876287" y="5345356"/>
            <a:ext cx="3991135" cy="505267"/>
          </a:xfrm>
          <a:prstGeom prst="rect">
            <a:avLst/>
          </a:prstGeom>
        </p:spPr>
        <p:txBody>
          <a:bodyPr vert="horz" wrap="square" lIns="0" tIns="12700" rIns="0" bIns="0" rtlCol="0">
            <a:spAutoFit/>
          </a:bodyPr>
          <a:lstStyle/>
          <a:p>
            <a:pPr marL="12700" algn="ctr">
              <a:lnSpc>
                <a:spcPct val="100000"/>
              </a:lnSpc>
              <a:spcBef>
                <a:spcPts val="100"/>
              </a:spcBef>
              <a:buClr>
                <a:srgbClr val="9A9CA1"/>
              </a:buClr>
              <a:tabLst>
                <a:tab pos="226060" algn="l"/>
              </a:tabLst>
            </a:pPr>
            <a:r>
              <a:rPr lang="en-US" sz="1600" spc="-5">
                <a:solidFill>
                  <a:srgbClr val="373739"/>
                </a:solidFill>
                <a:latin typeface="Trebuchet MS"/>
              </a:rPr>
              <a:t>Comparison between all the commands and the last 3</a:t>
            </a:r>
          </a:p>
        </p:txBody>
      </p:sp>
      <p:sp>
        <p:nvSpPr>
          <p:cNvPr id="10" name="object 3">
            <a:extLst>
              <a:ext uri="{FF2B5EF4-FFF2-40B4-BE49-F238E27FC236}">
                <a16:creationId xmlns:a16="http://schemas.microsoft.com/office/drawing/2014/main" id="{FF47B496-FA68-C249-3BDC-3C4D78EF86EB}"/>
              </a:ext>
            </a:extLst>
          </p:cNvPr>
          <p:cNvSpPr txBox="1"/>
          <p:nvPr/>
        </p:nvSpPr>
        <p:spPr>
          <a:xfrm>
            <a:off x="5331057" y="5215833"/>
            <a:ext cx="6232293" cy="1010533"/>
          </a:xfrm>
          <a:prstGeom prst="rect">
            <a:avLst/>
          </a:prstGeom>
        </p:spPr>
        <p:txBody>
          <a:bodyPr vert="horz" wrap="square" lIns="0" tIns="12700" rIns="0" bIns="0" rtlCol="0">
            <a:spAutoFit/>
          </a:bodyPr>
          <a:lstStyle/>
          <a:p>
            <a:pPr marL="12700" algn="ctr">
              <a:lnSpc>
                <a:spcPct val="100000"/>
              </a:lnSpc>
              <a:spcBef>
                <a:spcPts val="100"/>
              </a:spcBef>
              <a:buClr>
                <a:srgbClr val="9A9CA1"/>
              </a:buClr>
              <a:tabLst>
                <a:tab pos="226060" algn="l"/>
              </a:tabLst>
            </a:pPr>
            <a:r>
              <a:rPr lang="en-US" sz="1600" spc="-5">
                <a:solidFill>
                  <a:srgbClr val="373739"/>
                </a:solidFill>
                <a:latin typeface="Trebuchet MS"/>
              </a:rPr>
              <a:t>Mean frequency of </a:t>
            </a:r>
            <a:r>
              <a:rPr lang="en-US" sz="1600" b="1" spc="-5">
                <a:solidFill>
                  <a:srgbClr val="373739"/>
                </a:solidFill>
                <a:latin typeface="Trebuchet MS"/>
              </a:rPr>
              <a:t>49 days</a:t>
            </a:r>
            <a:r>
              <a:rPr lang="en-US" sz="1600" spc="-5">
                <a:solidFill>
                  <a:srgbClr val="373739"/>
                </a:solidFill>
                <a:latin typeface="Trebuchet MS"/>
              </a:rPr>
              <a:t>. Choice of selecting the </a:t>
            </a:r>
            <a:r>
              <a:rPr lang="en-US" sz="1600" b="1" spc="-5">
                <a:solidFill>
                  <a:srgbClr val="373739"/>
                </a:solidFill>
                <a:latin typeface="Trebuchet MS"/>
              </a:rPr>
              <a:t>last 5 months </a:t>
            </a:r>
            <a:r>
              <a:rPr lang="en-US" sz="1600" spc="-5">
                <a:solidFill>
                  <a:srgbClr val="373739"/>
                </a:solidFill>
                <a:latin typeface="Trebuchet MS"/>
              </a:rPr>
              <a:t>for defining the churn (if no command for 5 months, the client has churned)</a:t>
            </a:r>
          </a:p>
          <a:p>
            <a:pPr marL="12700" algn="ctr">
              <a:lnSpc>
                <a:spcPct val="100000"/>
              </a:lnSpc>
              <a:spcBef>
                <a:spcPts val="100"/>
              </a:spcBef>
              <a:buClr>
                <a:srgbClr val="9A9CA1"/>
              </a:buClr>
              <a:tabLst>
                <a:tab pos="226060" algn="l"/>
              </a:tabLst>
            </a:pPr>
            <a:r>
              <a:rPr lang="en-US" sz="1600" spc="-5">
                <a:solidFill>
                  <a:srgbClr val="373739"/>
                </a:solidFill>
                <a:latin typeface="Trebuchet MS"/>
              </a:rPr>
              <a:t>Find churn rate of 22% (ok with the median of the industry)</a:t>
            </a:r>
          </a:p>
        </p:txBody>
      </p:sp>
      <p:pic>
        <p:nvPicPr>
          <p:cNvPr id="12" name="Picture 11">
            <a:extLst>
              <a:ext uri="{FF2B5EF4-FFF2-40B4-BE49-F238E27FC236}">
                <a16:creationId xmlns:a16="http://schemas.microsoft.com/office/drawing/2014/main" id="{CF9ABE79-F5D3-09BB-4CA4-DEDD94C1B391}"/>
              </a:ext>
            </a:extLst>
          </p:cNvPr>
          <p:cNvPicPr>
            <a:picLocks noChangeAspect="1"/>
          </p:cNvPicPr>
          <p:nvPr/>
        </p:nvPicPr>
        <p:blipFill rotWithShape="1">
          <a:blip r:embed="rId4"/>
          <a:srcRect r="26890"/>
          <a:stretch/>
        </p:blipFill>
        <p:spPr>
          <a:xfrm>
            <a:off x="7802979" y="2307101"/>
            <a:ext cx="3767780" cy="2831639"/>
          </a:xfrm>
          <a:prstGeom prst="rect">
            <a:avLst/>
          </a:prstGeom>
        </p:spPr>
      </p:pic>
      <p:sp>
        <p:nvSpPr>
          <p:cNvPr id="13" name="object 34">
            <a:extLst>
              <a:ext uri="{FF2B5EF4-FFF2-40B4-BE49-F238E27FC236}">
                <a16:creationId xmlns:a16="http://schemas.microsoft.com/office/drawing/2014/main" id="{240DFE70-FBF4-C274-9AB9-8F039F955E9F}"/>
              </a:ext>
            </a:extLst>
          </p:cNvPr>
          <p:cNvSpPr/>
          <p:nvPr/>
        </p:nvSpPr>
        <p:spPr>
          <a:xfrm rot="5400000">
            <a:off x="3058424" y="4138243"/>
            <a:ext cx="4130527" cy="45719"/>
          </a:xfrm>
          <a:custGeom>
            <a:avLst/>
            <a:gdLst/>
            <a:ahLst/>
            <a:cxnLst/>
            <a:rect l="l" t="t" r="r" b="b"/>
            <a:pathLst>
              <a:path w="9930765">
                <a:moveTo>
                  <a:pt x="0" y="0"/>
                </a:moveTo>
                <a:lnTo>
                  <a:pt x="9930384" y="0"/>
                </a:lnTo>
              </a:path>
            </a:pathLst>
          </a:custGeom>
          <a:ln w="9525">
            <a:solidFill>
              <a:srgbClr val="9A9A9A"/>
            </a:solidFill>
            <a:prstDash val="dash"/>
          </a:ln>
        </p:spPr>
        <p:txBody>
          <a:bodyPr wrap="square" lIns="0" tIns="0" rIns="0" bIns="0" rtlCol="0"/>
          <a:lstStyle/>
          <a:p>
            <a:endParaRPr/>
          </a:p>
        </p:txBody>
      </p:sp>
      <p:sp>
        <p:nvSpPr>
          <p:cNvPr id="14" name="object 3">
            <a:extLst>
              <a:ext uri="{FF2B5EF4-FFF2-40B4-BE49-F238E27FC236}">
                <a16:creationId xmlns:a16="http://schemas.microsoft.com/office/drawing/2014/main" id="{C9AF8FF5-7132-3342-96EE-BD5F1D29F7DA}"/>
              </a:ext>
            </a:extLst>
          </p:cNvPr>
          <p:cNvSpPr txBox="1"/>
          <p:nvPr/>
        </p:nvSpPr>
        <p:spPr>
          <a:xfrm>
            <a:off x="2293190" y="2519899"/>
            <a:ext cx="1995568" cy="170157"/>
          </a:xfrm>
          <a:prstGeom prst="rect">
            <a:avLst/>
          </a:prstGeom>
          <a:solidFill>
            <a:schemeClr val="bg1"/>
          </a:solidFill>
        </p:spPr>
        <p:txBody>
          <a:bodyPr vert="horz" wrap="square" lIns="0" tIns="12700" rIns="0" bIns="0" rtlCol="0">
            <a:spAutoFit/>
          </a:bodyPr>
          <a:lstStyle/>
          <a:p>
            <a:pPr marL="12700" algn="ctr">
              <a:lnSpc>
                <a:spcPct val="100000"/>
              </a:lnSpc>
              <a:spcBef>
                <a:spcPts val="100"/>
              </a:spcBef>
              <a:buClr>
                <a:srgbClr val="9A9CA1"/>
              </a:buClr>
              <a:tabLst>
                <a:tab pos="226060" algn="l"/>
              </a:tabLst>
            </a:pPr>
            <a:r>
              <a:rPr lang="en-US" sz="1000" b="1" spc="-5">
                <a:solidFill>
                  <a:srgbClr val="373739"/>
                </a:solidFill>
                <a:latin typeface="Trebuchet MS"/>
              </a:rPr>
              <a:t>Number of commands by clients</a:t>
            </a:r>
            <a:endParaRPr lang="en-US" sz="1600" b="1" spc="-5">
              <a:solidFill>
                <a:srgbClr val="373739"/>
              </a:solidFill>
              <a:latin typeface="Trebuchet MS"/>
            </a:endParaRPr>
          </a:p>
        </p:txBody>
      </p:sp>
      <p:sp>
        <p:nvSpPr>
          <p:cNvPr id="15" name="object 20">
            <a:extLst>
              <a:ext uri="{FF2B5EF4-FFF2-40B4-BE49-F238E27FC236}">
                <a16:creationId xmlns:a16="http://schemas.microsoft.com/office/drawing/2014/main" id="{8A245215-CFB3-28B3-CCD8-0B7C599E8A88}"/>
              </a:ext>
            </a:extLst>
          </p:cNvPr>
          <p:cNvSpPr txBox="1"/>
          <p:nvPr/>
        </p:nvSpPr>
        <p:spPr>
          <a:xfrm>
            <a:off x="699894" y="1856566"/>
            <a:ext cx="4216424" cy="443711"/>
          </a:xfrm>
          <a:prstGeom prst="rect">
            <a:avLst/>
          </a:prstGeom>
        </p:spPr>
        <p:txBody>
          <a:bodyPr vert="horz" wrap="square" lIns="0" tIns="12700" rIns="0" bIns="0" rtlCol="0">
            <a:spAutoFit/>
          </a:bodyPr>
          <a:lstStyle/>
          <a:p>
            <a:pPr marL="12700" algn="ctr">
              <a:lnSpc>
                <a:spcPct val="100000"/>
              </a:lnSpc>
              <a:spcBef>
                <a:spcPts val="100"/>
              </a:spcBef>
            </a:pPr>
            <a:r>
              <a:rPr lang="en-US" sz="1400" spc="15">
                <a:solidFill>
                  <a:srgbClr val="20BE60"/>
                </a:solidFill>
                <a:latin typeface="Microsoft Sans Serif"/>
                <a:cs typeface="Microsoft Sans Serif"/>
              </a:rPr>
              <a:t>Choice of the number of commands for the comparisons</a:t>
            </a:r>
            <a:endParaRPr lang="fr-FR" sz="1400">
              <a:latin typeface="Microsoft Sans Serif"/>
              <a:cs typeface="Microsoft Sans Serif"/>
            </a:endParaRPr>
          </a:p>
        </p:txBody>
      </p:sp>
      <p:sp>
        <p:nvSpPr>
          <p:cNvPr id="16" name="object 20">
            <a:extLst>
              <a:ext uri="{FF2B5EF4-FFF2-40B4-BE49-F238E27FC236}">
                <a16:creationId xmlns:a16="http://schemas.microsoft.com/office/drawing/2014/main" id="{AA047201-1E45-435E-46EB-48F6FEA1E631}"/>
              </a:ext>
            </a:extLst>
          </p:cNvPr>
          <p:cNvSpPr txBox="1"/>
          <p:nvPr/>
        </p:nvSpPr>
        <p:spPr>
          <a:xfrm>
            <a:off x="5818187" y="1856566"/>
            <a:ext cx="5291771" cy="228268"/>
          </a:xfrm>
          <a:prstGeom prst="rect">
            <a:avLst/>
          </a:prstGeom>
        </p:spPr>
        <p:txBody>
          <a:bodyPr vert="horz" wrap="square" lIns="0" tIns="12700" rIns="0" bIns="0" rtlCol="0">
            <a:spAutoFit/>
          </a:bodyPr>
          <a:lstStyle/>
          <a:p>
            <a:pPr marL="12700" algn="ctr">
              <a:lnSpc>
                <a:spcPct val="100000"/>
              </a:lnSpc>
              <a:spcBef>
                <a:spcPts val="100"/>
              </a:spcBef>
            </a:pPr>
            <a:r>
              <a:rPr lang="en-US" sz="1400" spc="15">
                <a:solidFill>
                  <a:srgbClr val="20BE60"/>
                </a:solidFill>
                <a:latin typeface="Microsoft Sans Serif"/>
                <a:cs typeface="Microsoft Sans Serif"/>
              </a:rPr>
              <a:t>Choice of the number of months of silence to determine the churn</a:t>
            </a:r>
            <a:endParaRPr lang="fr-FR" sz="1400">
              <a:latin typeface="Microsoft Sans Serif"/>
              <a:cs typeface="Microsoft Sans Serif"/>
            </a:endParaRPr>
          </a:p>
        </p:txBody>
      </p:sp>
      <p:sp>
        <p:nvSpPr>
          <p:cNvPr id="3" name="object 3">
            <a:extLst>
              <a:ext uri="{FF2B5EF4-FFF2-40B4-BE49-F238E27FC236}">
                <a16:creationId xmlns:a16="http://schemas.microsoft.com/office/drawing/2014/main" id="{8932CF8F-5064-71AF-8291-D80E22862808}"/>
              </a:ext>
            </a:extLst>
          </p:cNvPr>
          <p:cNvSpPr txBox="1"/>
          <p:nvPr/>
        </p:nvSpPr>
        <p:spPr>
          <a:xfrm>
            <a:off x="5249449" y="6328078"/>
            <a:ext cx="6232293" cy="166712"/>
          </a:xfrm>
          <a:prstGeom prst="rect">
            <a:avLst/>
          </a:prstGeom>
        </p:spPr>
        <p:txBody>
          <a:bodyPr vert="horz" wrap="square" lIns="0" tIns="12700" rIns="0" bIns="0" rtlCol="0">
            <a:spAutoFit/>
          </a:bodyPr>
          <a:lstStyle/>
          <a:p>
            <a:pPr fontAlgn="base"/>
            <a:r>
              <a:rPr lang="en-US" sz="1000" u="sng" spc="-5">
                <a:solidFill>
                  <a:srgbClr val="373739"/>
                </a:solidFill>
                <a:latin typeface="Trebuchet MS"/>
              </a:rPr>
              <a:t>Source:</a:t>
            </a:r>
            <a:r>
              <a:rPr lang="en-US" sz="1000" spc="-5">
                <a:solidFill>
                  <a:srgbClr val="373739"/>
                </a:solidFill>
                <a:latin typeface="Trebuchet MS"/>
              </a:rPr>
              <a:t> Customergauge.com, What’s the Average Churn Rate by Industry?, Sabrina </a:t>
            </a:r>
            <a:r>
              <a:rPr lang="en-US" sz="1000" spc="-5" err="1">
                <a:solidFill>
                  <a:srgbClr val="373739"/>
                </a:solidFill>
                <a:latin typeface="Trebuchet MS"/>
              </a:rPr>
              <a:t>Tessitore</a:t>
            </a:r>
            <a:r>
              <a:rPr lang="en-US" sz="1000" spc="-5">
                <a:solidFill>
                  <a:srgbClr val="373739"/>
                </a:solidFill>
                <a:latin typeface="Trebuchet MS"/>
              </a:rPr>
              <a:t>, November 2022</a:t>
            </a:r>
          </a:p>
        </p:txBody>
      </p:sp>
      <p:sp>
        <p:nvSpPr>
          <p:cNvPr id="4" name="Rectangle 3">
            <a:extLst>
              <a:ext uri="{FF2B5EF4-FFF2-40B4-BE49-F238E27FC236}">
                <a16:creationId xmlns:a16="http://schemas.microsoft.com/office/drawing/2014/main" id="{ED479B46-0F3B-383C-1012-4D6CBB0BF7A6}"/>
              </a:ext>
            </a:extLst>
          </p:cNvPr>
          <p:cNvSpPr/>
          <p:nvPr/>
        </p:nvSpPr>
        <p:spPr>
          <a:xfrm>
            <a:off x="8117058" y="3981157"/>
            <a:ext cx="3453701" cy="365760"/>
          </a:xfrm>
          <a:prstGeom prst="rect">
            <a:avLst/>
          </a:prstGeom>
          <a:noFill/>
          <a:ln w="28575" cap="rnd" cmpd="sng" algn="ctr">
            <a:solidFill>
              <a:srgbClr val="20BE6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200">
              <a:solidFill>
                <a:srgbClr val="FFFFFF"/>
              </a:solidFill>
            </a:endParaRPr>
          </a:p>
        </p:txBody>
      </p:sp>
    </p:spTree>
    <p:extLst>
      <p:ext uri="{BB962C8B-B14F-4D97-AF65-F5344CB8AC3E}">
        <p14:creationId xmlns:p14="http://schemas.microsoft.com/office/powerpoint/2010/main" val="245046711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E7D7E47-8883-FFA1-6233-F06BB274F14C}"/>
              </a:ext>
            </a:extLst>
          </p:cNvPr>
          <p:cNvSpPr>
            <a:spLocks noGrp="1"/>
          </p:cNvSpPr>
          <p:nvPr>
            <p:ph type="title" idx="4294967295"/>
          </p:nvPr>
        </p:nvSpPr>
        <p:spPr>
          <a:xfrm>
            <a:off x="647112" y="622300"/>
            <a:ext cx="6256338" cy="471488"/>
          </a:xfrm>
        </p:spPr>
        <p:txBody>
          <a:bodyPr/>
          <a:lstStyle/>
          <a:p>
            <a:r>
              <a:rPr lang="fr-FR"/>
              <a:t>Annex 9 : </a:t>
            </a:r>
            <a:br>
              <a:rPr lang="fr-FR"/>
            </a:br>
            <a:r>
              <a:rPr lang="fr-FR" err="1"/>
              <a:t>Results</a:t>
            </a:r>
            <a:r>
              <a:rPr lang="fr-FR"/>
              <a:t> of all </a:t>
            </a:r>
            <a:r>
              <a:rPr lang="fr-FR" err="1"/>
              <a:t>algorithms</a:t>
            </a:r>
            <a:r>
              <a:rPr lang="fr-FR"/>
              <a:t> </a:t>
            </a:r>
            <a:r>
              <a:rPr lang="fr-FR" err="1"/>
              <a:t>tested</a:t>
            </a:r>
            <a:endParaRPr lang="fr-FR"/>
          </a:p>
        </p:txBody>
      </p:sp>
      <p:graphicFrame>
        <p:nvGraphicFramePr>
          <p:cNvPr id="8" name="Table 10">
            <a:extLst>
              <a:ext uri="{FF2B5EF4-FFF2-40B4-BE49-F238E27FC236}">
                <a16:creationId xmlns:a16="http://schemas.microsoft.com/office/drawing/2014/main" id="{53C8CAF3-A757-A24E-0AF4-6CD35504E70F}"/>
              </a:ext>
            </a:extLst>
          </p:cNvPr>
          <p:cNvGraphicFramePr>
            <a:graphicFrameLocks noGrp="1"/>
          </p:cNvGraphicFramePr>
          <p:nvPr>
            <p:extLst>
              <p:ext uri="{D42A27DB-BD31-4B8C-83A1-F6EECF244321}">
                <p14:modId xmlns:p14="http://schemas.microsoft.com/office/powerpoint/2010/main" val="1364017504"/>
              </p:ext>
            </p:extLst>
          </p:nvPr>
        </p:nvGraphicFramePr>
        <p:xfrm>
          <a:off x="647112" y="2461044"/>
          <a:ext cx="10916238" cy="3032760"/>
        </p:xfrm>
        <a:graphic>
          <a:graphicData uri="http://schemas.openxmlformats.org/drawingml/2006/table">
            <a:tbl>
              <a:tblPr firstRow="1" bandRow="1">
                <a:tableStyleId>{0E3FDE45-AF77-4B5C-9715-49D594BDF05E}</a:tableStyleId>
              </a:tblPr>
              <a:tblGrid>
                <a:gridCol w="2067953">
                  <a:extLst>
                    <a:ext uri="{9D8B030D-6E8A-4147-A177-3AD203B41FA5}">
                      <a16:colId xmlns:a16="http://schemas.microsoft.com/office/drawing/2014/main" val="1160432134"/>
                    </a:ext>
                  </a:extLst>
                </a:gridCol>
                <a:gridCol w="1570793">
                  <a:extLst>
                    <a:ext uri="{9D8B030D-6E8A-4147-A177-3AD203B41FA5}">
                      <a16:colId xmlns:a16="http://schemas.microsoft.com/office/drawing/2014/main" val="1364888123"/>
                    </a:ext>
                  </a:extLst>
                </a:gridCol>
                <a:gridCol w="1819373">
                  <a:extLst>
                    <a:ext uri="{9D8B030D-6E8A-4147-A177-3AD203B41FA5}">
                      <a16:colId xmlns:a16="http://schemas.microsoft.com/office/drawing/2014/main" val="3683985027"/>
                    </a:ext>
                  </a:extLst>
                </a:gridCol>
                <a:gridCol w="1819373">
                  <a:extLst>
                    <a:ext uri="{9D8B030D-6E8A-4147-A177-3AD203B41FA5}">
                      <a16:colId xmlns:a16="http://schemas.microsoft.com/office/drawing/2014/main" val="2854210487"/>
                    </a:ext>
                  </a:extLst>
                </a:gridCol>
                <a:gridCol w="1819373">
                  <a:extLst>
                    <a:ext uri="{9D8B030D-6E8A-4147-A177-3AD203B41FA5}">
                      <a16:colId xmlns:a16="http://schemas.microsoft.com/office/drawing/2014/main" val="3084021471"/>
                    </a:ext>
                  </a:extLst>
                </a:gridCol>
                <a:gridCol w="1819373">
                  <a:extLst>
                    <a:ext uri="{9D8B030D-6E8A-4147-A177-3AD203B41FA5}">
                      <a16:colId xmlns:a16="http://schemas.microsoft.com/office/drawing/2014/main" val="1118720829"/>
                    </a:ext>
                  </a:extLst>
                </a:gridCol>
              </a:tblGrid>
              <a:tr h="370840">
                <a:tc>
                  <a:txBody>
                    <a:bodyPr/>
                    <a:lstStyle/>
                    <a:p>
                      <a:pPr algn="ctr"/>
                      <a:endParaRPr lang="fr-FR">
                        <a:solidFill>
                          <a:schemeClr val="tx1"/>
                        </a:solidFill>
                      </a:endParaRPr>
                    </a:p>
                  </a:txBody>
                  <a:tcPr anchor="ctr"/>
                </a:tc>
                <a:tc>
                  <a:txBody>
                    <a:bodyPr/>
                    <a:lstStyle/>
                    <a:p>
                      <a:pPr algn="ctr"/>
                      <a:r>
                        <a:rPr lang="fr-FR">
                          <a:solidFill>
                            <a:schemeClr val="tx1"/>
                          </a:solidFill>
                        </a:rPr>
                        <a:t>Wei. Avg. Precision</a:t>
                      </a:r>
                    </a:p>
                  </a:txBody>
                  <a:tcPr anchor="ctr"/>
                </a:tc>
                <a:tc>
                  <a:txBody>
                    <a:bodyPr/>
                    <a:lstStyle/>
                    <a:p>
                      <a:pPr algn="ctr"/>
                      <a:r>
                        <a:rPr lang="fr-FR">
                          <a:solidFill>
                            <a:schemeClr val="tx1"/>
                          </a:solidFill>
                        </a:rPr>
                        <a:t>Wei. Avg. Recall</a:t>
                      </a:r>
                    </a:p>
                  </a:txBody>
                  <a:tcPr anchor="ctr"/>
                </a:tc>
                <a:tc>
                  <a:txBody>
                    <a:bodyPr/>
                    <a:lstStyle/>
                    <a:p>
                      <a:pPr algn="ctr"/>
                      <a:r>
                        <a:rPr lang="fr-FR">
                          <a:solidFill>
                            <a:schemeClr val="tx1"/>
                          </a:solidFill>
                        </a:rPr>
                        <a:t>Wei. Avg. F1-score</a:t>
                      </a:r>
                    </a:p>
                  </a:txBody>
                  <a:tcPr anchor="ctr"/>
                </a:tc>
                <a:tc>
                  <a:txBody>
                    <a:bodyPr/>
                    <a:lstStyle/>
                    <a:p>
                      <a:pPr algn="ctr"/>
                      <a:r>
                        <a:rPr lang="fr-FR">
                          <a:solidFill>
                            <a:schemeClr val="tx1"/>
                          </a:solidFill>
                        </a:rPr>
                        <a:t>Explanability</a:t>
                      </a:r>
                    </a:p>
                  </a:txBody>
                  <a:tcPr anchor="ctr"/>
                </a:tc>
                <a:tc>
                  <a:txBody>
                    <a:bodyPr/>
                    <a:lstStyle/>
                    <a:p>
                      <a:pPr algn="ctr"/>
                      <a:r>
                        <a:rPr lang="fr-FR">
                          <a:solidFill>
                            <a:schemeClr val="tx1"/>
                          </a:solidFill>
                        </a:rPr>
                        <a:t>Grade</a:t>
                      </a:r>
                    </a:p>
                  </a:txBody>
                  <a:tcPr anchor="ctr"/>
                </a:tc>
                <a:extLst>
                  <a:ext uri="{0D108BD9-81ED-4DB2-BD59-A6C34878D82A}">
                    <a16:rowId xmlns:a16="http://schemas.microsoft.com/office/drawing/2014/main" val="3053705993"/>
                  </a:ext>
                </a:extLst>
              </a:tr>
              <a:tr h="370840">
                <a:tc>
                  <a:txBody>
                    <a:bodyPr/>
                    <a:lstStyle/>
                    <a:p>
                      <a:pPr algn="ctr"/>
                      <a:r>
                        <a:rPr lang="fr-FR">
                          <a:solidFill>
                            <a:schemeClr val="tx1"/>
                          </a:solidFill>
                        </a:rPr>
                        <a:t>Logistic Regression</a:t>
                      </a:r>
                    </a:p>
                  </a:txBody>
                  <a:tcPr anchor="ctr">
                    <a:solidFill>
                      <a:srgbClr val="00B050">
                        <a:alpha val="20000"/>
                      </a:srgbClr>
                    </a:solidFill>
                  </a:tcPr>
                </a:tc>
                <a:tc>
                  <a:txBody>
                    <a:bodyPr/>
                    <a:lstStyle/>
                    <a:p>
                      <a:pPr algn="ctr"/>
                      <a:r>
                        <a:rPr lang="fr-FR">
                          <a:solidFill>
                            <a:schemeClr val="tx1"/>
                          </a:solidFill>
                        </a:rPr>
                        <a:t>0,83</a:t>
                      </a:r>
                    </a:p>
                  </a:txBody>
                  <a:tcPr anchor="ctr">
                    <a:solidFill>
                      <a:srgbClr val="00B050">
                        <a:alpha val="20000"/>
                      </a:srgbClr>
                    </a:solidFill>
                  </a:tcPr>
                </a:tc>
                <a:tc>
                  <a:txBody>
                    <a:bodyPr/>
                    <a:lstStyle/>
                    <a:p>
                      <a:pPr algn="ctr"/>
                      <a:r>
                        <a:rPr lang="fr-FR">
                          <a:solidFill>
                            <a:schemeClr val="tx1"/>
                          </a:solidFill>
                        </a:rPr>
                        <a:t>0,78</a:t>
                      </a:r>
                    </a:p>
                  </a:txBody>
                  <a:tcPr anchor="ctr">
                    <a:solidFill>
                      <a:srgbClr val="00B050">
                        <a:alpha val="20000"/>
                      </a:srgbClr>
                    </a:solidFill>
                  </a:tcPr>
                </a:tc>
                <a:tc>
                  <a:txBody>
                    <a:bodyPr/>
                    <a:lstStyle/>
                    <a:p>
                      <a:pPr algn="ctr"/>
                      <a:r>
                        <a:rPr lang="fr-FR">
                          <a:solidFill>
                            <a:schemeClr val="tx1"/>
                          </a:solidFill>
                        </a:rPr>
                        <a:t>0,80</a:t>
                      </a:r>
                    </a:p>
                  </a:txBody>
                  <a:tcPr anchor="ctr">
                    <a:solidFill>
                      <a:srgbClr val="00B050">
                        <a:alpha val="20000"/>
                      </a:srgbClr>
                    </a:solidFill>
                  </a:tcPr>
                </a:tc>
                <a:tc>
                  <a:txBody>
                    <a:bodyPr/>
                    <a:lstStyle/>
                    <a:p>
                      <a:pPr algn="ctr"/>
                      <a:r>
                        <a:rPr lang="fr-FR">
                          <a:solidFill>
                            <a:schemeClr val="tx1"/>
                          </a:solidFill>
                        </a:rPr>
                        <a:t>+++</a:t>
                      </a:r>
                    </a:p>
                  </a:txBody>
                  <a:tcPr anchor="ctr">
                    <a:solidFill>
                      <a:srgbClr val="00B050">
                        <a:alpha val="20000"/>
                      </a:srgbClr>
                    </a:solidFill>
                  </a:tcPr>
                </a:tc>
                <a:tc>
                  <a:txBody>
                    <a:bodyPr/>
                    <a:lstStyle/>
                    <a:p>
                      <a:pPr algn="ctr"/>
                      <a:r>
                        <a:rPr lang="fr-FR">
                          <a:solidFill>
                            <a:schemeClr val="tx1"/>
                          </a:solidFill>
                        </a:rPr>
                        <a:t>+</a:t>
                      </a:r>
                    </a:p>
                  </a:txBody>
                  <a:tcPr anchor="ctr">
                    <a:solidFill>
                      <a:srgbClr val="00B050">
                        <a:alpha val="20000"/>
                      </a:srgbClr>
                    </a:solidFill>
                  </a:tcPr>
                </a:tc>
                <a:extLst>
                  <a:ext uri="{0D108BD9-81ED-4DB2-BD59-A6C34878D82A}">
                    <a16:rowId xmlns:a16="http://schemas.microsoft.com/office/drawing/2014/main" val="3267114091"/>
                  </a:ext>
                </a:extLst>
              </a:tr>
              <a:tr h="370840">
                <a:tc>
                  <a:txBody>
                    <a:bodyPr/>
                    <a:lstStyle/>
                    <a:p>
                      <a:pPr algn="ctr"/>
                      <a:r>
                        <a:rPr lang="fr-FR">
                          <a:solidFill>
                            <a:schemeClr val="tx1"/>
                          </a:solidFill>
                        </a:rPr>
                        <a:t>Support Vector Machine</a:t>
                      </a:r>
                    </a:p>
                  </a:txBody>
                  <a:tcPr anchor="ctr">
                    <a:noFill/>
                  </a:tcPr>
                </a:tc>
                <a:tc>
                  <a:txBody>
                    <a:bodyPr/>
                    <a:lstStyle/>
                    <a:p>
                      <a:pPr algn="ctr"/>
                      <a:r>
                        <a:rPr lang="fr-FR">
                          <a:solidFill>
                            <a:schemeClr val="tx1"/>
                          </a:solidFill>
                        </a:rPr>
                        <a:t>0,86</a:t>
                      </a:r>
                    </a:p>
                  </a:txBody>
                  <a:tcPr anchor="ctr">
                    <a:noFill/>
                  </a:tcPr>
                </a:tc>
                <a:tc>
                  <a:txBody>
                    <a:bodyPr/>
                    <a:lstStyle/>
                    <a:p>
                      <a:pPr algn="ctr"/>
                      <a:r>
                        <a:rPr lang="fr-FR">
                          <a:solidFill>
                            <a:schemeClr val="tx1"/>
                          </a:solidFill>
                        </a:rPr>
                        <a:t>0,79</a:t>
                      </a:r>
                    </a:p>
                  </a:txBody>
                  <a:tcPr anchor="ctr">
                    <a:noFill/>
                  </a:tcPr>
                </a:tc>
                <a:tc>
                  <a:txBody>
                    <a:bodyPr/>
                    <a:lstStyle/>
                    <a:p>
                      <a:pPr algn="ctr"/>
                      <a:r>
                        <a:rPr lang="fr-FR">
                          <a:solidFill>
                            <a:schemeClr val="tx1"/>
                          </a:solidFill>
                        </a:rPr>
                        <a:t>0,80</a:t>
                      </a:r>
                    </a:p>
                  </a:txBody>
                  <a:tcPr anchor="ctr">
                    <a:noFill/>
                  </a:tcPr>
                </a:tc>
                <a:tc>
                  <a:txBody>
                    <a:bodyPr/>
                    <a:lstStyle/>
                    <a:p>
                      <a:pPr algn="ctr"/>
                      <a:r>
                        <a:rPr lang="fr-FR">
                          <a:solidFill>
                            <a:schemeClr val="tx1"/>
                          </a:solidFill>
                        </a:rPr>
                        <a:t>++</a:t>
                      </a:r>
                    </a:p>
                  </a:txBody>
                  <a:tcPr anchor="ctr">
                    <a:noFill/>
                  </a:tcPr>
                </a:tc>
                <a:tc>
                  <a:txBody>
                    <a:bodyPr/>
                    <a:lstStyle/>
                    <a:p>
                      <a:pPr algn="ctr"/>
                      <a:r>
                        <a:rPr lang="fr-FR">
                          <a:solidFill>
                            <a:schemeClr val="tx1"/>
                          </a:solidFill>
                        </a:rPr>
                        <a:t>+</a:t>
                      </a:r>
                    </a:p>
                  </a:txBody>
                  <a:tcPr anchor="ctr">
                    <a:noFill/>
                  </a:tcPr>
                </a:tc>
                <a:extLst>
                  <a:ext uri="{0D108BD9-81ED-4DB2-BD59-A6C34878D82A}">
                    <a16:rowId xmlns:a16="http://schemas.microsoft.com/office/drawing/2014/main" val="4183600132"/>
                  </a:ext>
                </a:extLst>
              </a:tr>
              <a:tr h="370840">
                <a:tc>
                  <a:txBody>
                    <a:bodyPr/>
                    <a:lstStyle/>
                    <a:p>
                      <a:pPr algn="ctr"/>
                      <a:r>
                        <a:rPr lang="fr-FR">
                          <a:solidFill>
                            <a:schemeClr val="tx1"/>
                          </a:solidFill>
                        </a:rPr>
                        <a:t>K Nearest Neighbor</a:t>
                      </a:r>
                    </a:p>
                  </a:txBody>
                  <a:tcPr anchor="ctr"/>
                </a:tc>
                <a:tc>
                  <a:txBody>
                    <a:bodyPr/>
                    <a:lstStyle/>
                    <a:p>
                      <a:pPr algn="ctr"/>
                      <a:r>
                        <a:rPr lang="fr-FR">
                          <a:solidFill>
                            <a:schemeClr val="tx1"/>
                          </a:solidFill>
                        </a:rPr>
                        <a:t>0,83</a:t>
                      </a:r>
                    </a:p>
                  </a:txBody>
                  <a:tcPr anchor="ctr"/>
                </a:tc>
                <a:tc>
                  <a:txBody>
                    <a:bodyPr/>
                    <a:lstStyle/>
                    <a:p>
                      <a:pPr algn="ctr"/>
                      <a:r>
                        <a:rPr lang="fr-FR">
                          <a:solidFill>
                            <a:schemeClr val="tx1"/>
                          </a:solidFill>
                        </a:rPr>
                        <a:t>0,84</a:t>
                      </a:r>
                    </a:p>
                  </a:txBody>
                  <a:tcPr anchor="ctr"/>
                </a:tc>
                <a:tc>
                  <a:txBody>
                    <a:bodyPr/>
                    <a:lstStyle/>
                    <a:p>
                      <a:pPr algn="ctr"/>
                      <a:r>
                        <a:rPr lang="fr-FR">
                          <a:solidFill>
                            <a:schemeClr val="tx1"/>
                          </a:solidFill>
                        </a:rPr>
                        <a:t>0,83</a:t>
                      </a:r>
                    </a:p>
                  </a:txBody>
                  <a:tcPr anchor="ctr"/>
                </a:tc>
                <a:tc>
                  <a:txBody>
                    <a:bodyPr/>
                    <a:lstStyle/>
                    <a:p>
                      <a:pPr algn="ctr"/>
                      <a:r>
                        <a:rPr lang="fr-FR">
                          <a:solidFill>
                            <a:schemeClr val="tx1"/>
                          </a:solidFill>
                        </a:rPr>
                        <a:t>++</a:t>
                      </a:r>
                    </a:p>
                  </a:txBody>
                  <a:tcPr anchor="ctr"/>
                </a:tc>
                <a:tc>
                  <a:txBody>
                    <a:bodyPr/>
                    <a:lstStyle/>
                    <a:p>
                      <a:pPr algn="ctr"/>
                      <a:r>
                        <a:rPr lang="fr-FR">
                          <a:solidFill>
                            <a:schemeClr val="tx1"/>
                          </a:solidFill>
                        </a:rPr>
                        <a:t>+/-</a:t>
                      </a:r>
                    </a:p>
                  </a:txBody>
                  <a:tcPr anchor="ctr"/>
                </a:tc>
                <a:extLst>
                  <a:ext uri="{0D108BD9-81ED-4DB2-BD59-A6C34878D82A}">
                    <a16:rowId xmlns:a16="http://schemas.microsoft.com/office/drawing/2014/main" val="759411987"/>
                  </a:ext>
                </a:extLst>
              </a:tr>
              <a:tr h="370840">
                <a:tc>
                  <a:txBody>
                    <a:bodyPr/>
                    <a:lstStyle/>
                    <a:p>
                      <a:pPr algn="ctr"/>
                      <a:r>
                        <a:rPr lang="fr-FR">
                          <a:solidFill>
                            <a:schemeClr val="tx1"/>
                          </a:solidFill>
                        </a:rPr>
                        <a:t>Random Forest</a:t>
                      </a:r>
                    </a:p>
                  </a:txBody>
                  <a:tcPr anchor="ctr"/>
                </a:tc>
                <a:tc>
                  <a:txBody>
                    <a:bodyPr/>
                    <a:lstStyle/>
                    <a:p>
                      <a:pPr algn="ctr"/>
                      <a:r>
                        <a:rPr lang="fr-FR">
                          <a:solidFill>
                            <a:schemeClr val="tx1"/>
                          </a:solidFill>
                        </a:rPr>
                        <a:t>0,84</a:t>
                      </a:r>
                    </a:p>
                  </a:txBody>
                  <a:tcPr anchor="ctr"/>
                </a:tc>
                <a:tc>
                  <a:txBody>
                    <a:bodyPr/>
                    <a:lstStyle/>
                    <a:p>
                      <a:pPr algn="ctr"/>
                      <a:r>
                        <a:rPr lang="fr-FR">
                          <a:solidFill>
                            <a:schemeClr val="tx1"/>
                          </a:solidFill>
                        </a:rPr>
                        <a:t>0,84</a:t>
                      </a:r>
                    </a:p>
                  </a:txBody>
                  <a:tcPr anchor="ctr"/>
                </a:tc>
                <a:tc>
                  <a:txBody>
                    <a:bodyPr/>
                    <a:lstStyle/>
                    <a:p>
                      <a:pPr algn="ctr"/>
                      <a:r>
                        <a:rPr lang="fr-FR">
                          <a:solidFill>
                            <a:schemeClr val="tx1"/>
                          </a:solidFill>
                        </a:rPr>
                        <a:t>0,84</a:t>
                      </a:r>
                    </a:p>
                  </a:txBody>
                  <a:tcPr anchor="ctr"/>
                </a:tc>
                <a:tc>
                  <a:txBody>
                    <a:bodyPr/>
                    <a:lstStyle/>
                    <a:p>
                      <a:pPr algn="ctr"/>
                      <a:r>
                        <a:rPr lang="fr-FR">
                          <a:solidFill>
                            <a:schemeClr val="tx1"/>
                          </a:solidFill>
                        </a:rPr>
                        <a:t>-</a:t>
                      </a:r>
                    </a:p>
                  </a:txBody>
                  <a:tcPr anchor="ctr"/>
                </a:tc>
                <a:tc>
                  <a:txBody>
                    <a:bodyPr/>
                    <a:lstStyle/>
                    <a:p>
                      <a:pPr algn="ctr"/>
                      <a:r>
                        <a:rPr lang="fr-FR">
                          <a:solidFill>
                            <a:schemeClr val="tx1"/>
                          </a:solidFill>
                        </a:rPr>
                        <a:t>-</a:t>
                      </a:r>
                    </a:p>
                  </a:txBody>
                  <a:tcPr anchor="ctr"/>
                </a:tc>
                <a:extLst>
                  <a:ext uri="{0D108BD9-81ED-4DB2-BD59-A6C34878D82A}">
                    <a16:rowId xmlns:a16="http://schemas.microsoft.com/office/drawing/2014/main" val="2798833638"/>
                  </a:ext>
                </a:extLst>
              </a:tr>
              <a:tr h="370840">
                <a:tc>
                  <a:txBody>
                    <a:bodyPr/>
                    <a:lstStyle/>
                    <a:p>
                      <a:pPr algn="ctr"/>
                      <a:r>
                        <a:rPr lang="fr-FR">
                          <a:solidFill>
                            <a:schemeClr val="tx1"/>
                          </a:solidFill>
                        </a:rPr>
                        <a:t>GradientDescent Boosting</a:t>
                      </a:r>
                    </a:p>
                  </a:txBody>
                  <a:tcPr anchor="ctr"/>
                </a:tc>
                <a:tc>
                  <a:txBody>
                    <a:bodyPr/>
                    <a:lstStyle/>
                    <a:p>
                      <a:pPr algn="ctr"/>
                      <a:r>
                        <a:rPr lang="fr-FR">
                          <a:solidFill>
                            <a:schemeClr val="tx1"/>
                          </a:solidFill>
                        </a:rPr>
                        <a:t>0,85</a:t>
                      </a:r>
                    </a:p>
                  </a:txBody>
                  <a:tcPr anchor="ctr"/>
                </a:tc>
                <a:tc>
                  <a:txBody>
                    <a:bodyPr/>
                    <a:lstStyle/>
                    <a:p>
                      <a:pPr algn="ctr"/>
                      <a:r>
                        <a:rPr lang="fr-FR">
                          <a:solidFill>
                            <a:schemeClr val="tx1"/>
                          </a:solidFill>
                        </a:rPr>
                        <a:t>0,82</a:t>
                      </a:r>
                    </a:p>
                  </a:txBody>
                  <a:tcPr anchor="ctr"/>
                </a:tc>
                <a:tc>
                  <a:txBody>
                    <a:bodyPr/>
                    <a:lstStyle/>
                    <a:p>
                      <a:pPr algn="ctr"/>
                      <a:r>
                        <a:rPr lang="fr-FR">
                          <a:solidFill>
                            <a:schemeClr val="tx1"/>
                          </a:solidFill>
                        </a:rPr>
                        <a:t>0,83</a:t>
                      </a:r>
                    </a:p>
                  </a:txBody>
                  <a:tcPr anchor="ctr"/>
                </a:tc>
                <a:tc>
                  <a:txBody>
                    <a:bodyPr/>
                    <a:lstStyle/>
                    <a:p>
                      <a:pPr algn="ctr"/>
                      <a:r>
                        <a:rPr lang="fr-FR">
                          <a:solidFill>
                            <a:schemeClr val="tx1"/>
                          </a:solidFill>
                        </a:rPr>
                        <a:t>-</a:t>
                      </a:r>
                    </a:p>
                  </a:txBody>
                  <a:tcPr anchor="ctr"/>
                </a:tc>
                <a:tc>
                  <a:txBody>
                    <a:bodyPr/>
                    <a:lstStyle/>
                    <a:p>
                      <a:pPr algn="ctr"/>
                      <a:r>
                        <a:rPr lang="fr-FR">
                          <a:solidFill>
                            <a:schemeClr val="tx1"/>
                          </a:solidFill>
                        </a:rPr>
                        <a:t>-</a:t>
                      </a:r>
                    </a:p>
                  </a:txBody>
                  <a:tcPr anchor="ctr"/>
                </a:tc>
                <a:extLst>
                  <a:ext uri="{0D108BD9-81ED-4DB2-BD59-A6C34878D82A}">
                    <a16:rowId xmlns:a16="http://schemas.microsoft.com/office/drawing/2014/main" val="3795669997"/>
                  </a:ext>
                </a:extLst>
              </a:tr>
            </a:tbl>
          </a:graphicData>
        </a:graphic>
      </p:graphicFrame>
    </p:spTree>
    <p:extLst>
      <p:ext uri="{BB962C8B-B14F-4D97-AF65-F5344CB8AC3E}">
        <p14:creationId xmlns:p14="http://schemas.microsoft.com/office/powerpoint/2010/main" val="362805167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E7D7E47-8883-FFA1-6233-F06BB274F14C}"/>
              </a:ext>
            </a:extLst>
          </p:cNvPr>
          <p:cNvSpPr>
            <a:spLocks noGrp="1"/>
          </p:cNvSpPr>
          <p:nvPr>
            <p:ph type="title" idx="4294967295"/>
          </p:nvPr>
        </p:nvSpPr>
        <p:spPr>
          <a:xfrm>
            <a:off x="647112" y="622300"/>
            <a:ext cx="6256338" cy="471488"/>
          </a:xfrm>
        </p:spPr>
        <p:txBody>
          <a:bodyPr/>
          <a:lstStyle/>
          <a:p>
            <a:r>
              <a:rPr lang="fr-FR"/>
              <a:t>Annex 10 : </a:t>
            </a:r>
            <a:br>
              <a:rPr lang="fr-FR"/>
            </a:br>
            <a:r>
              <a:rPr lang="fr-FR" err="1"/>
              <a:t>Logistic</a:t>
            </a:r>
            <a:r>
              <a:rPr lang="fr-FR"/>
              <a:t> </a:t>
            </a:r>
            <a:r>
              <a:rPr lang="fr-FR" err="1"/>
              <a:t>Regression</a:t>
            </a:r>
            <a:r>
              <a:rPr lang="fr-FR"/>
              <a:t>: </a:t>
            </a:r>
            <a:r>
              <a:rPr lang="fr-FR" err="1"/>
              <a:t>significant</a:t>
            </a:r>
            <a:r>
              <a:rPr lang="fr-FR"/>
              <a:t> </a:t>
            </a:r>
            <a:r>
              <a:rPr lang="fr-FR" err="1"/>
              <a:t>features</a:t>
            </a:r>
            <a:endParaRPr lang="fr-FR"/>
          </a:p>
        </p:txBody>
      </p:sp>
      <p:graphicFrame>
        <p:nvGraphicFramePr>
          <p:cNvPr id="3" name="Chart 2">
            <a:extLst>
              <a:ext uri="{FF2B5EF4-FFF2-40B4-BE49-F238E27FC236}">
                <a16:creationId xmlns:a16="http://schemas.microsoft.com/office/drawing/2014/main" id="{5776A67C-7267-3ED4-747C-30BD4511A657}"/>
              </a:ext>
            </a:extLst>
          </p:cNvPr>
          <p:cNvGraphicFramePr>
            <a:graphicFrameLocks/>
          </p:cNvGraphicFramePr>
          <p:nvPr>
            <p:extLst>
              <p:ext uri="{D42A27DB-BD31-4B8C-83A1-F6EECF244321}">
                <p14:modId xmlns:p14="http://schemas.microsoft.com/office/powerpoint/2010/main" val="3837018475"/>
              </p:ext>
            </p:extLst>
          </p:nvPr>
        </p:nvGraphicFramePr>
        <p:xfrm>
          <a:off x="1889760" y="1505243"/>
          <a:ext cx="8412479" cy="4923692"/>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56658291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 coins arrondis 22">
            <a:extLst>
              <a:ext uri="{FF2B5EF4-FFF2-40B4-BE49-F238E27FC236}">
                <a16:creationId xmlns:a16="http://schemas.microsoft.com/office/drawing/2014/main" id="{91A3C98F-3220-9889-B659-AAFCD7B4DD81}"/>
              </a:ext>
            </a:extLst>
          </p:cNvPr>
          <p:cNvSpPr/>
          <p:nvPr/>
        </p:nvSpPr>
        <p:spPr>
          <a:xfrm>
            <a:off x="6063681" y="1795204"/>
            <a:ext cx="5754297" cy="4365723"/>
          </a:xfrm>
          <a:prstGeom prst="roundRect">
            <a:avLst/>
          </a:prstGeom>
          <a:solidFill>
            <a:srgbClr val="2C2C2C">
              <a:alpha val="12000"/>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200">
              <a:solidFill>
                <a:srgbClr val="FFFFFF"/>
              </a:solidFill>
            </a:endParaRPr>
          </a:p>
        </p:txBody>
      </p:sp>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9505" name="Diapositive think-cell" r:id="rId6" imgW="473" imgH="473" progId="TCLayout.ActiveDocument.1">
                  <p:embed/>
                </p:oleObj>
              </mc:Choice>
              <mc:Fallback>
                <p:oleObj name="Diapositive think-cell" r:id="rId6" imgW="473" imgH="473"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a:xfrm>
            <a:off x="630000" y="622800"/>
            <a:ext cx="10933350" cy="911890"/>
          </a:xfrm>
        </p:spPr>
        <p:txBody>
          <a:bodyPr vert="horz"/>
          <a:lstStyle/>
          <a:p>
            <a:r>
              <a:rPr lang="en-US" sz="3200" err="1">
                <a:solidFill>
                  <a:srgbClr val="00B050"/>
                </a:solidFill>
              </a:rPr>
              <a:t>ClientCo</a:t>
            </a:r>
            <a:r>
              <a:rPr lang="en-US" sz="3200">
                <a:solidFill>
                  <a:srgbClr val="00B050"/>
                </a:solidFill>
              </a:rPr>
              <a:t> has to start its digital transformation now to catch up with competitors</a:t>
            </a:r>
          </a:p>
        </p:txBody>
      </p:sp>
      <p:sp>
        <p:nvSpPr>
          <p:cNvPr id="7" name="ee4pFootnotes"/>
          <p:cNvSpPr>
            <a:spLocks noChangeArrowheads="1"/>
          </p:cNvSpPr>
          <p:nvPr/>
        </p:nvSpPr>
        <p:spPr bwMode="auto">
          <a:xfrm>
            <a:off x="630000" y="6421441"/>
            <a:ext cx="903091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a:solidFill>
                  <a:schemeClr val="bg1">
                    <a:lumMod val="50000"/>
                  </a:schemeClr>
                </a:solidFill>
                <a:latin typeface="Trebuchet MS" panose="020B0603020202020204" pitchFamily="34" charset="0"/>
                <a:cs typeface="Arial" pitchFamily="34" charset="0"/>
              </a:rPr>
              <a:t>Source: Industry reports, brokers notes and BCG analysis</a:t>
            </a:r>
          </a:p>
        </p:txBody>
      </p:sp>
      <p:graphicFrame>
        <p:nvGraphicFramePr>
          <p:cNvPr id="15" name="Diagramme 14">
            <a:extLst>
              <a:ext uri="{FF2B5EF4-FFF2-40B4-BE49-F238E27FC236}">
                <a16:creationId xmlns:a16="http://schemas.microsoft.com/office/drawing/2014/main" id="{89CE3017-BF55-7054-7F0D-DA15F2D571C5}"/>
              </a:ext>
            </a:extLst>
          </p:cNvPr>
          <p:cNvGraphicFramePr/>
          <p:nvPr>
            <p:extLst>
              <p:ext uri="{D42A27DB-BD31-4B8C-83A1-F6EECF244321}">
                <p14:modId xmlns:p14="http://schemas.microsoft.com/office/powerpoint/2010/main" val="529058024"/>
              </p:ext>
            </p:extLst>
          </p:nvPr>
        </p:nvGraphicFramePr>
        <p:xfrm>
          <a:off x="6859072" y="4648264"/>
          <a:ext cx="4126999" cy="1342057"/>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16" name="object 20">
            <a:extLst>
              <a:ext uri="{FF2B5EF4-FFF2-40B4-BE49-F238E27FC236}">
                <a16:creationId xmlns:a16="http://schemas.microsoft.com/office/drawing/2014/main" id="{5133446B-F1AB-7812-9A43-CBB84CFE0335}"/>
              </a:ext>
            </a:extLst>
          </p:cNvPr>
          <p:cNvSpPr txBox="1"/>
          <p:nvPr/>
        </p:nvSpPr>
        <p:spPr>
          <a:xfrm>
            <a:off x="6410443" y="2081213"/>
            <a:ext cx="5119298" cy="289823"/>
          </a:xfrm>
          <a:prstGeom prst="rect">
            <a:avLst/>
          </a:prstGeom>
        </p:spPr>
        <p:txBody>
          <a:bodyPr vert="horz" wrap="square" lIns="0" tIns="12700" rIns="0" bIns="0" rtlCol="0">
            <a:spAutoFit/>
          </a:bodyPr>
          <a:lstStyle/>
          <a:p>
            <a:pPr marL="12700" algn="ctr">
              <a:lnSpc>
                <a:spcPct val="100000"/>
              </a:lnSpc>
              <a:spcBef>
                <a:spcPts val="100"/>
              </a:spcBef>
            </a:pPr>
            <a:r>
              <a:rPr lang="en-US" spc="15">
                <a:solidFill>
                  <a:srgbClr val="20BE60"/>
                </a:solidFill>
                <a:latin typeface="Trebuchet MS" panose="020B0703020202090204" pitchFamily="34" charset="0"/>
                <a:cs typeface="Microsoft Sans Serif"/>
              </a:rPr>
              <a:t>BCG conducted 8 internal interviews</a:t>
            </a:r>
            <a:endParaRPr lang="en-US">
              <a:latin typeface="Trebuchet MS" panose="020B0703020202090204" pitchFamily="34" charset="0"/>
              <a:cs typeface="Microsoft Sans Serif"/>
            </a:endParaRPr>
          </a:p>
        </p:txBody>
      </p:sp>
      <p:sp>
        <p:nvSpPr>
          <p:cNvPr id="18" name="object 20">
            <a:extLst>
              <a:ext uri="{FF2B5EF4-FFF2-40B4-BE49-F238E27FC236}">
                <a16:creationId xmlns:a16="http://schemas.microsoft.com/office/drawing/2014/main" id="{8EA6EA9E-B7B7-9356-5D0C-F2C4EEF30A93}"/>
              </a:ext>
            </a:extLst>
          </p:cNvPr>
          <p:cNvSpPr txBox="1"/>
          <p:nvPr/>
        </p:nvSpPr>
        <p:spPr>
          <a:xfrm>
            <a:off x="6318309" y="3052585"/>
            <a:ext cx="2446981" cy="751488"/>
          </a:xfrm>
          <a:prstGeom prst="rect">
            <a:avLst/>
          </a:prstGeom>
        </p:spPr>
        <p:txBody>
          <a:bodyPr vert="horz" wrap="square" lIns="0" tIns="12700" rIns="0" bIns="0" rtlCol="0">
            <a:spAutoFit/>
          </a:bodyPr>
          <a:lstStyle/>
          <a:p>
            <a:pPr marL="12700" algn="just">
              <a:lnSpc>
                <a:spcPct val="100000"/>
              </a:lnSpc>
              <a:spcBef>
                <a:spcPts val="100"/>
              </a:spcBef>
            </a:pPr>
            <a:r>
              <a:rPr lang="fr-FR" sz="1600" b="1" spc="15">
                <a:solidFill>
                  <a:srgbClr val="20BE60"/>
                </a:solidFill>
                <a:latin typeface="Trebuchet MS" panose="020B0703020202090204" pitchFamily="34" charset="0"/>
                <a:cs typeface="Microsoft Sans Serif"/>
              </a:rPr>
              <a:t>100% of </a:t>
            </a:r>
            <a:r>
              <a:rPr lang="fr-FR" sz="1600" b="1" spc="15" err="1">
                <a:solidFill>
                  <a:srgbClr val="20BE60"/>
                </a:solidFill>
                <a:latin typeface="Trebuchet MS" panose="020B0703020202090204" pitchFamily="34" charset="0"/>
                <a:cs typeface="Microsoft Sans Serif"/>
              </a:rPr>
              <a:t>interviewed</a:t>
            </a:r>
            <a:r>
              <a:rPr lang="fr-FR" sz="1600" b="1" spc="15">
                <a:solidFill>
                  <a:srgbClr val="20BE60"/>
                </a:solidFill>
                <a:latin typeface="Trebuchet MS" panose="020B0703020202090204" pitchFamily="34" charset="0"/>
                <a:cs typeface="Microsoft Sans Serif"/>
              </a:rPr>
              <a:t> </a:t>
            </a:r>
            <a:r>
              <a:rPr lang="fr-FR" sz="1600" b="1" spc="15" err="1">
                <a:solidFill>
                  <a:srgbClr val="20BE60"/>
                </a:solidFill>
                <a:latin typeface="Trebuchet MS" panose="020B0703020202090204" pitchFamily="34" charset="0"/>
                <a:cs typeface="Microsoft Sans Serif"/>
              </a:rPr>
              <a:t>employees</a:t>
            </a:r>
            <a:r>
              <a:rPr lang="fr-FR" sz="1600" b="1" spc="15">
                <a:solidFill>
                  <a:srgbClr val="20BE60"/>
                </a:solidFill>
                <a:latin typeface="Trebuchet MS" panose="020B0703020202090204" pitchFamily="34" charset="0"/>
                <a:cs typeface="Microsoft Sans Serif"/>
              </a:rPr>
              <a:t> </a:t>
            </a:r>
            <a:r>
              <a:rPr lang="en-US" sz="1600" spc="15">
                <a:solidFill>
                  <a:srgbClr val="000000"/>
                </a:solidFill>
                <a:latin typeface="Trebuchet MS" panose="020B0703020202090204" pitchFamily="34" charset="0"/>
                <a:cs typeface="Microsoft Sans Serif"/>
              </a:rPr>
              <a:t>are willing to increase their use of data</a:t>
            </a:r>
          </a:p>
        </p:txBody>
      </p:sp>
      <p:sp>
        <p:nvSpPr>
          <p:cNvPr id="20" name="object 20">
            <a:extLst>
              <a:ext uri="{FF2B5EF4-FFF2-40B4-BE49-F238E27FC236}">
                <a16:creationId xmlns:a16="http://schemas.microsoft.com/office/drawing/2014/main" id="{4878C88E-73A0-629F-AC91-C96265CF3EEC}"/>
              </a:ext>
            </a:extLst>
          </p:cNvPr>
          <p:cNvSpPr txBox="1"/>
          <p:nvPr/>
        </p:nvSpPr>
        <p:spPr>
          <a:xfrm>
            <a:off x="9116369" y="2929475"/>
            <a:ext cx="2446981" cy="1243930"/>
          </a:xfrm>
          <a:prstGeom prst="rect">
            <a:avLst/>
          </a:prstGeom>
        </p:spPr>
        <p:txBody>
          <a:bodyPr vert="horz" wrap="square" lIns="0" tIns="12700" rIns="0" bIns="0" rtlCol="0">
            <a:spAutoFit/>
          </a:bodyPr>
          <a:lstStyle/>
          <a:p>
            <a:pPr marL="12700" algn="ctr">
              <a:lnSpc>
                <a:spcPct val="100000"/>
              </a:lnSpc>
              <a:spcBef>
                <a:spcPts val="100"/>
              </a:spcBef>
            </a:pPr>
            <a:r>
              <a:rPr lang="fr-FR" sz="1600" spc="15">
                <a:solidFill>
                  <a:srgbClr val="000000"/>
                </a:solidFill>
                <a:latin typeface="Trebuchet MS" panose="020B0703020202090204" pitchFamily="34" charset="0"/>
                <a:cs typeface="Microsoft Sans Serif"/>
              </a:rPr>
              <a:t>The management and </a:t>
            </a:r>
            <a:r>
              <a:rPr lang="fr-FR" sz="1600" spc="15" err="1">
                <a:solidFill>
                  <a:srgbClr val="000000"/>
                </a:solidFill>
                <a:latin typeface="Trebuchet MS" panose="020B0703020202090204" pitchFamily="34" charset="0"/>
                <a:cs typeface="Microsoft Sans Serif"/>
              </a:rPr>
              <a:t>operational</a:t>
            </a:r>
            <a:r>
              <a:rPr lang="fr-FR" sz="1600" spc="15">
                <a:solidFill>
                  <a:srgbClr val="000000"/>
                </a:solidFill>
                <a:latin typeface="Trebuchet MS" panose="020B0703020202090204" pitchFamily="34" charset="0"/>
                <a:cs typeface="Microsoft Sans Serif"/>
              </a:rPr>
              <a:t> teams are </a:t>
            </a:r>
            <a:r>
              <a:rPr lang="fr-FR" sz="1600" b="1" spc="15">
                <a:solidFill>
                  <a:srgbClr val="20BE60"/>
                </a:solidFill>
                <a:latin typeface="Trebuchet MS" panose="020B0703020202090204" pitchFamily="34" charset="0"/>
                <a:cs typeface="Microsoft Sans Serif"/>
              </a:rPr>
              <a:t>not </a:t>
            </a:r>
            <a:r>
              <a:rPr lang="fr-FR" sz="1600" b="1" spc="15" err="1">
                <a:solidFill>
                  <a:srgbClr val="20BE60"/>
                </a:solidFill>
                <a:latin typeface="Trebuchet MS" panose="020B0703020202090204" pitchFamily="34" charset="0"/>
                <a:cs typeface="Microsoft Sans Serif"/>
              </a:rPr>
              <a:t>convinced</a:t>
            </a:r>
            <a:r>
              <a:rPr lang="fr-FR" sz="1600" b="1" spc="15">
                <a:solidFill>
                  <a:srgbClr val="20BE60"/>
                </a:solidFill>
                <a:latin typeface="Trebuchet MS" panose="020B0703020202090204" pitchFamily="34" charset="0"/>
                <a:cs typeface="Microsoft Sans Serif"/>
              </a:rPr>
              <a:t> of the </a:t>
            </a:r>
            <a:r>
              <a:rPr lang="fr-FR" sz="1600" b="1" spc="15" err="1">
                <a:solidFill>
                  <a:srgbClr val="20BE60"/>
                </a:solidFill>
                <a:latin typeface="Trebuchet MS" panose="020B0703020202090204" pitchFamily="34" charset="0"/>
                <a:cs typeface="Microsoft Sans Serif"/>
              </a:rPr>
              <a:t>other</a:t>
            </a:r>
            <a:r>
              <a:rPr lang="fr-FR" sz="1600" b="1" spc="15">
                <a:solidFill>
                  <a:srgbClr val="20BE60"/>
                </a:solidFill>
                <a:latin typeface="Trebuchet MS" panose="020B0703020202090204" pitchFamily="34" charset="0"/>
                <a:cs typeface="Microsoft Sans Serif"/>
              </a:rPr>
              <a:t> </a:t>
            </a:r>
            <a:r>
              <a:rPr lang="fr-FR" sz="1600" b="1" spc="15" err="1">
                <a:solidFill>
                  <a:srgbClr val="20BE60"/>
                </a:solidFill>
                <a:latin typeface="Trebuchet MS" panose="020B0703020202090204" pitchFamily="34" charset="0"/>
                <a:cs typeface="Microsoft Sans Serif"/>
              </a:rPr>
              <a:t>party’s</a:t>
            </a:r>
            <a:r>
              <a:rPr lang="fr-FR" sz="1600" b="1" spc="15">
                <a:solidFill>
                  <a:srgbClr val="20BE60"/>
                </a:solidFill>
                <a:latin typeface="Trebuchet MS" panose="020B0703020202090204" pitchFamily="34" charset="0"/>
                <a:cs typeface="Microsoft Sans Serif"/>
              </a:rPr>
              <a:t> </a:t>
            </a:r>
            <a:r>
              <a:rPr lang="fr-FR" sz="1600" b="1" spc="15" err="1">
                <a:solidFill>
                  <a:srgbClr val="20BE60"/>
                </a:solidFill>
                <a:latin typeface="Trebuchet MS" panose="020B0703020202090204" pitchFamily="34" charset="0"/>
                <a:cs typeface="Microsoft Sans Serif"/>
              </a:rPr>
              <a:t>willingness</a:t>
            </a:r>
            <a:r>
              <a:rPr lang="fr-FR" sz="1600" b="1" spc="15">
                <a:solidFill>
                  <a:srgbClr val="20BE60"/>
                </a:solidFill>
                <a:latin typeface="Trebuchet MS" panose="020B0703020202090204" pitchFamily="34" charset="0"/>
                <a:cs typeface="Microsoft Sans Serif"/>
              </a:rPr>
              <a:t> to </a:t>
            </a:r>
            <a:r>
              <a:rPr lang="fr-FR" sz="1600" b="1" spc="15" err="1">
                <a:solidFill>
                  <a:srgbClr val="20BE60"/>
                </a:solidFill>
                <a:latin typeface="Trebuchet MS" panose="020B0703020202090204" pitchFamily="34" charset="0"/>
                <a:cs typeface="Microsoft Sans Serif"/>
              </a:rPr>
              <a:t>get</a:t>
            </a:r>
            <a:r>
              <a:rPr lang="fr-FR" sz="1600" b="1" spc="15">
                <a:solidFill>
                  <a:srgbClr val="20BE60"/>
                </a:solidFill>
                <a:latin typeface="Trebuchet MS" panose="020B0703020202090204" pitchFamily="34" charset="0"/>
                <a:cs typeface="Microsoft Sans Serif"/>
              </a:rPr>
              <a:t> </a:t>
            </a:r>
            <a:r>
              <a:rPr lang="fr-FR" sz="1600" b="1" spc="15" err="1">
                <a:solidFill>
                  <a:srgbClr val="20BE60"/>
                </a:solidFill>
                <a:latin typeface="Trebuchet MS" panose="020B0703020202090204" pitchFamily="34" charset="0"/>
                <a:cs typeface="Microsoft Sans Serif"/>
              </a:rPr>
              <a:t>onboard</a:t>
            </a:r>
            <a:endParaRPr lang="en-US" sz="2000" b="1" spc="15">
              <a:solidFill>
                <a:srgbClr val="20BE60"/>
              </a:solidFill>
              <a:latin typeface="Trebuchet MS" panose="020B0703020202090204" pitchFamily="34" charset="0"/>
              <a:cs typeface="Microsoft Sans Serif"/>
            </a:endParaRPr>
          </a:p>
        </p:txBody>
      </p:sp>
      <p:sp>
        <p:nvSpPr>
          <p:cNvPr id="22" name="ZoneTexte 21">
            <a:extLst>
              <a:ext uri="{FF2B5EF4-FFF2-40B4-BE49-F238E27FC236}">
                <a16:creationId xmlns:a16="http://schemas.microsoft.com/office/drawing/2014/main" id="{8B98A09D-5D59-A188-D65E-7B513C7C7D4A}"/>
              </a:ext>
            </a:extLst>
          </p:cNvPr>
          <p:cNvSpPr txBox="1"/>
          <p:nvPr/>
        </p:nvSpPr>
        <p:spPr>
          <a:xfrm>
            <a:off x="2166159" y="5842128"/>
            <a:ext cx="2025097" cy="22957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fr-FR" sz="800">
                <a:solidFill>
                  <a:srgbClr val="000000"/>
                </a:solidFill>
                <a:latin typeface="Trebuchet MS" panose="020B0603020202020204" pitchFamily="34" charset="0"/>
              </a:rPr>
              <a:t>*</a:t>
            </a:r>
            <a:r>
              <a:rPr lang="fr-FR" sz="800" err="1">
                <a:solidFill>
                  <a:srgbClr val="000000"/>
                </a:solidFill>
                <a:latin typeface="Trebuchet MS" panose="020B0603020202020204" pitchFamily="34" charset="0"/>
              </a:rPr>
              <a:t>Mean</a:t>
            </a:r>
            <a:r>
              <a:rPr lang="fr-FR" sz="800">
                <a:solidFill>
                  <a:srgbClr val="000000"/>
                </a:solidFill>
                <a:latin typeface="Trebuchet MS" panose="020B0603020202020204" pitchFamily="34" charset="0"/>
              </a:rPr>
              <a:t> % of total assets over the last 5 </a:t>
            </a:r>
            <a:r>
              <a:rPr lang="fr-FR" sz="800" err="1">
                <a:solidFill>
                  <a:srgbClr val="000000"/>
                </a:solidFill>
                <a:latin typeface="Trebuchet MS" panose="020B0603020202020204" pitchFamily="34" charset="0"/>
              </a:rPr>
              <a:t>years</a:t>
            </a:r>
            <a:r>
              <a:rPr lang="fr-FR" sz="800">
                <a:solidFill>
                  <a:srgbClr val="000000"/>
                </a:solidFill>
                <a:latin typeface="Trebuchet MS" panose="020B0603020202020204" pitchFamily="34" charset="0"/>
              </a:rPr>
              <a:t> </a:t>
            </a:r>
          </a:p>
        </p:txBody>
      </p:sp>
      <p:grpSp>
        <p:nvGrpSpPr>
          <p:cNvPr id="9" name="Groupe 8">
            <a:extLst>
              <a:ext uri="{FF2B5EF4-FFF2-40B4-BE49-F238E27FC236}">
                <a16:creationId xmlns:a16="http://schemas.microsoft.com/office/drawing/2014/main" id="{27B80EC2-AC70-5CF1-31E7-504D93F313BA}"/>
              </a:ext>
            </a:extLst>
          </p:cNvPr>
          <p:cNvGrpSpPr/>
          <p:nvPr/>
        </p:nvGrpSpPr>
        <p:grpSpPr>
          <a:xfrm>
            <a:off x="1316094" y="2656834"/>
            <a:ext cx="924207" cy="943548"/>
            <a:chOff x="1002916" y="2311682"/>
            <a:chExt cx="924207" cy="943548"/>
          </a:xfrm>
        </p:grpSpPr>
        <p:sp>
          <p:nvSpPr>
            <p:cNvPr id="6" name="Ellipse 5">
              <a:extLst>
                <a:ext uri="{FF2B5EF4-FFF2-40B4-BE49-F238E27FC236}">
                  <a16:creationId xmlns:a16="http://schemas.microsoft.com/office/drawing/2014/main" id="{0F67DAFF-0E61-5269-4FBD-241BA0AD1D1E}"/>
                </a:ext>
              </a:extLst>
            </p:cNvPr>
            <p:cNvSpPr/>
            <p:nvPr/>
          </p:nvSpPr>
          <p:spPr>
            <a:xfrm>
              <a:off x="1002916" y="2311682"/>
              <a:ext cx="924207" cy="943548"/>
            </a:xfrm>
            <a:prstGeom prst="ellipse">
              <a:avLst/>
            </a:prstGeom>
            <a:noFill/>
            <a:ln w="28575" cap="rnd" cmpd="sng" algn="ctr">
              <a:solidFill>
                <a:srgbClr val="20BE6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200">
                <a:solidFill>
                  <a:srgbClr val="FFFFFF"/>
                </a:solidFill>
              </a:endParaRPr>
            </a:p>
          </p:txBody>
        </p:sp>
        <p:sp>
          <p:nvSpPr>
            <p:cNvPr id="8" name="ZoneTexte 7">
              <a:extLst>
                <a:ext uri="{FF2B5EF4-FFF2-40B4-BE49-F238E27FC236}">
                  <a16:creationId xmlns:a16="http://schemas.microsoft.com/office/drawing/2014/main" id="{08EC5485-3B9F-8769-2D4E-ADCEB0B39C80}"/>
                </a:ext>
              </a:extLst>
            </p:cNvPr>
            <p:cNvSpPr txBox="1"/>
            <p:nvPr/>
          </p:nvSpPr>
          <p:spPr>
            <a:xfrm>
              <a:off x="1076644" y="2404056"/>
              <a:ext cx="776749" cy="7588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fr-FR" sz="2800">
                  <a:solidFill>
                    <a:srgbClr val="20BE60"/>
                  </a:solidFill>
                  <a:latin typeface="Trebuchet MS" panose="020B0603020202020204" pitchFamily="34" charset="0"/>
                </a:rPr>
                <a:t>0,5%</a:t>
              </a:r>
            </a:p>
          </p:txBody>
        </p:sp>
      </p:grpSp>
      <p:grpSp>
        <p:nvGrpSpPr>
          <p:cNvPr id="10" name="Groupe 9">
            <a:extLst>
              <a:ext uri="{FF2B5EF4-FFF2-40B4-BE49-F238E27FC236}">
                <a16:creationId xmlns:a16="http://schemas.microsoft.com/office/drawing/2014/main" id="{8A4A6EDD-C68B-76BA-730C-0F8E1EA76C36}"/>
              </a:ext>
            </a:extLst>
          </p:cNvPr>
          <p:cNvGrpSpPr/>
          <p:nvPr/>
        </p:nvGrpSpPr>
        <p:grpSpPr>
          <a:xfrm>
            <a:off x="3863895" y="2656834"/>
            <a:ext cx="924207" cy="943548"/>
            <a:chOff x="1002916" y="2311682"/>
            <a:chExt cx="924207" cy="943548"/>
          </a:xfrm>
        </p:grpSpPr>
        <p:sp>
          <p:nvSpPr>
            <p:cNvPr id="12" name="Ellipse 11">
              <a:extLst>
                <a:ext uri="{FF2B5EF4-FFF2-40B4-BE49-F238E27FC236}">
                  <a16:creationId xmlns:a16="http://schemas.microsoft.com/office/drawing/2014/main" id="{8B17FB5F-14A4-1EE7-E237-61E7D8237F70}"/>
                </a:ext>
              </a:extLst>
            </p:cNvPr>
            <p:cNvSpPr/>
            <p:nvPr/>
          </p:nvSpPr>
          <p:spPr>
            <a:xfrm>
              <a:off x="1002916" y="2311682"/>
              <a:ext cx="924207" cy="943548"/>
            </a:xfrm>
            <a:prstGeom prst="ellipse">
              <a:avLst/>
            </a:prstGeom>
            <a:noFill/>
            <a:ln w="28575" cap="rnd" cmpd="sng" algn="ctr">
              <a:solidFill>
                <a:srgbClr val="C00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200">
                <a:solidFill>
                  <a:srgbClr val="C00000"/>
                </a:solidFill>
              </a:endParaRPr>
            </a:p>
          </p:txBody>
        </p:sp>
        <p:sp>
          <p:nvSpPr>
            <p:cNvPr id="13" name="ZoneTexte 12">
              <a:extLst>
                <a:ext uri="{FF2B5EF4-FFF2-40B4-BE49-F238E27FC236}">
                  <a16:creationId xmlns:a16="http://schemas.microsoft.com/office/drawing/2014/main" id="{8D31ECF2-7AA4-4112-82BB-FE5DBEE9D405}"/>
                </a:ext>
              </a:extLst>
            </p:cNvPr>
            <p:cNvSpPr txBox="1"/>
            <p:nvPr/>
          </p:nvSpPr>
          <p:spPr>
            <a:xfrm>
              <a:off x="1076644" y="2404056"/>
              <a:ext cx="776749" cy="7588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fr-FR" sz="2800">
                  <a:solidFill>
                    <a:srgbClr val="C00000"/>
                  </a:solidFill>
                  <a:latin typeface="Trebuchet MS" panose="020B0603020202020204" pitchFamily="34" charset="0"/>
                </a:rPr>
                <a:t>10,4%</a:t>
              </a:r>
            </a:p>
          </p:txBody>
        </p:sp>
      </p:grpSp>
      <p:grpSp>
        <p:nvGrpSpPr>
          <p:cNvPr id="14" name="Groupe 13">
            <a:extLst>
              <a:ext uri="{FF2B5EF4-FFF2-40B4-BE49-F238E27FC236}">
                <a16:creationId xmlns:a16="http://schemas.microsoft.com/office/drawing/2014/main" id="{844B2285-D526-656A-1D2E-1121E9ADC1B2}"/>
              </a:ext>
            </a:extLst>
          </p:cNvPr>
          <p:cNvGrpSpPr/>
          <p:nvPr/>
        </p:nvGrpSpPr>
        <p:grpSpPr>
          <a:xfrm>
            <a:off x="1316094" y="3715487"/>
            <a:ext cx="924207" cy="943548"/>
            <a:chOff x="1002916" y="2311682"/>
            <a:chExt cx="924207" cy="943548"/>
          </a:xfrm>
        </p:grpSpPr>
        <p:sp>
          <p:nvSpPr>
            <p:cNvPr id="17" name="Ellipse 16">
              <a:extLst>
                <a:ext uri="{FF2B5EF4-FFF2-40B4-BE49-F238E27FC236}">
                  <a16:creationId xmlns:a16="http://schemas.microsoft.com/office/drawing/2014/main" id="{2ADF9FAC-B20B-C458-3D21-91D521274B85}"/>
                </a:ext>
              </a:extLst>
            </p:cNvPr>
            <p:cNvSpPr/>
            <p:nvPr/>
          </p:nvSpPr>
          <p:spPr>
            <a:xfrm>
              <a:off x="1002916" y="2311682"/>
              <a:ext cx="924207" cy="943548"/>
            </a:xfrm>
            <a:prstGeom prst="ellipse">
              <a:avLst/>
            </a:prstGeom>
            <a:noFill/>
            <a:ln w="28575" cap="rnd" cmpd="sng" algn="ctr">
              <a:solidFill>
                <a:srgbClr val="20BE6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200">
                <a:solidFill>
                  <a:srgbClr val="FFFFFF"/>
                </a:solidFill>
              </a:endParaRPr>
            </a:p>
          </p:txBody>
        </p:sp>
        <p:sp>
          <p:nvSpPr>
            <p:cNvPr id="21" name="ZoneTexte 20">
              <a:extLst>
                <a:ext uri="{FF2B5EF4-FFF2-40B4-BE49-F238E27FC236}">
                  <a16:creationId xmlns:a16="http://schemas.microsoft.com/office/drawing/2014/main" id="{2FB8D27E-E081-3CA7-9461-D014EC256C0D}"/>
                </a:ext>
              </a:extLst>
            </p:cNvPr>
            <p:cNvSpPr txBox="1"/>
            <p:nvPr/>
          </p:nvSpPr>
          <p:spPr>
            <a:xfrm>
              <a:off x="1076644" y="2404056"/>
              <a:ext cx="776749" cy="7588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fr-FR" sz="2800">
                  <a:solidFill>
                    <a:srgbClr val="20BE60"/>
                  </a:solidFill>
                  <a:latin typeface="Trebuchet MS" panose="020B0603020202020204" pitchFamily="34" charset="0"/>
                </a:rPr>
                <a:t>4,4%</a:t>
              </a:r>
            </a:p>
          </p:txBody>
        </p:sp>
      </p:grpSp>
      <p:sp>
        <p:nvSpPr>
          <p:cNvPr id="24" name="ZoneTexte 23">
            <a:extLst>
              <a:ext uri="{FF2B5EF4-FFF2-40B4-BE49-F238E27FC236}">
                <a16:creationId xmlns:a16="http://schemas.microsoft.com/office/drawing/2014/main" id="{E6384574-4B9A-726B-4F94-A5984AD2F521}"/>
              </a:ext>
            </a:extLst>
          </p:cNvPr>
          <p:cNvSpPr txBox="1"/>
          <p:nvPr/>
        </p:nvSpPr>
        <p:spPr>
          <a:xfrm>
            <a:off x="2550298" y="2680174"/>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fr-FR" sz="1400">
                <a:solidFill>
                  <a:srgbClr val="000000"/>
                </a:solidFill>
                <a:latin typeface="Trebuchet MS" panose="020B0603020202020204" pitchFamily="34" charset="0"/>
              </a:rPr>
              <a:t>CAGR</a:t>
            </a:r>
          </a:p>
          <a:p>
            <a:pPr algn="ctr"/>
            <a:r>
              <a:rPr lang="fr-FR" sz="1400">
                <a:solidFill>
                  <a:srgbClr val="000000"/>
                </a:solidFill>
                <a:latin typeface="Trebuchet MS" panose="020B0603020202020204" pitchFamily="34" charset="0"/>
              </a:rPr>
              <a:t>2014-2018</a:t>
            </a:r>
          </a:p>
        </p:txBody>
      </p:sp>
      <p:sp>
        <p:nvSpPr>
          <p:cNvPr id="25" name="ZoneTexte 24">
            <a:extLst>
              <a:ext uri="{FF2B5EF4-FFF2-40B4-BE49-F238E27FC236}">
                <a16:creationId xmlns:a16="http://schemas.microsoft.com/office/drawing/2014/main" id="{65081C3C-4DEE-0D5F-F554-C9B259B79EEF}"/>
              </a:ext>
            </a:extLst>
          </p:cNvPr>
          <p:cNvSpPr txBox="1"/>
          <p:nvPr/>
        </p:nvSpPr>
        <p:spPr>
          <a:xfrm>
            <a:off x="2272610" y="3789155"/>
            <a:ext cx="1469774"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fr-FR" sz="1400">
                <a:solidFill>
                  <a:srgbClr val="000000"/>
                </a:solidFill>
                <a:latin typeface="Trebuchet MS" panose="020B0603020202020204" pitchFamily="34" charset="0"/>
              </a:rPr>
              <a:t>ROS</a:t>
            </a:r>
          </a:p>
          <a:p>
            <a:pPr algn="ctr"/>
            <a:r>
              <a:rPr lang="fr-FR" sz="1400">
                <a:solidFill>
                  <a:srgbClr val="000000"/>
                </a:solidFill>
                <a:latin typeface="Trebuchet MS" panose="020B0603020202020204" pitchFamily="34" charset="0"/>
              </a:rPr>
              <a:t>2018</a:t>
            </a:r>
          </a:p>
        </p:txBody>
      </p:sp>
      <p:grpSp>
        <p:nvGrpSpPr>
          <p:cNvPr id="26" name="Groupe 25">
            <a:extLst>
              <a:ext uri="{FF2B5EF4-FFF2-40B4-BE49-F238E27FC236}">
                <a16:creationId xmlns:a16="http://schemas.microsoft.com/office/drawing/2014/main" id="{FA719013-4A1B-523A-FCA8-1549D42A8469}"/>
              </a:ext>
            </a:extLst>
          </p:cNvPr>
          <p:cNvGrpSpPr/>
          <p:nvPr/>
        </p:nvGrpSpPr>
        <p:grpSpPr>
          <a:xfrm>
            <a:off x="3863895" y="3721522"/>
            <a:ext cx="924207" cy="943548"/>
            <a:chOff x="1002916" y="2311682"/>
            <a:chExt cx="924207" cy="943548"/>
          </a:xfrm>
        </p:grpSpPr>
        <p:sp>
          <p:nvSpPr>
            <p:cNvPr id="27" name="Ellipse 26">
              <a:extLst>
                <a:ext uri="{FF2B5EF4-FFF2-40B4-BE49-F238E27FC236}">
                  <a16:creationId xmlns:a16="http://schemas.microsoft.com/office/drawing/2014/main" id="{DB90BA12-40FF-473E-9907-E5BA4F78E058}"/>
                </a:ext>
              </a:extLst>
            </p:cNvPr>
            <p:cNvSpPr/>
            <p:nvPr/>
          </p:nvSpPr>
          <p:spPr>
            <a:xfrm>
              <a:off x="1002916" y="2311682"/>
              <a:ext cx="924207" cy="943548"/>
            </a:xfrm>
            <a:prstGeom prst="ellipse">
              <a:avLst/>
            </a:prstGeom>
            <a:noFill/>
            <a:ln w="28575" cap="rnd" cmpd="sng" algn="ctr">
              <a:solidFill>
                <a:srgbClr val="C00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200">
                <a:solidFill>
                  <a:srgbClr val="C00000"/>
                </a:solidFill>
              </a:endParaRPr>
            </a:p>
          </p:txBody>
        </p:sp>
        <p:sp>
          <p:nvSpPr>
            <p:cNvPr id="28" name="ZoneTexte 27">
              <a:extLst>
                <a:ext uri="{FF2B5EF4-FFF2-40B4-BE49-F238E27FC236}">
                  <a16:creationId xmlns:a16="http://schemas.microsoft.com/office/drawing/2014/main" id="{7505EB15-9264-04EE-9E14-F55D0FC2E29C}"/>
                </a:ext>
              </a:extLst>
            </p:cNvPr>
            <p:cNvSpPr txBox="1"/>
            <p:nvPr/>
          </p:nvSpPr>
          <p:spPr>
            <a:xfrm>
              <a:off x="1076644" y="2404056"/>
              <a:ext cx="776749" cy="7588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fr-FR" sz="2800">
                  <a:solidFill>
                    <a:srgbClr val="C00000"/>
                  </a:solidFill>
                  <a:latin typeface="Trebuchet MS" panose="020B0603020202020204" pitchFamily="34" charset="0"/>
                </a:rPr>
                <a:t>8,1%</a:t>
              </a:r>
            </a:p>
          </p:txBody>
        </p:sp>
      </p:grpSp>
      <p:grpSp>
        <p:nvGrpSpPr>
          <p:cNvPr id="29" name="Groupe 28">
            <a:extLst>
              <a:ext uri="{FF2B5EF4-FFF2-40B4-BE49-F238E27FC236}">
                <a16:creationId xmlns:a16="http://schemas.microsoft.com/office/drawing/2014/main" id="{817FD3D9-CA19-50D6-95A9-16D6658F5BB2}"/>
              </a:ext>
            </a:extLst>
          </p:cNvPr>
          <p:cNvGrpSpPr/>
          <p:nvPr/>
        </p:nvGrpSpPr>
        <p:grpSpPr>
          <a:xfrm>
            <a:off x="1316094" y="4774139"/>
            <a:ext cx="924207" cy="943548"/>
            <a:chOff x="1002916" y="2311682"/>
            <a:chExt cx="924207" cy="943548"/>
          </a:xfrm>
        </p:grpSpPr>
        <p:sp>
          <p:nvSpPr>
            <p:cNvPr id="30" name="Ellipse 29">
              <a:extLst>
                <a:ext uri="{FF2B5EF4-FFF2-40B4-BE49-F238E27FC236}">
                  <a16:creationId xmlns:a16="http://schemas.microsoft.com/office/drawing/2014/main" id="{2767F685-D8FE-4A00-92BC-EF46ACCDF2DC}"/>
                </a:ext>
              </a:extLst>
            </p:cNvPr>
            <p:cNvSpPr/>
            <p:nvPr/>
          </p:nvSpPr>
          <p:spPr>
            <a:xfrm>
              <a:off x="1002916" y="2311682"/>
              <a:ext cx="924207" cy="943548"/>
            </a:xfrm>
            <a:prstGeom prst="ellipse">
              <a:avLst/>
            </a:prstGeom>
            <a:noFill/>
            <a:ln w="28575" cap="rnd" cmpd="sng" algn="ctr">
              <a:solidFill>
                <a:srgbClr val="20BE6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200">
                <a:solidFill>
                  <a:srgbClr val="FFFFFF"/>
                </a:solidFill>
              </a:endParaRPr>
            </a:p>
          </p:txBody>
        </p:sp>
        <p:sp>
          <p:nvSpPr>
            <p:cNvPr id="31" name="ZoneTexte 30">
              <a:extLst>
                <a:ext uri="{FF2B5EF4-FFF2-40B4-BE49-F238E27FC236}">
                  <a16:creationId xmlns:a16="http://schemas.microsoft.com/office/drawing/2014/main" id="{7362207D-AC95-61B9-50FF-2BAD4BA2CEAE}"/>
                </a:ext>
              </a:extLst>
            </p:cNvPr>
            <p:cNvSpPr txBox="1"/>
            <p:nvPr/>
          </p:nvSpPr>
          <p:spPr>
            <a:xfrm>
              <a:off x="1076644" y="2404056"/>
              <a:ext cx="776749" cy="7588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fr-FR" sz="2800">
                  <a:solidFill>
                    <a:srgbClr val="20BE60"/>
                  </a:solidFill>
                  <a:latin typeface="Trebuchet MS" panose="020B0603020202020204" pitchFamily="34" charset="0"/>
                </a:rPr>
                <a:t>0,2%</a:t>
              </a:r>
            </a:p>
          </p:txBody>
        </p:sp>
      </p:grpSp>
      <p:grpSp>
        <p:nvGrpSpPr>
          <p:cNvPr id="32" name="Groupe 31">
            <a:extLst>
              <a:ext uri="{FF2B5EF4-FFF2-40B4-BE49-F238E27FC236}">
                <a16:creationId xmlns:a16="http://schemas.microsoft.com/office/drawing/2014/main" id="{D0F43F31-284C-C84C-0A05-EC17EC970479}"/>
              </a:ext>
            </a:extLst>
          </p:cNvPr>
          <p:cNvGrpSpPr/>
          <p:nvPr/>
        </p:nvGrpSpPr>
        <p:grpSpPr>
          <a:xfrm>
            <a:off x="3863895" y="4786114"/>
            <a:ext cx="924207" cy="943548"/>
            <a:chOff x="1002916" y="2311682"/>
            <a:chExt cx="924207" cy="943548"/>
          </a:xfrm>
        </p:grpSpPr>
        <p:sp>
          <p:nvSpPr>
            <p:cNvPr id="33" name="Ellipse 32">
              <a:extLst>
                <a:ext uri="{FF2B5EF4-FFF2-40B4-BE49-F238E27FC236}">
                  <a16:creationId xmlns:a16="http://schemas.microsoft.com/office/drawing/2014/main" id="{C53E00FC-9C2D-3BC2-A72C-A2358EF607BB}"/>
                </a:ext>
              </a:extLst>
            </p:cNvPr>
            <p:cNvSpPr/>
            <p:nvPr/>
          </p:nvSpPr>
          <p:spPr>
            <a:xfrm>
              <a:off x="1002916" y="2311682"/>
              <a:ext cx="924207" cy="943548"/>
            </a:xfrm>
            <a:prstGeom prst="ellipse">
              <a:avLst/>
            </a:prstGeom>
            <a:noFill/>
            <a:ln w="28575" cap="rnd" cmpd="sng" algn="ctr">
              <a:solidFill>
                <a:srgbClr val="C00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200">
                <a:solidFill>
                  <a:srgbClr val="C00000"/>
                </a:solidFill>
              </a:endParaRPr>
            </a:p>
          </p:txBody>
        </p:sp>
        <p:sp>
          <p:nvSpPr>
            <p:cNvPr id="34" name="ZoneTexte 33">
              <a:extLst>
                <a:ext uri="{FF2B5EF4-FFF2-40B4-BE49-F238E27FC236}">
                  <a16:creationId xmlns:a16="http://schemas.microsoft.com/office/drawing/2014/main" id="{276301E6-B652-7E50-1DBA-0C034491DA54}"/>
                </a:ext>
              </a:extLst>
            </p:cNvPr>
            <p:cNvSpPr txBox="1"/>
            <p:nvPr/>
          </p:nvSpPr>
          <p:spPr>
            <a:xfrm>
              <a:off x="1076644" y="2404056"/>
              <a:ext cx="776749" cy="7588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fr-FR" sz="2800">
                  <a:solidFill>
                    <a:srgbClr val="C00000"/>
                  </a:solidFill>
                  <a:latin typeface="Trebuchet MS" panose="020B0603020202020204" pitchFamily="34" charset="0"/>
                </a:rPr>
                <a:t>3,4%</a:t>
              </a:r>
            </a:p>
          </p:txBody>
        </p:sp>
      </p:grpSp>
      <p:sp>
        <p:nvSpPr>
          <p:cNvPr id="35" name="ZoneTexte 34">
            <a:extLst>
              <a:ext uri="{FF2B5EF4-FFF2-40B4-BE49-F238E27FC236}">
                <a16:creationId xmlns:a16="http://schemas.microsoft.com/office/drawing/2014/main" id="{50B2CEE9-72F4-3EA1-60AE-D303C0E81DAC}"/>
              </a:ext>
            </a:extLst>
          </p:cNvPr>
          <p:cNvSpPr txBox="1"/>
          <p:nvPr/>
        </p:nvSpPr>
        <p:spPr>
          <a:xfrm>
            <a:off x="2272612" y="4898136"/>
            <a:ext cx="1469774"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fr-FR" sz="1400">
                <a:solidFill>
                  <a:srgbClr val="000000"/>
                </a:solidFill>
                <a:latin typeface="Trebuchet MS" panose="020B0603020202020204" pitchFamily="34" charset="0"/>
              </a:rPr>
              <a:t>Long-</a:t>
            </a:r>
            <a:r>
              <a:rPr lang="fr-FR" sz="1400" err="1">
                <a:solidFill>
                  <a:srgbClr val="000000"/>
                </a:solidFill>
                <a:latin typeface="Trebuchet MS" panose="020B0603020202020204" pitchFamily="34" charset="0"/>
              </a:rPr>
              <a:t>term</a:t>
            </a:r>
            <a:r>
              <a:rPr lang="fr-FR" sz="1400">
                <a:solidFill>
                  <a:srgbClr val="000000"/>
                </a:solidFill>
                <a:latin typeface="Trebuchet MS" panose="020B0603020202020204" pitchFamily="34" charset="0"/>
              </a:rPr>
              <a:t> </a:t>
            </a:r>
          </a:p>
          <a:p>
            <a:pPr algn="ctr"/>
            <a:r>
              <a:rPr lang="fr-FR" sz="1400">
                <a:solidFill>
                  <a:srgbClr val="000000"/>
                </a:solidFill>
                <a:latin typeface="Trebuchet MS" panose="020B0603020202020204" pitchFamily="34" charset="0"/>
              </a:rPr>
              <a:t>Investments*</a:t>
            </a:r>
          </a:p>
          <a:p>
            <a:pPr algn="ctr"/>
            <a:endParaRPr lang="fr-FR" sz="1400">
              <a:solidFill>
                <a:srgbClr val="000000"/>
              </a:solidFill>
              <a:latin typeface="Trebuchet MS" panose="020B0603020202020204" pitchFamily="34" charset="0"/>
            </a:endParaRPr>
          </a:p>
        </p:txBody>
      </p:sp>
      <p:sp>
        <p:nvSpPr>
          <p:cNvPr id="36" name="ZoneTexte 35">
            <a:extLst>
              <a:ext uri="{FF2B5EF4-FFF2-40B4-BE49-F238E27FC236}">
                <a16:creationId xmlns:a16="http://schemas.microsoft.com/office/drawing/2014/main" id="{D245E236-86E9-A1C2-1084-AF35B26A83FB}"/>
              </a:ext>
            </a:extLst>
          </p:cNvPr>
          <p:cNvSpPr txBox="1"/>
          <p:nvPr/>
        </p:nvSpPr>
        <p:spPr>
          <a:xfrm>
            <a:off x="3178707" y="2118273"/>
            <a:ext cx="2294583" cy="51856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fr-FR" sz="2400" err="1">
                <a:solidFill>
                  <a:srgbClr val="C00000"/>
                </a:solidFill>
                <a:latin typeface="Trebuchet MS" panose="020B0603020202020204" pitchFamily="34" charset="0"/>
              </a:rPr>
              <a:t>Competitors</a:t>
            </a:r>
            <a:endParaRPr lang="fr-FR" sz="2400">
              <a:solidFill>
                <a:srgbClr val="C00000"/>
              </a:solidFill>
              <a:latin typeface="Trebuchet MS" panose="020B0603020202020204" pitchFamily="34" charset="0"/>
            </a:endParaRPr>
          </a:p>
        </p:txBody>
      </p:sp>
      <p:sp>
        <p:nvSpPr>
          <p:cNvPr id="37" name="ZoneTexte 36">
            <a:extLst>
              <a:ext uri="{FF2B5EF4-FFF2-40B4-BE49-F238E27FC236}">
                <a16:creationId xmlns:a16="http://schemas.microsoft.com/office/drawing/2014/main" id="{429749C2-C885-8F14-E28E-D21B41F1A805}"/>
              </a:ext>
            </a:extLst>
          </p:cNvPr>
          <p:cNvSpPr txBox="1"/>
          <p:nvPr/>
        </p:nvSpPr>
        <p:spPr>
          <a:xfrm>
            <a:off x="1320997" y="2118272"/>
            <a:ext cx="914400" cy="51856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fr-FR" sz="2400" err="1">
                <a:solidFill>
                  <a:srgbClr val="20BE60"/>
                </a:solidFill>
                <a:latin typeface="Trebuchet MS" panose="020B0603020202020204" pitchFamily="34" charset="0"/>
              </a:rPr>
              <a:t>ClientCo</a:t>
            </a:r>
            <a:endParaRPr lang="fr-FR" sz="2400">
              <a:solidFill>
                <a:srgbClr val="20BE60"/>
              </a:solidFill>
              <a:latin typeface="Trebuchet MS" panose="020B0603020202020204" pitchFamily="34" charset="0"/>
            </a:endParaRPr>
          </a:p>
        </p:txBody>
      </p:sp>
    </p:spTree>
    <p:extLst>
      <p:ext uri="{BB962C8B-B14F-4D97-AF65-F5344CB8AC3E}">
        <p14:creationId xmlns:p14="http://schemas.microsoft.com/office/powerpoint/2010/main" val="399547210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1553" name="Diapositive think-cell" r:id="rId6" imgW="473" imgH="473" progId="TCLayout.ActiveDocument.1">
                  <p:embed/>
                </p:oleObj>
              </mc:Choice>
              <mc:Fallback>
                <p:oleObj name="Diapositive think-cell" r:id="rId6" imgW="473" imgH="473"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a:xfrm>
            <a:off x="630000" y="622800"/>
            <a:ext cx="10933350" cy="443198"/>
          </a:xfrm>
        </p:spPr>
        <p:txBody>
          <a:bodyPr vert="horz"/>
          <a:lstStyle/>
          <a:p>
            <a:r>
              <a:rPr lang="en-US" sz="3200">
                <a:solidFill>
                  <a:srgbClr val="00B050"/>
                </a:solidFill>
              </a:rPr>
              <a:t>Executive Summary</a:t>
            </a:r>
          </a:p>
        </p:txBody>
      </p:sp>
      <p:sp>
        <p:nvSpPr>
          <p:cNvPr id="9" name="Espace réservé du texte 8">
            <a:extLst>
              <a:ext uri="{FF2B5EF4-FFF2-40B4-BE49-F238E27FC236}">
                <a16:creationId xmlns:a16="http://schemas.microsoft.com/office/drawing/2014/main" id="{239FDB85-FA9E-C7BC-BF6E-856BF8A8F148}"/>
              </a:ext>
            </a:extLst>
          </p:cNvPr>
          <p:cNvSpPr>
            <a:spLocks noGrp="1"/>
          </p:cNvSpPr>
          <p:nvPr>
            <p:ph type="body" sz="quarter" idx="10"/>
          </p:nvPr>
        </p:nvSpPr>
        <p:spPr>
          <a:xfrm>
            <a:off x="629400" y="1648047"/>
            <a:ext cx="10933950" cy="4510557"/>
          </a:xfrm>
        </p:spPr>
        <p:txBody>
          <a:bodyPr/>
          <a:lstStyle/>
          <a:p>
            <a:pPr marL="111600" lvl="1" indent="0">
              <a:buNone/>
            </a:pPr>
            <a:r>
              <a:rPr lang="en-US">
                <a:solidFill>
                  <a:schemeClr val="bg1">
                    <a:lumMod val="50000"/>
                  </a:schemeClr>
                </a:solidFill>
              </a:rPr>
              <a:t>	</a:t>
            </a:r>
          </a:p>
          <a:p>
            <a:pPr lvl="1"/>
            <a:r>
              <a:rPr lang="en-US" sz="1600">
                <a:solidFill>
                  <a:schemeClr val="bg1">
                    <a:lumMod val="50000"/>
                  </a:schemeClr>
                </a:solidFill>
              </a:rPr>
              <a:t>To keep on being an international construction materials distributor, </a:t>
            </a:r>
            <a:r>
              <a:rPr lang="en-US" sz="1600" err="1">
                <a:solidFill>
                  <a:schemeClr val="bg1">
                    <a:lumMod val="50000"/>
                  </a:schemeClr>
                </a:solidFill>
              </a:rPr>
              <a:t>ClientCo</a:t>
            </a:r>
            <a:r>
              <a:rPr lang="en-US" sz="1600">
                <a:solidFill>
                  <a:schemeClr val="bg1">
                    <a:lumMod val="50000"/>
                  </a:schemeClr>
                </a:solidFill>
              </a:rPr>
              <a:t> feels the need to develop a </a:t>
            </a:r>
            <a:r>
              <a:rPr lang="en-US" sz="1600" b="1">
                <a:solidFill>
                  <a:srgbClr val="00B050"/>
                </a:solidFill>
              </a:rPr>
              <a:t>digital strategy</a:t>
            </a:r>
          </a:p>
          <a:p>
            <a:pPr marL="111600" lvl="1" indent="0">
              <a:buNone/>
            </a:pPr>
            <a:r>
              <a:rPr lang="en-US" sz="1400">
                <a:solidFill>
                  <a:schemeClr val="bg1">
                    <a:lumMod val="50000"/>
                  </a:schemeClr>
                </a:solidFill>
              </a:rPr>
              <a:t>	- Over the last few years, </a:t>
            </a:r>
            <a:r>
              <a:rPr lang="en-US" sz="1400" err="1">
                <a:solidFill>
                  <a:schemeClr val="bg1">
                    <a:lumMod val="50000"/>
                  </a:schemeClr>
                </a:solidFill>
              </a:rPr>
              <a:t>ClientCo’s</a:t>
            </a:r>
            <a:r>
              <a:rPr lang="en-US" sz="1400">
                <a:solidFill>
                  <a:schemeClr val="bg1">
                    <a:lumMod val="50000"/>
                  </a:schemeClr>
                </a:solidFill>
              </a:rPr>
              <a:t> turnover does not follow the market evolution</a:t>
            </a:r>
          </a:p>
          <a:p>
            <a:pPr marL="111600" lvl="1" indent="0">
              <a:buNone/>
            </a:pPr>
            <a:r>
              <a:rPr lang="en-US" sz="1400">
                <a:solidFill>
                  <a:schemeClr val="bg1">
                    <a:lumMod val="50000"/>
                  </a:schemeClr>
                </a:solidFill>
              </a:rPr>
              <a:t>	- Compared to competitors, long term </a:t>
            </a:r>
            <a:r>
              <a:rPr lang="en-US" sz="1400" b="1">
                <a:solidFill>
                  <a:srgbClr val="00B050"/>
                </a:solidFill>
              </a:rPr>
              <a:t>investments</a:t>
            </a:r>
            <a:r>
              <a:rPr lang="en-US" sz="1400">
                <a:solidFill>
                  <a:schemeClr val="bg1">
                    <a:lumMod val="50000"/>
                  </a:schemeClr>
                </a:solidFill>
              </a:rPr>
              <a:t>, especially in digital projects, are nearly </a:t>
            </a:r>
            <a:r>
              <a:rPr lang="en-US" sz="1400" b="1">
                <a:solidFill>
                  <a:srgbClr val="00B050"/>
                </a:solidFill>
              </a:rPr>
              <a:t>non-existent</a:t>
            </a:r>
          </a:p>
          <a:p>
            <a:pPr marL="111600" lvl="1" indent="0">
              <a:buNone/>
            </a:pPr>
            <a:r>
              <a:rPr lang="en-US" sz="1400">
                <a:solidFill>
                  <a:schemeClr val="bg1">
                    <a:lumMod val="50000"/>
                  </a:schemeClr>
                </a:solidFill>
              </a:rPr>
              <a:t>	- Belief that a  digital transformation is largely spread and </a:t>
            </a:r>
            <a:r>
              <a:rPr lang="en-US" sz="1400" b="1">
                <a:solidFill>
                  <a:srgbClr val="00B050"/>
                </a:solidFill>
              </a:rPr>
              <a:t>welcomed among employees </a:t>
            </a:r>
            <a:r>
              <a:rPr lang="en-US" sz="1400">
                <a:solidFill>
                  <a:schemeClr val="bg1">
                    <a:lumMod val="50000"/>
                  </a:schemeClr>
                </a:solidFill>
              </a:rPr>
              <a:t>but not shared and there is little hope in cooperations with other teams</a:t>
            </a:r>
          </a:p>
          <a:p>
            <a:pPr marL="111600" lvl="1" indent="0">
              <a:buNone/>
            </a:pPr>
            <a:endParaRPr lang="en-US" sz="1400">
              <a:solidFill>
                <a:schemeClr val="bg1">
                  <a:lumMod val="50000"/>
                </a:schemeClr>
              </a:solidFill>
            </a:endParaRPr>
          </a:p>
          <a:p>
            <a:pPr lvl="1"/>
            <a:r>
              <a:rPr lang="en-US" sz="1600">
                <a:solidFill>
                  <a:schemeClr val="bg1">
                    <a:lumMod val="50000"/>
                  </a:schemeClr>
                </a:solidFill>
              </a:rPr>
              <a:t>Among </a:t>
            </a:r>
            <a:r>
              <a:rPr lang="en-US" sz="1600" b="1">
                <a:solidFill>
                  <a:srgbClr val="00B050"/>
                </a:solidFill>
              </a:rPr>
              <a:t>8 </a:t>
            </a:r>
            <a:r>
              <a:rPr lang="en-US" sz="1600" b="1" err="1">
                <a:solidFill>
                  <a:srgbClr val="00B050"/>
                </a:solidFill>
              </a:rPr>
              <a:t>usecases</a:t>
            </a:r>
            <a:r>
              <a:rPr lang="en-US" sz="1600" b="1">
                <a:solidFill>
                  <a:srgbClr val="00B050"/>
                </a:solidFill>
              </a:rPr>
              <a:t> defined</a:t>
            </a:r>
            <a:r>
              <a:rPr lang="en-US" sz="1600">
                <a:solidFill>
                  <a:schemeClr val="bg1">
                    <a:lumMod val="50000"/>
                  </a:schemeClr>
                </a:solidFill>
              </a:rPr>
              <a:t>, 3 have been deepen because of their </a:t>
            </a:r>
            <a:r>
              <a:rPr lang="en-US" sz="1600" b="1">
                <a:solidFill>
                  <a:srgbClr val="00B050"/>
                </a:solidFill>
              </a:rPr>
              <a:t>easiness of implementation</a:t>
            </a:r>
            <a:r>
              <a:rPr lang="en-US" sz="1600">
                <a:solidFill>
                  <a:schemeClr val="bg1">
                    <a:lumMod val="50000"/>
                  </a:schemeClr>
                </a:solidFill>
              </a:rPr>
              <a:t>, </a:t>
            </a:r>
            <a:r>
              <a:rPr lang="en-US" sz="1600" b="1">
                <a:solidFill>
                  <a:srgbClr val="00B050"/>
                </a:solidFill>
              </a:rPr>
              <a:t>support </a:t>
            </a:r>
            <a:r>
              <a:rPr lang="en-US" sz="1600">
                <a:solidFill>
                  <a:schemeClr val="bg1">
                    <a:lumMod val="50000"/>
                  </a:schemeClr>
                </a:solidFill>
              </a:rPr>
              <a:t>within the team and </a:t>
            </a:r>
            <a:r>
              <a:rPr lang="en-US" sz="1600" b="1">
                <a:solidFill>
                  <a:srgbClr val="00B050"/>
                </a:solidFill>
              </a:rPr>
              <a:t>impact</a:t>
            </a:r>
            <a:r>
              <a:rPr lang="en-US" sz="1600">
                <a:solidFill>
                  <a:schemeClr val="bg1">
                    <a:lumMod val="50000"/>
                  </a:schemeClr>
                </a:solidFill>
              </a:rPr>
              <a:t> on the company result</a:t>
            </a:r>
          </a:p>
          <a:p>
            <a:pPr marL="111600" lvl="1" indent="0">
              <a:buNone/>
            </a:pPr>
            <a:r>
              <a:rPr lang="en-US" sz="1400">
                <a:solidFill>
                  <a:schemeClr val="bg1">
                    <a:lumMod val="50000"/>
                  </a:schemeClr>
                </a:solidFill>
              </a:rPr>
              <a:t>	- </a:t>
            </a:r>
            <a:r>
              <a:rPr lang="en-US" sz="1400" b="1">
                <a:solidFill>
                  <a:srgbClr val="00B050"/>
                </a:solidFill>
              </a:rPr>
              <a:t>Churn prediction model </a:t>
            </a:r>
            <a:r>
              <a:rPr lang="en-US" sz="1400">
                <a:solidFill>
                  <a:schemeClr val="bg1">
                    <a:lumMod val="50000"/>
                  </a:schemeClr>
                </a:solidFill>
              </a:rPr>
              <a:t>to avoid client attrition and detect whenever a risk occurs</a:t>
            </a:r>
          </a:p>
          <a:p>
            <a:pPr marL="111600" lvl="1" indent="0">
              <a:buNone/>
            </a:pPr>
            <a:r>
              <a:rPr lang="en-US" sz="1400">
                <a:solidFill>
                  <a:schemeClr val="bg1">
                    <a:lumMod val="50000"/>
                  </a:schemeClr>
                </a:solidFill>
              </a:rPr>
              <a:t>	- </a:t>
            </a:r>
            <a:r>
              <a:rPr lang="en-US" sz="1400" b="1">
                <a:solidFill>
                  <a:srgbClr val="00B050"/>
                </a:solidFill>
              </a:rPr>
              <a:t>Recommendation tool </a:t>
            </a:r>
            <a:r>
              <a:rPr lang="en-US" sz="1400">
                <a:solidFill>
                  <a:schemeClr val="bg1">
                    <a:lumMod val="50000"/>
                  </a:schemeClr>
                </a:solidFill>
              </a:rPr>
              <a:t>to improve client satisfaction and meet their expectation &amp; needs</a:t>
            </a:r>
          </a:p>
          <a:p>
            <a:pPr marL="111600" lvl="1" indent="0">
              <a:buNone/>
            </a:pPr>
            <a:r>
              <a:rPr lang="en-US" sz="1400">
                <a:solidFill>
                  <a:schemeClr val="bg1">
                    <a:lumMod val="50000"/>
                  </a:schemeClr>
                </a:solidFill>
              </a:rPr>
              <a:t>	- </a:t>
            </a:r>
            <a:r>
              <a:rPr lang="en-US" sz="1400" b="1">
                <a:solidFill>
                  <a:srgbClr val="00B050"/>
                </a:solidFill>
              </a:rPr>
              <a:t>Data based inventories </a:t>
            </a:r>
            <a:r>
              <a:rPr lang="en-US" sz="1400">
                <a:solidFill>
                  <a:schemeClr val="bg1">
                    <a:lumMod val="50000"/>
                  </a:schemeClr>
                </a:solidFill>
              </a:rPr>
              <a:t>to get a clearer view of the stocks</a:t>
            </a:r>
          </a:p>
          <a:p>
            <a:pPr marL="111600" lvl="1" indent="0">
              <a:buNone/>
            </a:pPr>
            <a:r>
              <a:rPr lang="en-US" sz="1400">
                <a:solidFill>
                  <a:schemeClr val="bg1">
                    <a:lumMod val="50000"/>
                  </a:schemeClr>
                </a:solidFill>
              </a:rPr>
              <a:t>	- Implementing within </a:t>
            </a:r>
            <a:r>
              <a:rPr lang="en-US" sz="1400" b="1">
                <a:solidFill>
                  <a:srgbClr val="00B050"/>
                </a:solidFill>
              </a:rPr>
              <a:t>2 years </a:t>
            </a:r>
            <a:r>
              <a:rPr lang="en-US" sz="1400">
                <a:solidFill>
                  <a:schemeClr val="bg1">
                    <a:lumMod val="50000"/>
                  </a:schemeClr>
                </a:solidFill>
              </a:rPr>
              <a:t>those projects will enable </a:t>
            </a:r>
            <a:r>
              <a:rPr lang="en-US" sz="1400" err="1">
                <a:solidFill>
                  <a:schemeClr val="bg1">
                    <a:lumMod val="50000"/>
                  </a:schemeClr>
                </a:solidFill>
              </a:rPr>
              <a:t>ClientCo</a:t>
            </a:r>
            <a:r>
              <a:rPr lang="en-US" sz="1400">
                <a:solidFill>
                  <a:schemeClr val="bg1">
                    <a:lumMod val="50000"/>
                  </a:schemeClr>
                </a:solidFill>
              </a:rPr>
              <a:t> to launch more ambitious initiatives</a:t>
            </a:r>
          </a:p>
          <a:p>
            <a:pPr marL="111600" lvl="1" indent="0">
              <a:buNone/>
            </a:pPr>
            <a:endParaRPr lang="en-US" sz="1400">
              <a:solidFill>
                <a:schemeClr val="bg1">
                  <a:lumMod val="50000"/>
                </a:schemeClr>
              </a:solidFill>
            </a:endParaRPr>
          </a:p>
          <a:p>
            <a:pPr lvl="1"/>
            <a:r>
              <a:rPr lang="en-US" sz="1600">
                <a:solidFill>
                  <a:schemeClr val="bg1">
                    <a:lumMod val="50000"/>
                  </a:schemeClr>
                </a:solidFill>
              </a:rPr>
              <a:t>To start with, implementing a churn prediction model is the most straight forward project to ensure and strengthen the digital strategy.  </a:t>
            </a:r>
          </a:p>
          <a:p>
            <a:pPr marL="111600" lvl="1" indent="0">
              <a:buNone/>
            </a:pPr>
            <a:r>
              <a:rPr lang="en-US" sz="1400">
                <a:solidFill>
                  <a:schemeClr val="bg1">
                    <a:lumMod val="50000"/>
                  </a:schemeClr>
                </a:solidFill>
              </a:rPr>
              <a:t>	-  </a:t>
            </a:r>
            <a:r>
              <a:rPr lang="en-US" sz="1400" b="1">
                <a:solidFill>
                  <a:srgbClr val="00B050"/>
                </a:solidFill>
              </a:rPr>
              <a:t>+ 1% in revenues </a:t>
            </a:r>
            <a:r>
              <a:rPr lang="en-US" sz="1400">
                <a:solidFill>
                  <a:schemeClr val="bg1">
                    <a:lumMod val="50000"/>
                  </a:schemeClr>
                </a:solidFill>
              </a:rPr>
              <a:t>could be made by retaining clients</a:t>
            </a:r>
          </a:p>
          <a:p>
            <a:pPr marL="111600" lvl="1" indent="0">
              <a:buNone/>
            </a:pPr>
            <a:r>
              <a:rPr lang="en-US" sz="1400">
                <a:solidFill>
                  <a:schemeClr val="bg1">
                    <a:lumMod val="50000"/>
                  </a:schemeClr>
                </a:solidFill>
              </a:rPr>
              <a:t>	- Profile and behavior of future churned client are similar and </a:t>
            </a:r>
            <a:r>
              <a:rPr lang="en-US" sz="1400" b="1">
                <a:solidFill>
                  <a:srgbClr val="00B050"/>
                </a:solidFill>
              </a:rPr>
              <a:t>detecting</a:t>
            </a:r>
            <a:r>
              <a:rPr lang="en-US" sz="1400">
                <a:solidFill>
                  <a:schemeClr val="bg1">
                    <a:lumMod val="50000"/>
                  </a:schemeClr>
                </a:solidFill>
              </a:rPr>
              <a:t> those </a:t>
            </a:r>
            <a:r>
              <a:rPr lang="en-US" sz="1400" b="1">
                <a:solidFill>
                  <a:srgbClr val="00B050"/>
                </a:solidFill>
              </a:rPr>
              <a:t>early signs </a:t>
            </a:r>
            <a:r>
              <a:rPr lang="en-US" sz="1400">
                <a:solidFill>
                  <a:schemeClr val="bg1">
                    <a:lumMod val="50000"/>
                  </a:schemeClr>
                </a:solidFill>
              </a:rPr>
              <a:t>would enable sales team to </a:t>
            </a:r>
            <a:r>
              <a:rPr lang="en-US" sz="1400" b="1">
                <a:solidFill>
                  <a:srgbClr val="00B050"/>
                </a:solidFill>
              </a:rPr>
              <a:t>act accordingly</a:t>
            </a:r>
          </a:p>
          <a:p>
            <a:pPr marL="111600" lvl="1" indent="0">
              <a:buNone/>
            </a:pPr>
            <a:r>
              <a:rPr lang="en-US" sz="1400">
                <a:solidFill>
                  <a:schemeClr val="bg1">
                    <a:lumMod val="50000"/>
                  </a:schemeClr>
                </a:solidFill>
              </a:rPr>
              <a:t>	- Churn prediction would have made 20M€ of bonus net income in 2018</a:t>
            </a:r>
          </a:p>
          <a:p>
            <a:pPr marL="111600" lvl="1" indent="0">
              <a:buNone/>
            </a:pPr>
            <a:endParaRPr lang="en-US" sz="1400">
              <a:solidFill>
                <a:schemeClr val="bg1">
                  <a:lumMod val="50000"/>
                </a:schemeClr>
              </a:solidFill>
            </a:endParaRPr>
          </a:p>
          <a:p>
            <a:endParaRPr lang="en-US" sz="1400">
              <a:solidFill>
                <a:schemeClr val="bg1">
                  <a:lumMod val="50000"/>
                </a:schemeClr>
              </a:solidFill>
            </a:endParaRPr>
          </a:p>
          <a:p>
            <a:endParaRPr lang="fr-FR"/>
          </a:p>
        </p:txBody>
      </p:sp>
    </p:spTree>
    <p:extLst>
      <p:ext uri="{BB962C8B-B14F-4D97-AF65-F5344CB8AC3E}">
        <p14:creationId xmlns:p14="http://schemas.microsoft.com/office/powerpoint/2010/main" val="367625546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Chart 4">
            <a:extLst>
              <a:ext uri="{FF2B5EF4-FFF2-40B4-BE49-F238E27FC236}">
                <a16:creationId xmlns:a16="http://schemas.microsoft.com/office/drawing/2014/main" id="{6BF42E3F-1D15-9538-B5D4-9953836C7559}"/>
              </a:ext>
            </a:extLst>
          </p:cNvPr>
          <p:cNvGraphicFramePr>
            <a:graphicFrameLocks/>
          </p:cNvGraphicFramePr>
          <p:nvPr>
            <p:extLst>
              <p:ext uri="{D42A27DB-BD31-4B8C-83A1-F6EECF244321}">
                <p14:modId xmlns:p14="http://schemas.microsoft.com/office/powerpoint/2010/main" val="313559971"/>
              </p:ext>
            </p:extLst>
          </p:nvPr>
        </p:nvGraphicFramePr>
        <p:xfrm>
          <a:off x="628650" y="2072777"/>
          <a:ext cx="6403106" cy="409942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01" name="Diapositive think-cell" r:id="rId7" imgW="473" imgH="473" progId="TCLayout.ActiveDocument.1">
                  <p:embed/>
                </p:oleObj>
              </mc:Choice>
              <mc:Fallback>
                <p:oleObj name="Diapositive think-cell" r:id="rId7" imgW="473" imgH="473" progId="TCLayout.ActiveDocument.1">
                  <p:embed/>
                  <p:pic>
                    <p:nvPicPr>
                      <p:cNvPr id="4" name="Object 3"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a:xfrm>
            <a:off x="630000" y="622800"/>
            <a:ext cx="10933350" cy="443198"/>
          </a:xfrm>
        </p:spPr>
        <p:txBody>
          <a:bodyPr vert="horz"/>
          <a:lstStyle/>
          <a:p>
            <a:r>
              <a:rPr lang="en-US" sz="3200">
                <a:solidFill>
                  <a:srgbClr val="00B050"/>
                </a:solidFill>
              </a:rPr>
              <a:t>3 identified uses cases to begin the data journey</a:t>
            </a:r>
          </a:p>
        </p:txBody>
      </p:sp>
      <p:sp>
        <p:nvSpPr>
          <p:cNvPr id="7" name="ee4pFootnotes"/>
          <p:cNvSpPr>
            <a:spLocks noChangeArrowheads="1"/>
          </p:cNvSpPr>
          <p:nvPr/>
        </p:nvSpPr>
        <p:spPr bwMode="auto">
          <a:xfrm>
            <a:off x="628650" y="6438811"/>
            <a:ext cx="903091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a:solidFill>
                  <a:schemeClr val="bg1">
                    <a:lumMod val="50000"/>
                  </a:schemeClr>
                </a:solidFill>
                <a:latin typeface="Trebuchet MS" panose="020B0603020202020204" pitchFamily="34" charset="0"/>
                <a:cs typeface="Arial" pitchFamily="34" charset="0"/>
              </a:rPr>
              <a:t>Source : </a:t>
            </a:r>
            <a:r>
              <a:rPr lang="en-US" sz="1000" err="1">
                <a:solidFill>
                  <a:schemeClr val="bg1">
                    <a:lumMod val="50000"/>
                  </a:schemeClr>
                </a:solidFill>
                <a:latin typeface="Trebuchet MS" panose="020B0603020202020204" pitchFamily="34" charset="0"/>
                <a:cs typeface="Arial" pitchFamily="34" charset="0"/>
              </a:rPr>
              <a:t>ClientCo’s</a:t>
            </a:r>
            <a:r>
              <a:rPr lang="en-US" sz="1000">
                <a:solidFill>
                  <a:schemeClr val="bg1">
                    <a:lumMod val="50000"/>
                  </a:schemeClr>
                </a:solidFill>
                <a:latin typeface="Trebuchet MS" panose="020B0603020202020204" pitchFamily="34" charset="0"/>
                <a:cs typeface="Arial" pitchFamily="34" charset="0"/>
              </a:rPr>
              <a:t> Data, BCG studies</a:t>
            </a:r>
          </a:p>
        </p:txBody>
      </p:sp>
      <p:sp>
        <p:nvSpPr>
          <p:cNvPr id="43" name="object 34">
            <a:extLst>
              <a:ext uri="{FF2B5EF4-FFF2-40B4-BE49-F238E27FC236}">
                <a16:creationId xmlns:a16="http://schemas.microsoft.com/office/drawing/2014/main" id="{CA3F97C3-F0BA-D6BA-E5DC-19121E864BFE}"/>
              </a:ext>
            </a:extLst>
          </p:cNvPr>
          <p:cNvSpPr/>
          <p:nvPr/>
        </p:nvSpPr>
        <p:spPr>
          <a:xfrm rot="5400000" flipV="1">
            <a:off x="5066273" y="4046698"/>
            <a:ext cx="3976685" cy="45719"/>
          </a:xfrm>
          <a:custGeom>
            <a:avLst/>
            <a:gdLst/>
            <a:ahLst/>
            <a:cxnLst/>
            <a:rect l="l" t="t" r="r" b="b"/>
            <a:pathLst>
              <a:path w="9930765">
                <a:moveTo>
                  <a:pt x="0" y="0"/>
                </a:moveTo>
                <a:lnTo>
                  <a:pt x="9930384" y="0"/>
                </a:lnTo>
              </a:path>
            </a:pathLst>
          </a:custGeom>
          <a:ln w="9525">
            <a:solidFill>
              <a:srgbClr val="9A9A9A"/>
            </a:solidFill>
            <a:prstDash val="dash"/>
          </a:ln>
        </p:spPr>
        <p:txBody>
          <a:bodyPr wrap="square" lIns="0" tIns="0" rIns="0" bIns="0" rtlCol="0"/>
          <a:lstStyle/>
          <a:p>
            <a:endParaRPr/>
          </a:p>
        </p:txBody>
      </p:sp>
      <p:sp>
        <p:nvSpPr>
          <p:cNvPr id="47" name="ZoneTexte 46">
            <a:extLst>
              <a:ext uri="{FF2B5EF4-FFF2-40B4-BE49-F238E27FC236}">
                <a16:creationId xmlns:a16="http://schemas.microsoft.com/office/drawing/2014/main" id="{7063491F-EB18-8B5E-3A2C-3495F1ACF8E9}"/>
              </a:ext>
            </a:extLst>
          </p:cNvPr>
          <p:cNvSpPr txBox="1"/>
          <p:nvPr/>
        </p:nvSpPr>
        <p:spPr>
          <a:xfrm>
            <a:off x="816815" y="2081213"/>
            <a:ext cx="1068947" cy="26280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a:solidFill>
                  <a:schemeClr val="tx2"/>
                </a:solidFill>
              </a:rPr>
              <a:t>All employees</a:t>
            </a:r>
          </a:p>
        </p:txBody>
      </p:sp>
      <p:grpSp>
        <p:nvGrpSpPr>
          <p:cNvPr id="9" name="Groupe 8">
            <a:extLst>
              <a:ext uri="{FF2B5EF4-FFF2-40B4-BE49-F238E27FC236}">
                <a16:creationId xmlns:a16="http://schemas.microsoft.com/office/drawing/2014/main" id="{E1365741-0908-9F84-5D4C-D18FFF2648CB}"/>
              </a:ext>
            </a:extLst>
          </p:cNvPr>
          <p:cNvGrpSpPr/>
          <p:nvPr/>
        </p:nvGrpSpPr>
        <p:grpSpPr>
          <a:xfrm>
            <a:off x="7268167" y="4418000"/>
            <a:ext cx="5763903" cy="1479107"/>
            <a:chOff x="7295167" y="2093274"/>
            <a:chExt cx="5763903" cy="1479107"/>
          </a:xfrm>
        </p:grpSpPr>
        <p:sp>
          <p:nvSpPr>
            <p:cNvPr id="30" name="object 3">
              <a:extLst>
                <a:ext uri="{FF2B5EF4-FFF2-40B4-BE49-F238E27FC236}">
                  <a16:creationId xmlns:a16="http://schemas.microsoft.com/office/drawing/2014/main" id="{7888EA0D-E5CC-B468-ED57-4AA73C182AD4}"/>
                </a:ext>
              </a:extLst>
            </p:cNvPr>
            <p:cNvSpPr txBox="1"/>
            <p:nvPr/>
          </p:nvSpPr>
          <p:spPr>
            <a:xfrm>
              <a:off x="8724703" y="2510388"/>
              <a:ext cx="4334367" cy="197490"/>
            </a:xfrm>
            <a:prstGeom prst="rect">
              <a:avLst/>
            </a:prstGeom>
          </p:spPr>
          <p:txBody>
            <a:bodyPr vert="horz" wrap="square" lIns="0" tIns="12700" rIns="0" bIns="0" rtlCol="0">
              <a:spAutoFit/>
            </a:bodyPr>
            <a:lstStyle/>
            <a:p>
              <a:pPr marL="12700">
                <a:lnSpc>
                  <a:spcPct val="100000"/>
                </a:lnSpc>
                <a:spcBef>
                  <a:spcPts val="100"/>
                </a:spcBef>
                <a:buClr>
                  <a:srgbClr val="9A9CA1"/>
                </a:buClr>
                <a:tabLst>
                  <a:tab pos="226060" algn="l"/>
                </a:tabLst>
              </a:pPr>
              <a:r>
                <a:rPr lang="en-US" sz="1200" spc="-5">
                  <a:solidFill>
                    <a:srgbClr val="373739"/>
                  </a:solidFill>
                  <a:latin typeface="Trebuchet MS"/>
                </a:rPr>
                <a:t>Financial impact of the project</a:t>
              </a:r>
            </a:p>
          </p:txBody>
        </p:sp>
        <p:grpSp>
          <p:nvGrpSpPr>
            <p:cNvPr id="40" name="Groupe 39">
              <a:extLst>
                <a:ext uri="{FF2B5EF4-FFF2-40B4-BE49-F238E27FC236}">
                  <a16:creationId xmlns:a16="http://schemas.microsoft.com/office/drawing/2014/main" id="{75E6069F-25BA-2571-519A-FFF468D2FF8D}"/>
                </a:ext>
              </a:extLst>
            </p:cNvPr>
            <p:cNvGrpSpPr/>
            <p:nvPr/>
          </p:nvGrpSpPr>
          <p:grpSpPr>
            <a:xfrm>
              <a:off x="10415341" y="2878917"/>
              <a:ext cx="1263957" cy="197490"/>
              <a:chOff x="7023904" y="2893944"/>
              <a:chExt cx="1263957" cy="197490"/>
            </a:xfrm>
          </p:grpSpPr>
          <p:sp>
            <p:nvSpPr>
              <p:cNvPr id="41" name="Ellipse 40">
                <a:extLst>
                  <a:ext uri="{FF2B5EF4-FFF2-40B4-BE49-F238E27FC236}">
                    <a16:creationId xmlns:a16="http://schemas.microsoft.com/office/drawing/2014/main" id="{78CA525B-3C86-6A98-E80C-EC8D0297A5E1}"/>
                  </a:ext>
                </a:extLst>
              </p:cNvPr>
              <p:cNvSpPr/>
              <p:nvPr/>
            </p:nvSpPr>
            <p:spPr>
              <a:xfrm>
                <a:off x="7023904" y="2898631"/>
                <a:ext cx="197963" cy="188536"/>
              </a:xfrm>
              <a:prstGeom prst="ellipse">
                <a:avLst/>
              </a:prstGeom>
              <a:solidFill>
                <a:srgbClr val="00206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42" name="object 3">
                <a:extLst>
                  <a:ext uri="{FF2B5EF4-FFF2-40B4-BE49-F238E27FC236}">
                    <a16:creationId xmlns:a16="http://schemas.microsoft.com/office/drawing/2014/main" id="{FC6635DE-C413-A8B9-B620-955EA31D8CDA}"/>
                  </a:ext>
                </a:extLst>
              </p:cNvPr>
              <p:cNvSpPr txBox="1"/>
              <p:nvPr/>
            </p:nvSpPr>
            <p:spPr>
              <a:xfrm>
                <a:off x="7351532" y="2893944"/>
                <a:ext cx="936329" cy="197490"/>
              </a:xfrm>
              <a:prstGeom prst="rect">
                <a:avLst/>
              </a:prstGeom>
            </p:spPr>
            <p:txBody>
              <a:bodyPr vert="horz" wrap="square" lIns="0" tIns="12700" rIns="0" bIns="0" rtlCol="0">
                <a:spAutoFit/>
              </a:bodyPr>
              <a:lstStyle/>
              <a:p>
                <a:pPr marL="12700">
                  <a:lnSpc>
                    <a:spcPct val="100000"/>
                  </a:lnSpc>
                  <a:spcBef>
                    <a:spcPts val="100"/>
                  </a:spcBef>
                  <a:buClr>
                    <a:srgbClr val="9A9CA1"/>
                  </a:buClr>
                  <a:tabLst>
                    <a:tab pos="226060" algn="l"/>
                  </a:tabLst>
                </a:pPr>
                <a:r>
                  <a:rPr lang="en-US" sz="1200" spc="-5">
                    <a:solidFill>
                      <a:srgbClr val="373739"/>
                    </a:solidFill>
                    <a:latin typeface="Trebuchet MS"/>
                  </a:rPr>
                  <a:t>Management</a:t>
                </a:r>
              </a:p>
            </p:txBody>
          </p:sp>
        </p:grpSp>
        <p:grpSp>
          <p:nvGrpSpPr>
            <p:cNvPr id="8" name="Groupe 7">
              <a:extLst>
                <a:ext uri="{FF2B5EF4-FFF2-40B4-BE49-F238E27FC236}">
                  <a16:creationId xmlns:a16="http://schemas.microsoft.com/office/drawing/2014/main" id="{72C505EE-5921-C595-EFBF-BAB659261A43}"/>
                </a:ext>
              </a:extLst>
            </p:cNvPr>
            <p:cNvGrpSpPr/>
            <p:nvPr/>
          </p:nvGrpSpPr>
          <p:grpSpPr>
            <a:xfrm>
              <a:off x="7295167" y="2093274"/>
              <a:ext cx="4896833" cy="1479107"/>
              <a:chOff x="7295167" y="2093274"/>
              <a:chExt cx="4896833" cy="1479107"/>
            </a:xfrm>
          </p:grpSpPr>
          <p:sp>
            <p:nvSpPr>
              <p:cNvPr id="10" name="object 20">
                <a:extLst>
                  <a:ext uri="{FF2B5EF4-FFF2-40B4-BE49-F238E27FC236}">
                    <a16:creationId xmlns:a16="http://schemas.microsoft.com/office/drawing/2014/main" id="{82699CE5-803F-3BBD-E60F-58439588089A}"/>
                  </a:ext>
                </a:extLst>
              </p:cNvPr>
              <p:cNvSpPr txBox="1"/>
              <p:nvPr/>
            </p:nvSpPr>
            <p:spPr>
              <a:xfrm>
                <a:off x="7328658" y="2093274"/>
                <a:ext cx="1963721" cy="228268"/>
              </a:xfrm>
              <a:prstGeom prst="rect">
                <a:avLst/>
              </a:prstGeom>
            </p:spPr>
            <p:txBody>
              <a:bodyPr vert="horz" wrap="square" lIns="0" tIns="12700" rIns="0" bIns="0" rtlCol="0">
                <a:spAutoFit/>
              </a:bodyPr>
              <a:lstStyle>
                <a:defPPr>
                  <a:defRPr lang="en-US"/>
                </a:defPPr>
                <a:lvl1pPr marL="12700">
                  <a:lnSpc>
                    <a:spcPct val="100000"/>
                  </a:lnSpc>
                  <a:spcBef>
                    <a:spcPts val="100"/>
                  </a:spcBef>
                  <a:buClr>
                    <a:srgbClr val="9A9CA1"/>
                  </a:buClr>
                  <a:tabLst>
                    <a:tab pos="226060" algn="l"/>
                  </a:tabLst>
                  <a:defRPr sz="1200" spc="-5">
                    <a:solidFill>
                      <a:srgbClr val="373739"/>
                    </a:solidFill>
                    <a:latin typeface="Trebuchet MS"/>
                  </a:defRPr>
                </a:lvl1pPr>
              </a:lstStyle>
              <a:p>
                <a:r>
                  <a:rPr lang="fr-FR" sz="1400" err="1"/>
                  <a:t>Legend</a:t>
                </a:r>
                <a:endParaRPr sz="1400"/>
              </a:p>
            </p:txBody>
          </p:sp>
          <p:sp>
            <p:nvSpPr>
              <p:cNvPr id="27" name="Ellipse 26">
                <a:extLst>
                  <a:ext uri="{FF2B5EF4-FFF2-40B4-BE49-F238E27FC236}">
                    <a16:creationId xmlns:a16="http://schemas.microsoft.com/office/drawing/2014/main" id="{0D95BCFA-C48D-EC17-D4DB-87CE4C902A00}"/>
                  </a:ext>
                </a:extLst>
              </p:cNvPr>
              <p:cNvSpPr/>
              <p:nvPr/>
            </p:nvSpPr>
            <p:spPr>
              <a:xfrm>
                <a:off x="7351532" y="2519342"/>
                <a:ext cx="197963" cy="188536"/>
              </a:xfrm>
              <a:prstGeom prst="ellipse">
                <a:avLst/>
              </a:prstGeom>
              <a:solidFill>
                <a:schemeClr val="tx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28" name="Ellipse 27">
                <a:extLst>
                  <a:ext uri="{FF2B5EF4-FFF2-40B4-BE49-F238E27FC236}">
                    <a16:creationId xmlns:a16="http://schemas.microsoft.com/office/drawing/2014/main" id="{8E7267B1-61D9-1332-830B-E987CC7286BE}"/>
                  </a:ext>
                </a:extLst>
              </p:cNvPr>
              <p:cNvSpPr/>
              <p:nvPr/>
            </p:nvSpPr>
            <p:spPr>
              <a:xfrm>
                <a:off x="7713089" y="2448833"/>
                <a:ext cx="285554" cy="259045"/>
              </a:xfrm>
              <a:prstGeom prst="ellipse">
                <a:avLst/>
              </a:prstGeom>
              <a:solidFill>
                <a:schemeClr val="tx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29" name="Ellipse 28">
                <a:extLst>
                  <a:ext uri="{FF2B5EF4-FFF2-40B4-BE49-F238E27FC236}">
                    <a16:creationId xmlns:a16="http://schemas.microsoft.com/office/drawing/2014/main" id="{90B583E7-A246-DD3D-DF35-C69FAEFB6FB1}"/>
                  </a:ext>
                </a:extLst>
              </p:cNvPr>
              <p:cNvSpPr/>
              <p:nvPr/>
            </p:nvSpPr>
            <p:spPr>
              <a:xfrm>
                <a:off x="8162237" y="2368539"/>
                <a:ext cx="359593" cy="339339"/>
              </a:xfrm>
              <a:prstGeom prst="ellipse">
                <a:avLst/>
              </a:prstGeom>
              <a:solidFill>
                <a:schemeClr val="tx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grpSp>
            <p:nvGrpSpPr>
              <p:cNvPr id="31" name="Groupe 30">
                <a:extLst>
                  <a:ext uri="{FF2B5EF4-FFF2-40B4-BE49-F238E27FC236}">
                    <a16:creationId xmlns:a16="http://schemas.microsoft.com/office/drawing/2014/main" id="{26F9BE3E-D828-FD70-9551-1A036A93F85E}"/>
                  </a:ext>
                </a:extLst>
              </p:cNvPr>
              <p:cNvGrpSpPr/>
              <p:nvPr/>
            </p:nvGrpSpPr>
            <p:grpSpPr>
              <a:xfrm>
                <a:off x="7351532" y="2871935"/>
                <a:ext cx="728643" cy="198480"/>
                <a:chOff x="7351532" y="2886962"/>
                <a:chExt cx="728643" cy="198480"/>
              </a:xfrm>
            </p:grpSpPr>
            <p:sp>
              <p:nvSpPr>
                <p:cNvPr id="32" name="Ellipse 31">
                  <a:extLst>
                    <a:ext uri="{FF2B5EF4-FFF2-40B4-BE49-F238E27FC236}">
                      <a16:creationId xmlns:a16="http://schemas.microsoft.com/office/drawing/2014/main" id="{444BB12A-A4F1-3DF2-9F55-D865DAF19C20}"/>
                    </a:ext>
                  </a:extLst>
                </p:cNvPr>
                <p:cNvSpPr/>
                <p:nvPr/>
              </p:nvSpPr>
              <p:spPr>
                <a:xfrm>
                  <a:off x="7351532" y="2886962"/>
                  <a:ext cx="197963" cy="188536"/>
                </a:xfrm>
                <a:prstGeom prst="ellipse">
                  <a:avLst/>
                </a:prstGeom>
                <a:solidFill>
                  <a:srgbClr val="20BE6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33" name="object 3">
                  <a:extLst>
                    <a:ext uri="{FF2B5EF4-FFF2-40B4-BE49-F238E27FC236}">
                      <a16:creationId xmlns:a16="http://schemas.microsoft.com/office/drawing/2014/main" id="{8659D628-74E6-F080-6E1D-3772D4D68B14}"/>
                    </a:ext>
                  </a:extLst>
                </p:cNvPr>
                <p:cNvSpPr txBox="1"/>
                <p:nvPr/>
              </p:nvSpPr>
              <p:spPr>
                <a:xfrm>
                  <a:off x="7679158" y="2887952"/>
                  <a:ext cx="401017" cy="197490"/>
                </a:xfrm>
                <a:prstGeom prst="rect">
                  <a:avLst/>
                </a:prstGeom>
              </p:spPr>
              <p:txBody>
                <a:bodyPr vert="horz" wrap="square" lIns="0" tIns="12700" rIns="0" bIns="0" rtlCol="0">
                  <a:spAutoFit/>
                </a:bodyPr>
                <a:lstStyle/>
                <a:p>
                  <a:pPr marL="12700">
                    <a:lnSpc>
                      <a:spcPct val="100000"/>
                    </a:lnSpc>
                    <a:spcBef>
                      <a:spcPts val="100"/>
                    </a:spcBef>
                    <a:buClr>
                      <a:srgbClr val="9A9CA1"/>
                    </a:buClr>
                    <a:tabLst>
                      <a:tab pos="226060" algn="l"/>
                    </a:tabLst>
                  </a:pPr>
                  <a:r>
                    <a:rPr lang="en-US" sz="1200" spc="-5">
                      <a:solidFill>
                        <a:srgbClr val="373739"/>
                      </a:solidFill>
                      <a:latin typeface="Trebuchet MS"/>
                    </a:rPr>
                    <a:t>Sales</a:t>
                  </a:r>
                </a:p>
              </p:txBody>
            </p:sp>
          </p:grpSp>
          <p:grpSp>
            <p:nvGrpSpPr>
              <p:cNvPr id="34" name="Groupe 33">
                <a:extLst>
                  <a:ext uri="{FF2B5EF4-FFF2-40B4-BE49-F238E27FC236}">
                    <a16:creationId xmlns:a16="http://schemas.microsoft.com/office/drawing/2014/main" id="{01FA05DF-E1C0-7829-74A0-80D0481C99A5}"/>
                  </a:ext>
                </a:extLst>
              </p:cNvPr>
              <p:cNvGrpSpPr/>
              <p:nvPr/>
            </p:nvGrpSpPr>
            <p:grpSpPr>
              <a:xfrm>
                <a:off x="8209838" y="2871935"/>
                <a:ext cx="1087183" cy="198480"/>
                <a:chOff x="7079359" y="2886962"/>
                <a:chExt cx="1087183" cy="198480"/>
              </a:xfrm>
            </p:grpSpPr>
            <p:sp>
              <p:nvSpPr>
                <p:cNvPr id="35" name="Ellipse 34">
                  <a:extLst>
                    <a:ext uri="{FF2B5EF4-FFF2-40B4-BE49-F238E27FC236}">
                      <a16:creationId xmlns:a16="http://schemas.microsoft.com/office/drawing/2014/main" id="{BDD2FA39-7105-5340-8DA7-3F526C4CD498}"/>
                    </a:ext>
                  </a:extLst>
                </p:cNvPr>
                <p:cNvSpPr/>
                <p:nvPr/>
              </p:nvSpPr>
              <p:spPr>
                <a:xfrm>
                  <a:off x="7079359" y="2886962"/>
                  <a:ext cx="197963" cy="188536"/>
                </a:xfrm>
                <a:prstGeom prst="ellipse">
                  <a:avLst/>
                </a:prstGeom>
                <a:solidFill>
                  <a:srgbClr val="670F3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36" name="object 3">
                  <a:extLst>
                    <a:ext uri="{FF2B5EF4-FFF2-40B4-BE49-F238E27FC236}">
                      <a16:creationId xmlns:a16="http://schemas.microsoft.com/office/drawing/2014/main" id="{127C9FD6-AE2F-1664-4B45-702758848963}"/>
                    </a:ext>
                  </a:extLst>
                </p:cNvPr>
                <p:cNvSpPr txBox="1"/>
                <p:nvPr/>
              </p:nvSpPr>
              <p:spPr>
                <a:xfrm>
                  <a:off x="7406985" y="2887952"/>
                  <a:ext cx="759557" cy="197490"/>
                </a:xfrm>
                <a:prstGeom prst="rect">
                  <a:avLst/>
                </a:prstGeom>
              </p:spPr>
              <p:txBody>
                <a:bodyPr vert="horz" wrap="square" lIns="0" tIns="12700" rIns="0" bIns="0" rtlCol="0">
                  <a:spAutoFit/>
                </a:bodyPr>
                <a:lstStyle/>
                <a:p>
                  <a:pPr marL="12700">
                    <a:lnSpc>
                      <a:spcPct val="100000"/>
                    </a:lnSpc>
                    <a:spcBef>
                      <a:spcPts val="100"/>
                    </a:spcBef>
                    <a:buClr>
                      <a:srgbClr val="9A9CA1"/>
                    </a:buClr>
                    <a:tabLst>
                      <a:tab pos="226060" algn="l"/>
                    </a:tabLst>
                  </a:pPr>
                  <a:r>
                    <a:rPr lang="en-US" sz="1200" spc="-5">
                      <a:solidFill>
                        <a:srgbClr val="373739"/>
                      </a:solidFill>
                      <a:latin typeface="Trebuchet MS"/>
                    </a:rPr>
                    <a:t>Marketing</a:t>
                  </a:r>
                </a:p>
              </p:txBody>
            </p:sp>
          </p:grpSp>
          <p:grpSp>
            <p:nvGrpSpPr>
              <p:cNvPr id="37" name="Groupe 36">
                <a:extLst>
                  <a:ext uri="{FF2B5EF4-FFF2-40B4-BE49-F238E27FC236}">
                    <a16:creationId xmlns:a16="http://schemas.microsoft.com/office/drawing/2014/main" id="{5C786DED-B098-1B38-27D4-6A559D8FB923}"/>
                  </a:ext>
                </a:extLst>
              </p:cNvPr>
              <p:cNvGrpSpPr/>
              <p:nvPr/>
            </p:nvGrpSpPr>
            <p:grpSpPr>
              <a:xfrm>
                <a:off x="9426684" y="2871935"/>
                <a:ext cx="858994" cy="198480"/>
                <a:chOff x="7165726" y="2886962"/>
                <a:chExt cx="858994" cy="198480"/>
              </a:xfrm>
            </p:grpSpPr>
            <p:sp>
              <p:nvSpPr>
                <p:cNvPr id="38" name="Ellipse 37">
                  <a:extLst>
                    <a:ext uri="{FF2B5EF4-FFF2-40B4-BE49-F238E27FC236}">
                      <a16:creationId xmlns:a16="http://schemas.microsoft.com/office/drawing/2014/main" id="{3DA9D25B-1399-A16A-340B-47E32A829AB0}"/>
                    </a:ext>
                  </a:extLst>
                </p:cNvPr>
                <p:cNvSpPr/>
                <p:nvPr/>
              </p:nvSpPr>
              <p:spPr>
                <a:xfrm>
                  <a:off x="7165726" y="2886962"/>
                  <a:ext cx="197963" cy="188536"/>
                </a:xfrm>
                <a:prstGeom prst="ellipse">
                  <a:avLst/>
                </a:prstGeom>
                <a:solidFill>
                  <a:srgbClr val="30C1D7"/>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39" name="object 3">
                  <a:extLst>
                    <a:ext uri="{FF2B5EF4-FFF2-40B4-BE49-F238E27FC236}">
                      <a16:creationId xmlns:a16="http://schemas.microsoft.com/office/drawing/2014/main" id="{7FD44A68-B6E7-5B88-D00D-776420951FB8}"/>
                    </a:ext>
                  </a:extLst>
                </p:cNvPr>
                <p:cNvSpPr txBox="1"/>
                <p:nvPr/>
              </p:nvSpPr>
              <p:spPr>
                <a:xfrm>
                  <a:off x="7493352" y="2887952"/>
                  <a:ext cx="531368" cy="197490"/>
                </a:xfrm>
                <a:prstGeom prst="rect">
                  <a:avLst/>
                </a:prstGeom>
              </p:spPr>
              <p:txBody>
                <a:bodyPr vert="horz" wrap="square" lIns="0" tIns="12700" rIns="0" bIns="0" rtlCol="0">
                  <a:spAutoFit/>
                </a:bodyPr>
                <a:lstStyle/>
                <a:p>
                  <a:pPr marL="12700">
                    <a:lnSpc>
                      <a:spcPct val="100000"/>
                    </a:lnSpc>
                    <a:spcBef>
                      <a:spcPts val="100"/>
                    </a:spcBef>
                    <a:buClr>
                      <a:srgbClr val="9A9CA1"/>
                    </a:buClr>
                    <a:tabLst>
                      <a:tab pos="226060" algn="l"/>
                    </a:tabLst>
                  </a:pPr>
                  <a:r>
                    <a:rPr lang="en-US" sz="1200" spc="-5">
                      <a:solidFill>
                        <a:srgbClr val="373739"/>
                      </a:solidFill>
                      <a:latin typeface="Trebuchet MS"/>
                    </a:rPr>
                    <a:t>Supply</a:t>
                  </a:r>
                </a:p>
              </p:txBody>
            </p:sp>
          </p:grpSp>
          <p:sp>
            <p:nvSpPr>
              <p:cNvPr id="48" name="Ellipse 47">
                <a:extLst>
                  <a:ext uri="{FF2B5EF4-FFF2-40B4-BE49-F238E27FC236}">
                    <a16:creationId xmlns:a16="http://schemas.microsoft.com/office/drawing/2014/main" id="{6B671FEB-76AB-7CCA-0BF4-AB41ACA8F3D8}"/>
                  </a:ext>
                </a:extLst>
              </p:cNvPr>
              <p:cNvSpPr/>
              <p:nvPr/>
            </p:nvSpPr>
            <p:spPr>
              <a:xfrm>
                <a:off x="7295167" y="3233042"/>
                <a:ext cx="359593" cy="339339"/>
              </a:xfrm>
              <a:prstGeom prst="ellipse">
                <a:avLst/>
              </a:prstGeom>
              <a:solidFill>
                <a:schemeClr val="bg1"/>
              </a:solidFill>
              <a:ln w="25400"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49" name="object 3">
                <a:extLst>
                  <a:ext uri="{FF2B5EF4-FFF2-40B4-BE49-F238E27FC236}">
                    <a16:creationId xmlns:a16="http://schemas.microsoft.com/office/drawing/2014/main" id="{89B92803-5C34-8964-B31C-F878F2362BD1}"/>
                  </a:ext>
                </a:extLst>
              </p:cNvPr>
              <p:cNvSpPr txBox="1"/>
              <p:nvPr/>
            </p:nvSpPr>
            <p:spPr>
              <a:xfrm>
                <a:off x="7857633" y="3330255"/>
                <a:ext cx="4334367" cy="197490"/>
              </a:xfrm>
              <a:prstGeom prst="rect">
                <a:avLst/>
              </a:prstGeom>
            </p:spPr>
            <p:txBody>
              <a:bodyPr vert="horz" wrap="square" lIns="0" tIns="12700" rIns="0" bIns="0" rtlCol="0">
                <a:spAutoFit/>
              </a:bodyPr>
              <a:lstStyle/>
              <a:p>
                <a:pPr marL="12700">
                  <a:lnSpc>
                    <a:spcPct val="100000"/>
                  </a:lnSpc>
                  <a:spcBef>
                    <a:spcPts val="100"/>
                  </a:spcBef>
                  <a:buClr>
                    <a:srgbClr val="9A9CA1"/>
                  </a:buClr>
                  <a:tabLst>
                    <a:tab pos="226060" algn="l"/>
                  </a:tabLst>
                </a:pPr>
                <a:r>
                  <a:rPr lang="en-US" sz="1200" spc="-5">
                    <a:solidFill>
                      <a:srgbClr val="373739"/>
                    </a:solidFill>
                    <a:latin typeface="Trebuchet MS"/>
                  </a:rPr>
                  <a:t>Prioritized use cases</a:t>
                </a:r>
              </a:p>
            </p:txBody>
          </p:sp>
        </p:grpSp>
      </p:grpSp>
      <p:sp>
        <p:nvSpPr>
          <p:cNvPr id="6" name="object 33">
            <a:extLst>
              <a:ext uri="{FF2B5EF4-FFF2-40B4-BE49-F238E27FC236}">
                <a16:creationId xmlns:a16="http://schemas.microsoft.com/office/drawing/2014/main" id="{741E995D-64D1-1AC7-2439-5DAEC11AF0A5}"/>
              </a:ext>
            </a:extLst>
          </p:cNvPr>
          <p:cNvSpPr txBox="1"/>
          <p:nvPr/>
        </p:nvSpPr>
        <p:spPr>
          <a:xfrm>
            <a:off x="7322486" y="2072777"/>
            <a:ext cx="4268183" cy="2141612"/>
          </a:xfrm>
          <a:prstGeom prst="rect">
            <a:avLst/>
          </a:prstGeom>
        </p:spPr>
        <p:txBody>
          <a:bodyPr vert="horz" wrap="square" lIns="0" tIns="12700" rIns="0" bIns="0" rtlCol="0">
            <a:spAutoFit/>
          </a:bodyPr>
          <a:lstStyle/>
          <a:p>
            <a:pPr marL="12700">
              <a:lnSpc>
                <a:spcPct val="100000"/>
              </a:lnSpc>
              <a:spcBef>
                <a:spcPts val="100"/>
              </a:spcBef>
              <a:buClr>
                <a:srgbClr val="9A9CA1"/>
              </a:buClr>
              <a:tabLst>
                <a:tab pos="226060" algn="l"/>
              </a:tabLst>
            </a:pPr>
            <a:r>
              <a:rPr lang="en-US" sz="1400" spc="-5">
                <a:solidFill>
                  <a:srgbClr val="373739"/>
                </a:solidFill>
                <a:latin typeface="Trebuchet MS"/>
              </a:rPr>
              <a:t>Focus on the </a:t>
            </a:r>
            <a:r>
              <a:rPr lang="en-US" sz="1600" b="1" spc="-5">
                <a:solidFill>
                  <a:srgbClr val="20BE60"/>
                </a:solidFill>
                <a:latin typeface="Trebuchet MS"/>
              </a:rPr>
              <a:t>quick wins </a:t>
            </a:r>
            <a:r>
              <a:rPr lang="en-US" sz="1400" spc="-5">
                <a:solidFill>
                  <a:srgbClr val="373739"/>
                </a:solidFill>
                <a:latin typeface="Trebuchet MS"/>
              </a:rPr>
              <a:t>to :</a:t>
            </a:r>
          </a:p>
          <a:p>
            <a:pPr marL="355600" indent="-342900">
              <a:lnSpc>
                <a:spcPct val="150000"/>
              </a:lnSpc>
              <a:spcBef>
                <a:spcPts val="100"/>
              </a:spcBef>
              <a:buClr>
                <a:srgbClr val="9A9CA1"/>
              </a:buClr>
              <a:buFont typeface="Arial" panose="020B0604020202020204" pitchFamily="34" charset="0"/>
              <a:buChar char="•"/>
              <a:tabLst>
                <a:tab pos="226060" algn="l"/>
              </a:tabLst>
            </a:pPr>
            <a:r>
              <a:rPr lang="en-US" sz="1400" b="1" spc="-5">
                <a:solidFill>
                  <a:srgbClr val="20BE60"/>
                </a:solidFill>
                <a:latin typeface="Trebuchet MS"/>
              </a:rPr>
              <a:t>Deliver cash quickly </a:t>
            </a:r>
            <a:r>
              <a:rPr lang="en-US" sz="1400" spc="-5">
                <a:solidFill>
                  <a:srgbClr val="373739"/>
                </a:solidFill>
                <a:latin typeface="Trebuchet MS"/>
              </a:rPr>
              <a:t>and help fund the data journey</a:t>
            </a:r>
          </a:p>
          <a:p>
            <a:pPr marL="355600" indent="-342900">
              <a:lnSpc>
                <a:spcPct val="150000"/>
              </a:lnSpc>
              <a:spcBef>
                <a:spcPts val="100"/>
              </a:spcBef>
              <a:buClr>
                <a:srgbClr val="9A9CA1"/>
              </a:buClr>
              <a:buFont typeface="Arial" panose="020B0604020202020204" pitchFamily="34" charset="0"/>
              <a:buChar char="•"/>
              <a:tabLst>
                <a:tab pos="226060" algn="l"/>
              </a:tabLst>
            </a:pPr>
            <a:r>
              <a:rPr lang="en-US" sz="1400" b="1" spc="-5">
                <a:solidFill>
                  <a:srgbClr val="20BE60"/>
                </a:solidFill>
                <a:latin typeface="Trebuchet MS"/>
              </a:rPr>
              <a:t>Demonstrate the value of data </a:t>
            </a:r>
            <a:r>
              <a:rPr lang="en-US" sz="1400" spc="-5">
                <a:solidFill>
                  <a:srgbClr val="373739"/>
                </a:solidFill>
                <a:latin typeface="Trebuchet MS"/>
              </a:rPr>
              <a:t>and get all employees onboard</a:t>
            </a:r>
          </a:p>
          <a:p>
            <a:pPr marL="355600" indent="-342900">
              <a:lnSpc>
                <a:spcPct val="150000"/>
              </a:lnSpc>
              <a:spcBef>
                <a:spcPts val="100"/>
              </a:spcBef>
              <a:buClr>
                <a:srgbClr val="9A9CA1"/>
              </a:buClr>
              <a:buFont typeface="Arial" panose="020B0604020202020204" pitchFamily="34" charset="0"/>
              <a:buChar char="•"/>
              <a:tabLst>
                <a:tab pos="226060" algn="l"/>
              </a:tabLst>
            </a:pPr>
            <a:r>
              <a:rPr lang="en-US" sz="1400" b="1" spc="-5">
                <a:solidFill>
                  <a:srgbClr val="20BE60"/>
                </a:solidFill>
                <a:latin typeface="Trebuchet MS"/>
              </a:rPr>
              <a:t>Pave the way </a:t>
            </a:r>
            <a:r>
              <a:rPr lang="en-US" sz="1400" spc="-5">
                <a:solidFill>
                  <a:srgbClr val="373739"/>
                </a:solidFill>
                <a:latin typeface="Trebuchet MS"/>
              </a:rPr>
              <a:t>for the most impactful projects</a:t>
            </a:r>
          </a:p>
          <a:p>
            <a:pPr marL="12700">
              <a:lnSpc>
                <a:spcPct val="100000"/>
              </a:lnSpc>
              <a:spcBef>
                <a:spcPts val="100"/>
              </a:spcBef>
              <a:buClr>
                <a:srgbClr val="9A9CA1"/>
              </a:buClr>
              <a:tabLst>
                <a:tab pos="226060" algn="l"/>
              </a:tabLst>
            </a:pPr>
            <a:endParaRPr lang="en-US" sz="1400" spc="-5">
              <a:solidFill>
                <a:srgbClr val="373739"/>
              </a:solidFill>
              <a:latin typeface="Trebuchet MS"/>
            </a:endParaRPr>
          </a:p>
        </p:txBody>
      </p:sp>
      <p:sp>
        <p:nvSpPr>
          <p:cNvPr id="12" name="ZoneTexte 11">
            <a:extLst>
              <a:ext uri="{FF2B5EF4-FFF2-40B4-BE49-F238E27FC236}">
                <a16:creationId xmlns:a16="http://schemas.microsoft.com/office/drawing/2014/main" id="{2E5A1090-11D5-0323-322C-1BAF9333CF8A}"/>
              </a:ext>
            </a:extLst>
          </p:cNvPr>
          <p:cNvSpPr txBox="1"/>
          <p:nvPr/>
        </p:nvSpPr>
        <p:spPr>
          <a:xfrm>
            <a:off x="4414838" y="4643438"/>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fr-FR" err="1">
              <a:solidFill>
                <a:srgbClr val="000000"/>
              </a:solidFill>
            </a:endParaRPr>
          </a:p>
        </p:txBody>
      </p:sp>
      <p:sp>
        <p:nvSpPr>
          <p:cNvPr id="15" name="ZoneTexte 14">
            <a:extLst>
              <a:ext uri="{FF2B5EF4-FFF2-40B4-BE49-F238E27FC236}">
                <a16:creationId xmlns:a16="http://schemas.microsoft.com/office/drawing/2014/main" id="{44890B5D-8DFA-5142-0797-9DC7F277563C}"/>
              </a:ext>
            </a:extLst>
          </p:cNvPr>
          <p:cNvSpPr txBox="1"/>
          <p:nvPr/>
        </p:nvSpPr>
        <p:spPr>
          <a:xfrm>
            <a:off x="816814" y="5364062"/>
            <a:ext cx="1068947" cy="26280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a:solidFill>
                  <a:schemeClr val="tx2"/>
                </a:solidFill>
              </a:rPr>
              <a:t>Hard</a:t>
            </a:r>
          </a:p>
        </p:txBody>
      </p:sp>
      <p:sp>
        <p:nvSpPr>
          <p:cNvPr id="16" name="ZoneTexte 15">
            <a:extLst>
              <a:ext uri="{FF2B5EF4-FFF2-40B4-BE49-F238E27FC236}">
                <a16:creationId xmlns:a16="http://schemas.microsoft.com/office/drawing/2014/main" id="{F49CDC3F-8BA9-1897-FB0A-5D25899E79C1}"/>
              </a:ext>
            </a:extLst>
          </p:cNvPr>
          <p:cNvSpPr txBox="1"/>
          <p:nvPr/>
        </p:nvSpPr>
        <p:spPr>
          <a:xfrm>
            <a:off x="11346426" y="3834581"/>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fr-FR" err="1">
              <a:solidFill>
                <a:srgbClr val="000000"/>
              </a:solidFill>
            </a:endParaRPr>
          </a:p>
        </p:txBody>
      </p:sp>
      <p:cxnSp>
        <p:nvCxnSpPr>
          <p:cNvPr id="22" name="Connecteur droit avec flèche 21">
            <a:extLst>
              <a:ext uri="{FF2B5EF4-FFF2-40B4-BE49-F238E27FC236}">
                <a16:creationId xmlns:a16="http://schemas.microsoft.com/office/drawing/2014/main" id="{18E6E208-88EB-46C0-E4C5-1EB890CD6525}"/>
              </a:ext>
            </a:extLst>
          </p:cNvPr>
          <p:cNvCxnSpPr/>
          <p:nvPr/>
        </p:nvCxnSpPr>
        <p:spPr>
          <a:xfrm flipH="1">
            <a:off x="2733368" y="3834581"/>
            <a:ext cx="540774" cy="0"/>
          </a:xfrm>
          <a:prstGeom prst="straightConnector1">
            <a:avLst/>
          </a:prstGeom>
          <a:ln w="25400" cap="rnd">
            <a:solidFill>
              <a:srgbClr val="30C1D7"/>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23" name="ZoneTexte 22">
            <a:extLst>
              <a:ext uri="{FF2B5EF4-FFF2-40B4-BE49-F238E27FC236}">
                <a16:creationId xmlns:a16="http://schemas.microsoft.com/office/drawing/2014/main" id="{C25DC04E-386E-0F72-DB15-EC163B741BAD}"/>
              </a:ext>
            </a:extLst>
          </p:cNvPr>
          <p:cNvSpPr txBox="1"/>
          <p:nvPr/>
        </p:nvSpPr>
        <p:spPr>
          <a:xfrm>
            <a:off x="2512141" y="3625333"/>
            <a:ext cx="1022555" cy="20924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900">
                <a:solidFill>
                  <a:schemeClr val="tx2"/>
                </a:solidFill>
              </a:rPr>
              <a:t>ENABLER</a:t>
            </a:r>
          </a:p>
        </p:txBody>
      </p:sp>
    </p:spTree>
    <p:extLst>
      <p:ext uri="{BB962C8B-B14F-4D97-AF65-F5344CB8AC3E}">
        <p14:creationId xmlns:p14="http://schemas.microsoft.com/office/powerpoint/2010/main" val="210896193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5649" name="Diapositive think-cell" r:id="rId6" imgW="473" imgH="473" progId="TCLayout.ActiveDocument.1">
                  <p:embed/>
                </p:oleObj>
              </mc:Choice>
              <mc:Fallback>
                <p:oleObj name="Diapositive think-cell" r:id="rId6" imgW="473" imgH="473"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a:xfrm>
            <a:off x="630000" y="622800"/>
            <a:ext cx="10933350" cy="443198"/>
          </a:xfrm>
        </p:spPr>
        <p:txBody>
          <a:bodyPr vert="horz"/>
          <a:lstStyle/>
          <a:p>
            <a:r>
              <a:rPr lang="fr-FR" sz="3200" spc="-5">
                <a:solidFill>
                  <a:srgbClr val="20BE60"/>
                </a:solidFill>
              </a:rPr>
              <a:t>3 </a:t>
            </a:r>
            <a:r>
              <a:rPr lang="fr-FR" sz="3200" spc="-5" err="1">
                <a:solidFill>
                  <a:srgbClr val="20BE60"/>
                </a:solidFill>
              </a:rPr>
              <a:t>projects</a:t>
            </a:r>
            <a:r>
              <a:rPr lang="fr-FR" sz="3200" spc="-5">
                <a:solidFill>
                  <a:srgbClr val="20BE60"/>
                </a:solidFill>
              </a:rPr>
              <a:t> to </a:t>
            </a:r>
            <a:r>
              <a:rPr lang="fr-FR" sz="3200" spc="-5" err="1">
                <a:solidFill>
                  <a:srgbClr val="20BE60"/>
                </a:solidFill>
              </a:rPr>
              <a:t>develop</a:t>
            </a:r>
            <a:r>
              <a:rPr lang="fr-FR" sz="3200" spc="-5">
                <a:solidFill>
                  <a:srgbClr val="20BE60"/>
                </a:solidFill>
              </a:rPr>
              <a:t> Data culture and </a:t>
            </a:r>
            <a:r>
              <a:rPr lang="fr-FR" sz="3200" spc="-5" err="1">
                <a:solidFill>
                  <a:srgbClr val="20BE60"/>
                </a:solidFill>
              </a:rPr>
              <a:t>quickly</a:t>
            </a:r>
            <a:r>
              <a:rPr lang="fr-FR" sz="3200" spc="-5">
                <a:solidFill>
                  <a:srgbClr val="20BE60"/>
                </a:solidFill>
              </a:rPr>
              <a:t> </a:t>
            </a:r>
            <a:r>
              <a:rPr lang="fr-FR" sz="3200" spc="-5" err="1">
                <a:solidFill>
                  <a:srgbClr val="20BE60"/>
                </a:solidFill>
              </a:rPr>
              <a:t>make</a:t>
            </a:r>
            <a:r>
              <a:rPr lang="fr-FR" sz="3200" spc="-5">
                <a:solidFill>
                  <a:srgbClr val="20BE60"/>
                </a:solidFill>
              </a:rPr>
              <a:t> profits </a:t>
            </a:r>
            <a:endParaRPr lang="en-US" sz="3200">
              <a:solidFill>
                <a:srgbClr val="00B050"/>
              </a:solidFill>
            </a:endParaRPr>
          </a:p>
        </p:txBody>
      </p:sp>
      <p:sp>
        <p:nvSpPr>
          <p:cNvPr id="7" name="ee4pFootnotes"/>
          <p:cNvSpPr>
            <a:spLocks noChangeArrowheads="1"/>
          </p:cNvSpPr>
          <p:nvPr/>
        </p:nvSpPr>
        <p:spPr bwMode="auto">
          <a:xfrm>
            <a:off x="628650" y="6438811"/>
            <a:ext cx="903091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a:solidFill>
                  <a:schemeClr val="bg1">
                    <a:lumMod val="50000"/>
                  </a:schemeClr>
                </a:solidFill>
                <a:latin typeface="Trebuchet MS" panose="020B0603020202020204" pitchFamily="34" charset="0"/>
                <a:cs typeface="Arial" pitchFamily="34" charset="0"/>
              </a:rPr>
              <a:t>Source : </a:t>
            </a:r>
            <a:r>
              <a:rPr lang="en-US" sz="1000" err="1">
                <a:solidFill>
                  <a:schemeClr val="bg1">
                    <a:lumMod val="50000"/>
                  </a:schemeClr>
                </a:solidFill>
                <a:latin typeface="Trebuchet MS" panose="020B0603020202020204" pitchFamily="34" charset="0"/>
                <a:cs typeface="Arial" pitchFamily="34" charset="0"/>
              </a:rPr>
              <a:t>ClientCo’s</a:t>
            </a:r>
            <a:r>
              <a:rPr lang="en-US" sz="1000">
                <a:solidFill>
                  <a:schemeClr val="bg1">
                    <a:lumMod val="50000"/>
                  </a:schemeClr>
                </a:solidFill>
                <a:latin typeface="Trebuchet MS" panose="020B0603020202020204" pitchFamily="34" charset="0"/>
                <a:cs typeface="Arial" pitchFamily="34" charset="0"/>
              </a:rPr>
              <a:t> Data, BCG studies</a:t>
            </a:r>
          </a:p>
        </p:txBody>
      </p:sp>
      <p:sp>
        <p:nvSpPr>
          <p:cNvPr id="11" name="object 20">
            <a:extLst>
              <a:ext uri="{FF2B5EF4-FFF2-40B4-BE49-F238E27FC236}">
                <a16:creationId xmlns:a16="http://schemas.microsoft.com/office/drawing/2014/main" id="{FA651644-BAA6-188E-5350-DF3EFD5F84EF}"/>
              </a:ext>
            </a:extLst>
          </p:cNvPr>
          <p:cNvSpPr txBox="1"/>
          <p:nvPr/>
        </p:nvSpPr>
        <p:spPr>
          <a:xfrm>
            <a:off x="1528215" y="1760612"/>
            <a:ext cx="2079201" cy="320601"/>
          </a:xfrm>
          <a:prstGeom prst="rect">
            <a:avLst/>
          </a:prstGeom>
        </p:spPr>
        <p:txBody>
          <a:bodyPr vert="horz" wrap="square" lIns="0" tIns="12700" rIns="0" bIns="0" rtlCol="0">
            <a:spAutoFit/>
          </a:bodyPr>
          <a:lstStyle/>
          <a:p>
            <a:pPr marL="12700">
              <a:lnSpc>
                <a:spcPct val="100000"/>
              </a:lnSpc>
              <a:spcBef>
                <a:spcPts val="100"/>
              </a:spcBef>
            </a:pPr>
            <a:r>
              <a:rPr lang="fr-FR" sz="2000" spc="15" err="1">
                <a:solidFill>
                  <a:srgbClr val="20BE60"/>
                </a:solidFill>
                <a:latin typeface="Trebuchet MS" panose="020B0703020202090204" pitchFamily="34" charset="0"/>
                <a:cs typeface="Microsoft Sans Serif"/>
              </a:rPr>
              <a:t>Churn</a:t>
            </a:r>
            <a:r>
              <a:rPr lang="fr-FR" sz="2000" spc="15">
                <a:solidFill>
                  <a:srgbClr val="20BE60"/>
                </a:solidFill>
                <a:latin typeface="Trebuchet MS" panose="020B0703020202090204" pitchFamily="34" charset="0"/>
                <a:cs typeface="Microsoft Sans Serif"/>
              </a:rPr>
              <a:t> </a:t>
            </a:r>
            <a:r>
              <a:rPr lang="fr-FR" sz="2000" spc="15" err="1">
                <a:solidFill>
                  <a:srgbClr val="20BE60"/>
                </a:solidFill>
                <a:latin typeface="Trebuchet MS" panose="020B0703020202090204" pitchFamily="34" charset="0"/>
                <a:cs typeface="Microsoft Sans Serif"/>
              </a:rPr>
              <a:t>Prediction</a:t>
            </a:r>
            <a:endParaRPr lang="fr-FR" sz="2000">
              <a:latin typeface="Trebuchet MS" panose="020B0703020202090204" pitchFamily="34" charset="0"/>
              <a:cs typeface="Microsoft Sans Serif"/>
            </a:endParaRPr>
          </a:p>
        </p:txBody>
      </p:sp>
      <p:cxnSp>
        <p:nvCxnSpPr>
          <p:cNvPr id="6" name="Connecteur droit 5">
            <a:extLst>
              <a:ext uri="{FF2B5EF4-FFF2-40B4-BE49-F238E27FC236}">
                <a16:creationId xmlns:a16="http://schemas.microsoft.com/office/drawing/2014/main" id="{C06E89BF-C7C1-3E46-42C0-4ABD27848332}"/>
              </a:ext>
            </a:extLst>
          </p:cNvPr>
          <p:cNvCxnSpPr>
            <a:cxnSpLocks/>
          </p:cNvCxnSpPr>
          <p:nvPr/>
        </p:nvCxnSpPr>
        <p:spPr>
          <a:xfrm>
            <a:off x="4313518" y="2184400"/>
            <a:ext cx="0" cy="3987800"/>
          </a:xfrm>
          <a:prstGeom prst="line">
            <a:avLst/>
          </a:prstGeom>
          <a:ln w="15875" cap="flat" cmpd="sng" algn="ctr">
            <a:solidFill>
              <a:srgbClr val="20BE6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7" name="Connecteur droit 26">
            <a:extLst>
              <a:ext uri="{FF2B5EF4-FFF2-40B4-BE49-F238E27FC236}">
                <a16:creationId xmlns:a16="http://schemas.microsoft.com/office/drawing/2014/main" id="{57758AFE-782A-0A53-36FB-A20951342856}"/>
              </a:ext>
            </a:extLst>
          </p:cNvPr>
          <p:cNvCxnSpPr>
            <a:cxnSpLocks/>
          </p:cNvCxnSpPr>
          <p:nvPr/>
        </p:nvCxnSpPr>
        <p:spPr>
          <a:xfrm flipH="1">
            <a:off x="7947179" y="2184400"/>
            <a:ext cx="29698" cy="3987799"/>
          </a:xfrm>
          <a:prstGeom prst="line">
            <a:avLst/>
          </a:prstGeom>
          <a:ln w="15875" cap="flat" cmpd="sng" algn="ctr">
            <a:solidFill>
              <a:srgbClr val="20BE6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28" name="object 20">
            <a:extLst>
              <a:ext uri="{FF2B5EF4-FFF2-40B4-BE49-F238E27FC236}">
                <a16:creationId xmlns:a16="http://schemas.microsoft.com/office/drawing/2014/main" id="{2AF9F393-9B97-1B6D-E274-64F1E7CFD040}"/>
              </a:ext>
            </a:extLst>
          </p:cNvPr>
          <p:cNvSpPr txBox="1"/>
          <p:nvPr/>
        </p:nvSpPr>
        <p:spPr>
          <a:xfrm>
            <a:off x="4360699" y="1760611"/>
            <a:ext cx="3586473" cy="320602"/>
          </a:xfrm>
          <a:prstGeom prst="rect">
            <a:avLst/>
          </a:prstGeom>
        </p:spPr>
        <p:txBody>
          <a:bodyPr vert="horz" wrap="square" lIns="0" tIns="12700" rIns="0" bIns="0" rtlCol="0">
            <a:spAutoFit/>
          </a:bodyPr>
          <a:lstStyle/>
          <a:p>
            <a:pPr marL="12700" algn="ctr">
              <a:lnSpc>
                <a:spcPct val="100000"/>
              </a:lnSpc>
              <a:spcBef>
                <a:spcPts val="100"/>
              </a:spcBef>
            </a:pPr>
            <a:r>
              <a:rPr lang="fr-FR" sz="2000" spc="15" err="1">
                <a:solidFill>
                  <a:srgbClr val="20BE60"/>
                </a:solidFill>
                <a:latin typeface="Trebuchet MS" panose="020B0703020202090204" pitchFamily="34" charset="0"/>
                <a:cs typeface="Microsoft Sans Serif"/>
              </a:rPr>
              <a:t>Recommendation</a:t>
            </a:r>
            <a:r>
              <a:rPr lang="fr-FR" sz="2000" spc="15">
                <a:solidFill>
                  <a:srgbClr val="20BE60"/>
                </a:solidFill>
                <a:latin typeface="Trebuchet MS" panose="020B0703020202090204" pitchFamily="34" charset="0"/>
                <a:cs typeface="Microsoft Sans Serif"/>
              </a:rPr>
              <a:t> Tool</a:t>
            </a:r>
            <a:endParaRPr lang="fr-FR" sz="2000">
              <a:latin typeface="Trebuchet MS" panose="020B0703020202090204" pitchFamily="34" charset="0"/>
              <a:cs typeface="Microsoft Sans Serif"/>
            </a:endParaRPr>
          </a:p>
        </p:txBody>
      </p:sp>
      <p:sp>
        <p:nvSpPr>
          <p:cNvPr id="29" name="object 20">
            <a:extLst>
              <a:ext uri="{FF2B5EF4-FFF2-40B4-BE49-F238E27FC236}">
                <a16:creationId xmlns:a16="http://schemas.microsoft.com/office/drawing/2014/main" id="{1581802A-FC8D-E572-0B8B-547CBF198A65}"/>
              </a:ext>
            </a:extLst>
          </p:cNvPr>
          <p:cNvSpPr txBox="1"/>
          <p:nvPr/>
        </p:nvSpPr>
        <p:spPr>
          <a:xfrm>
            <a:off x="7976877" y="1760611"/>
            <a:ext cx="3586473" cy="320602"/>
          </a:xfrm>
          <a:prstGeom prst="rect">
            <a:avLst/>
          </a:prstGeom>
        </p:spPr>
        <p:txBody>
          <a:bodyPr vert="horz" wrap="square" lIns="0" tIns="12700" rIns="0" bIns="0" rtlCol="0">
            <a:spAutoFit/>
          </a:bodyPr>
          <a:lstStyle/>
          <a:p>
            <a:pPr marL="12700" algn="ctr">
              <a:lnSpc>
                <a:spcPct val="100000"/>
              </a:lnSpc>
              <a:spcBef>
                <a:spcPts val="100"/>
              </a:spcBef>
            </a:pPr>
            <a:r>
              <a:rPr lang="fr-FR" sz="2000" spc="15">
                <a:solidFill>
                  <a:srgbClr val="20BE60"/>
                </a:solidFill>
                <a:latin typeface="Trebuchet MS" panose="020B0703020202090204" pitchFamily="34" charset="0"/>
                <a:cs typeface="Microsoft Sans Serif"/>
              </a:rPr>
              <a:t>Data-</a:t>
            </a:r>
            <a:r>
              <a:rPr lang="fr-FR" sz="2000" spc="15" err="1">
                <a:solidFill>
                  <a:srgbClr val="20BE60"/>
                </a:solidFill>
                <a:latin typeface="Trebuchet MS" panose="020B0703020202090204" pitchFamily="34" charset="0"/>
                <a:cs typeface="Microsoft Sans Serif"/>
              </a:rPr>
              <a:t>based</a:t>
            </a:r>
            <a:r>
              <a:rPr lang="fr-FR" sz="2000" spc="15">
                <a:solidFill>
                  <a:srgbClr val="20BE60"/>
                </a:solidFill>
                <a:latin typeface="Trebuchet MS" panose="020B0703020202090204" pitchFamily="34" charset="0"/>
                <a:cs typeface="Microsoft Sans Serif"/>
              </a:rPr>
              <a:t> Inventories</a:t>
            </a:r>
            <a:endParaRPr lang="fr-FR" sz="2000">
              <a:latin typeface="Trebuchet MS" panose="020B0703020202090204" pitchFamily="34" charset="0"/>
              <a:cs typeface="Microsoft Sans Serif"/>
            </a:endParaRPr>
          </a:p>
        </p:txBody>
      </p:sp>
      <p:sp>
        <p:nvSpPr>
          <p:cNvPr id="38" name="Rectangle 37">
            <a:extLst>
              <a:ext uri="{FF2B5EF4-FFF2-40B4-BE49-F238E27FC236}">
                <a16:creationId xmlns:a16="http://schemas.microsoft.com/office/drawing/2014/main" id="{81D4CBA3-FE50-000E-6D72-7D5053794CAD}"/>
              </a:ext>
            </a:extLst>
          </p:cNvPr>
          <p:cNvSpPr/>
          <p:nvPr/>
        </p:nvSpPr>
        <p:spPr>
          <a:xfrm>
            <a:off x="628649" y="2089198"/>
            <a:ext cx="3672650" cy="134778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solidFill>
                <a:schemeClr val="accent1"/>
              </a:solidFill>
              <a:latin typeface="Trebuchet MS" panose="020B0603020202020204" pitchFamily="34" charset="0"/>
            </a:endParaRPr>
          </a:p>
        </p:txBody>
      </p:sp>
      <p:sp>
        <p:nvSpPr>
          <p:cNvPr id="39" name="Rectangle 38">
            <a:extLst>
              <a:ext uri="{FF2B5EF4-FFF2-40B4-BE49-F238E27FC236}">
                <a16:creationId xmlns:a16="http://schemas.microsoft.com/office/drawing/2014/main" id="{16609CEB-0B65-05D9-C3AC-E3B5AA26999D}"/>
              </a:ext>
            </a:extLst>
          </p:cNvPr>
          <p:cNvSpPr/>
          <p:nvPr/>
        </p:nvSpPr>
        <p:spPr>
          <a:xfrm>
            <a:off x="628650" y="3429000"/>
            <a:ext cx="3684866" cy="134778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2700" algn="ctr">
              <a:lnSpc>
                <a:spcPct val="100000"/>
              </a:lnSpc>
              <a:spcBef>
                <a:spcPts val="100"/>
              </a:spcBef>
              <a:buClr>
                <a:srgbClr val="9A9CA1"/>
              </a:buClr>
              <a:tabLst>
                <a:tab pos="226060" algn="l"/>
              </a:tabLst>
            </a:pPr>
            <a:r>
              <a:rPr lang="en-US" sz="1600" spc="-5">
                <a:solidFill>
                  <a:schemeClr val="bg2">
                    <a:lumMod val="25000"/>
                  </a:schemeClr>
                </a:solidFill>
                <a:latin typeface="Trebuchet MS" panose="020B0703020202090204" pitchFamily="34" charset="0"/>
              </a:rPr>
              <a:t>+1% income </a:t>
            </a:r>
            <a:r>
              <a:rPr lang="en-US" sz="1600" spc="-5">
                <a:solidFill>
                  <a:srgbClr val="373739"/>
                </a:solidFill>
                <a:latin typeface="Trebuchet MS" panose="020B0703020202090204" pitchFamily="34" charset="0"/>
              </a:rPr>
              <a:t>growth </a:t>
            </a:r>
            <a:r>
              <a:rPr lang="en-US" sz="1600" spc="-5">
                <a:solidFill>
                  <a:schemeClr val="bg2">
                    <a:lumMod val="25000"/>
                  </a:schemeClr>
                </a:solidFill>
                <a:latin typeface="Trebuchet MS" panose="020B0703020202090204" pitchFamily="34" charset="0"/>
              </a:rPr>
              <a:t>= +30 M€ Net</a:t>
            </a:r>
          </a:p>
          <a:p>
            <a:pPr marL="12700" algn="ctr">
              <a:spcBef>
                <a:spcPts val="100"/>
              </a:spcBef>
              <a:buClr>
                <a:srgbClr val="9A9CA1"/>
              </a:buClr>
              <a:tabLst>
                <a:tab pos="226060" algn="l"/>
              </a:tabLst>
            </a:pPr>
            <a:r>
              <a:rPr lang="en-US" sz="1600" spc="-5">
                <a:solidFill>
                  <a:schemeClr val="bg2">
                    <a:lumMod val="25000"/>
                  </a:schemeClr>
                </a:solidFill>
                <a:latin typeface="Trebuchet MS" panose="020B0703020202090204" pitchFamily="34" charset="0"/>
              </a:rPr>
              <a:t>-20% client attrition</a:t>
            </a:r>
          </a:p>
        </p:txBody>
      </p:sp>
      <p:sp>
        <p:nvSpPr>
          <p:cNvPr id="40" name="Rectangle 39">
            <a:extLst>
              <a:ext uri="{FF2B5EF4-FFF2-40B4-BE49-F238E27FC236}">
                <a16:creationId xmlns:a16="http://schemas.microsoft.com/office/drawing/2014/main" id="{431E5C93-D149-45D7-A46F-5A2777723CDA}"/>
              </a:ext>
            </a:extLst>
          </p:cNvPr>
          <p:cNvSpPr/>
          <p:nvPr/>
        </p:nvSpPr>
        <p:spPr>
          <a:xfrm>
            <a:off x="628650" y="4776785"/>
            <a:ext cx="3684866" cy="132070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2700" algn="ctr">
              <a:lnSpc>
                <a:spcPct val="100000"/>
              </a:lnSpc>
              <a:spcBef>
                <a:spcPts val="100"/>
              </a:spcBef>
              <a:buClr>
                <a:srgbClr val="9A9CA1"/>
              </a:buClr>
              <a:tabLst>
                <a:tab pos="226060" algn="l"/>
              </a:tabLst>
            </a:pPr>
            <a:r>
              <a:rPr lang="en-US" sz="1600" spc="-5">
                <a:solidFill>
                  <a:schemeClr val="bg2">
                    <a:lumMod val="25000"/>
                  </a:schemeClr>
                </a:solidFill>
                <a:latin typeface="Trebuchet MS" panose="020B0703020202090204" pitchFamily="34" charset="0"/>
              </a:rPr>
              <a:t>750k€ + 250k€/year</a:t>
            </a:r>
          </a:p>
          <a:p>
            <a:pPr marL="12700" algn="ctr">
              <a:spcBef>
                <a:spcPts val="100"/>
              </a:spcBef>
              <a:buClr>
                <a:srgbClr val="9A9CA1"/>
              </a:buClr>
              <a:tabLst>
                <a:tab pos="226060" algn="l"/>
              </a:tabLst>
            </a:pPr>
            <a:r>
              <a:rPr lang="en-US" sz="1600" spc="-5">
                <a:solidFill>
                  <a:srgbClr val="373739"/>
                </a:solidFill>
                <a:latin typeface="Trebuchet MS" panose="020B0703020202090204" pitchFamily="34" charset="0"/>
              </a:rPr>
              <a:t>No disturbance</a:t>
            </a:r>
            <a:endParaRPr lang="en-US" sz="1600" b="1" spc="-5">
              <a:solidFill>
                <a:schemeClr val="bg2">
                  <a:lumMod val="25000"/>
                </a:schemeClr>
              </a:solidFill>
              <a:latin typeface="Trebuchet MS" panose="020B0703020202090204" pitchFamily="34" charset="0"/>
            </a:endParaRPr>
          </a:p>
        </p:txBody>
      </p:sp>
      <p:sp>
        <p:nvSpPr>
          <p:cNvPr id="48" name="Rectangle 47">
            <a:extLst>
              <a:ext uri="{FF2B5EF4-FFF2-40B4-BE49-F238E27FC236}">
                <a16:creationId xmlns:a16="http://schemas.microsoft.com/office/drawing/2014/main" id="{B545042F-F63D-28EA-5173-D3A6F9201011}"/>
              </a:ext>
            </a:extLst>
          </p:cNvPr>
          <p:cNvSpPr/>
          <p:nvPr/>
        </p:nvSpPr>
        <p:spPr>
          <a:xfrm>
            <a:off x="4325735" y="2203705"/>
            <a:ext cx="3651142" cy="134778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spc="-5">
                <a:solidFill>
                  <a:srgbClr val="373739"/>
                </a:solidFill>
                <a:latin typeface="Trebuchet MS"/>
              </a:rPr>
              <a:t>Advise clients according to their previous and current purchases</a:t>
            </a:r>
            <a:endParaRPr lang="en-US" sz="1600">
              <a:solidFill>
                <a:schemeClr val="accent1"/>
              </a:solidFill>
              <a:latin typeface="Trebuchet MS" panose="020B0603020202020204" pitchFamily="34" charset="0"/>
            </a:endParaRPr>
          </a:p>
        </p:txBody>
      </p:sp>
      <p:sp>
        <p:nvSpPr>
          <p:cNvPr id="49" name="Rectangle 48">
            <a:extLst>
              <a:ext uri="{FF2B5EF4-FFF2-40B4-BE49-F238E27FC236}">
                <a16:creationId xmlns:a16="http://schemas.microsoft.com/office/drawing/2014/main" id="{52C01335-73F2-80E5-D687-D36FC05D517B}"/>
              </a:ext>
            </a:extLst>
          </p:cNvPr>
          <p:cNvSpPr/>
          <p:nvPr/>
        </p:nvSpPr>
        <p:spPr>
          <a:xfrm>
            <a:off x="4313516" y="3385391"/>
            <a:ext cx="3633656" cy="134778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2700" algn="ctr">
              <a:lnSpc>
                <a:spcPct val="100000"/>
              </a:lnSpc>
              <a:spcBef>
                <a:spcPts val="100"/>
              </a:spcBef>
              <a:buClr>
                <a:srgbClr val="9A9CA1"/>
              </a:buClr>
              <a:tabLst>
                <a:tab pos="226060" algn="l"/>
              </a:tabLst>
            </a:pPr>
            <a:r>
              <a:rPr lang="en-US" sz="1600" spc="-5">
                <a:solidFill>
                  <a:schemeClr val="bg2">
                    <a:lumMod val="25000"/>
                  </a:schemeClr>
                </a:solidFill>
                <a:latin typeface="Trebuchet MS" panose="020B0703020202090204" pitchFamily="34" charset="0"/>
              </a:rPr>
              <a:t>+1% Basket Growth</a:t>
            </a:r>
            <a:r>
              <a:rPr lang="en-US" sz="1600" spc="-5">
                <a:solidFill>
                  <a:srgbClr val="373739"/>
                </a:solidFill>
                <a:latin typeface="Trebuchet MS" panose="020B0703020202090204" pitchFamily="34" charset="0"/>
              </a:rPr>
              <a:t> </a:t>
            </a:r>
            <a:r>
              <a:rPr lang="en-US" sz="1600" spc="-5">
                <a:solidFill>
                  <a:schemeClr val="bg2">
                    <a:lumMod val="25000"/>
                  </a:schemeClr>
                </a:solidFill>
                <a:latin typeface="Trebuchet MS" panose="020B0703020202090204" pitchFamily="34" charset="0"/>
              </a:rPr>
              <a:t>= +30 M€ Net</a:t>
            </a:r>
          </a:p>
        </p:txBody>
      </p:sp>
      <p:sp>
        <p:nvSpPr>
          <p:cNvPr id="52" name="Rectangle 51">
            <a:extLst>
              <a:ext uri="{FF2B5EF4-FFF2-40B4-BE49-F238E27FC236}">
                <a16:creationId xmlns:a16="http://schemas.microsoft.com/office/drawing/2014/main" id="{3E085C28-A2AF-6A7B-5CD5-CB4EE5A2AA9B}"/>
              </a:ext>
            </a:extLst>
          </p:cNvPr>
          <p:cNvSpPr/>
          <p:nvPr/>
        </p:nvSpPr>
        <p:spPr>
          <a:xfrm>
            <a:off x="4313509" y="4733176"/>
            <a:ext cx="3651141" cy="132070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2700" algn="ctr">
              <a:spcBef>
                <a:spcPts val="100"/>
              </a:spcBef>
              <a:buClr>
                <a:srgbClr val="9A9CA1"/>
              </a:buClr>
              <a:tabLst>
                <a:tab pos="226060" algn="l"/>
              </a:tabLst>
            </a:pPr>
            <a:r>
              <a:rPr lang="en-US" sz="1600" spc="-5">
                <a:solidFill>
                  <a:schemeClr val="bg2">
                    <a:lumMod val="25000"/>
                  </a:schemeClr>
                </a:solidFill>
                <a:latin typeface="Trebuchet MS" panose="020B0703020202090204" pitchFamily="34" charset="0"/>
              </a:rPr>
              <a:t>750k€ + 250k€/year</a:t>
            </a:r>
          </a:p>
          <a:p>
            <a:pPr marL="12700" algn="ctr">
              <a:spcBef>
                <a:spcPts val="100"/>
              </a:spcBef>
              <a:buClr>
                <a:srgbClr val="9A9CA1"/>
              </a:buClr>
              <a:tabLst>
                <a:tab pos="226060" algn="l"/>
              </a:tabLst>
            </a:pPr>
            <a:r>
              <a:rPr lang="en-US" sz="1600" spc="-5">
                <a:solidFill>
                  <a:srgbClr val="373739"/>
                </a:solidFill>
                <a:latin typeface="Trebuchet MS" panose="020B0703020202090204" pitchFamily="34" charset="0"/>
              </a:rPr>
              <a:t>No disturbance</a:t>
            </a:r>
            <a:endParaRPr lang="en-US" sz="1600" b="1" spc="-5">
              <a:solidFill>
                <a:schemeClr val="bg2">
                  <a:lumMod val="25000"/>
                </a:schemeClr>
              </a:solidFill>
              <a:latin typeface="Trebuchet MS" panose="020B0703020202090204" pitchFamily="34" charset="0"/>
            </a:endParaRPr>
          </a:p>
        </p:txBody>
      </p:sp>
      <p:sp>
        <p:nvSpPr>
          <p:cNvPr id="57" name="Rectangle 56">
            <a:extLst>
              <a:ext uri="{FF2B5EF4-FFF2-40B4-BE49-F238E27FC236}">
                <a16:creationId xmlns:a16="http://schemas.microsoft.com/office/drawing/2014/main" id="{6BD639C4-1D16-5213-405A-0D3A45152682}"/>
              </a:ext>
            </a:extLst>
          </p:cNvPr>
          <p:cNvSpPr/>
          <p:nvPr/>
        </p:nvSpPr>
        <p:spPr>
          <a:xfrm>
            <a:off x="7912208" y="2203705"/>
            <a:ext cx="3651142" cy="134778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spc="-5">
                <a:solidFill>
                  <a:srgbClr val="373739"/>
                </a:solidFill>
                <a:latin typeface="Trebuchet MS"/>
              </a:rPr>
              <a:t>Enable a digital management of the warehouses</a:t>
            </a:r>
            <a:endParaRPr lang="en-US" sz="1600">
              <a:solidFill>
                <a:schemeClr val="accent1"/>
              </a:solidFill>
              <a:latin typeface="Trebuchet MS" panose="020B0603020202020204" pitchFamily="34" charset="0"/>
            </a:endParaRPr>
          </a:p>
        </p:txBody>
      </p:sp>
      <p:sp>
        <p:nvSpPr>
          <p:cNvPr id="58" name="Rectangle 57">
            <a:extLst>
              <a:ext uri="{FF2B5EF4-FFF2-40B4-BE49-F238E27FC236}">
                <a16:creationId xmlns:a16="http://schemas.microsoft.com/office/drawing/2014/main" id="{CC81F074-70E3-3666-F774-860E9C5AF070}"/>
              </a:ext>
            </a:extLst>
          </p:cNvPr>
          <p:cNvSpPr/>
          <p:nvPr/>
        </p:nvSpPr>
        <p:spPr>
          <a:xfrm>
            <a:off x="7899989" y="3385391"/>
            <a:ext cx="3633656" cy="134778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2700" algn="ctr">
              <a:lnSpc>
                <a:spcPct val="100000"/>
              </a:lnSpc>
              <a:spcBef>
                <a:spcPts val="100"/>
              </a:spcBef>
              <a:buClr>
                <a:srgbClr val="9A9CA1"/>
              </a:buClr>
              <a:tabLst>
                <a:tab pos="226060" algn="l"/>
              </a:tabLst>
            </a:pPr>
            <a:r>
              <a:rPr lang="en-US" sz="1600" spc="-5">
                <a:solidFill>
                  <a:schemeClr val="bg2">
                    <a:lumMod val="25000"/>
                  </a:schemeClr>
                </a:solidFill>
                <a:latin typeface="Trebuchet MS" panose="020B0703020202090204" pitchFamily="34" charset="0"/>
              </a:rPr>
              <a:t>50M€ Loss saved</a:t>
            </a:r>
          </a:p>
        </p:txBody>
      </p:sp>
      <p:sp>
        <p:nvSpPr>
          <p:cNvPr id="59" name="Rectangle 58">
            <a:extLst>
              <a:ext uri="{FF2B5EF4-FFF2-40B4-BE49-F238E27FC236}">
                <a16:creationId xmlns:a16="http://schemas.microsoft.com/office/drawing/2014/main" id="{85D94BA3-7B29-C2A3-11DE-E280FBE4C710}"/>
              </a:ext>
            </a:extLst>
          </p:cNvPr>
          <p:cNvSpPr/>
          <p:nvPr/>
        </p:nvSpPr>
        <p:spPr>
          <a:xfrm>
            <a:off x="7963780" y="4733176"/>
            <a:ext cx="3651141" cy="132070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2700" algn="ctr">
              <a:spcBef>
                <a:spcPts val="100"/>
              </a:spcBef>
              <a:buClr>
                <a:srgbClr val="9A9CA1"/>
              </a:buClr>
              <a:tabLst>
                <a:tab pos="226060" algn="l"/>
              </a:tabLst>
            </a:pPr>
            <a:r>
              <a:rPr lang="en-US" sz="1600" spc="-5">
                <a:solidFill>
                  <a:schemeClr val="bg2">
                    <a:lumMod val="25000"/>
                  </a:schemeClr>
                </a:solidFill>
                <a:latin typeface="Trebuchet MS" panose="020B0703020202090204" pitchFamily="34" charset="0"/>
              </a:rPr>
              <a:t>2M€ + 500k€/year </a:t>
            </a:r>
          </a:p>
          <a:p>
            <a:pPr marL="12700" algn="ctr">
              <a:lnSpc>
                <a:spcPct val="100000"/>
              </a:lnSpc>
              <a:spcBef>
                <a:spcPts val="100"/>
              </a:spcBef>
              <a:buClr>
                <a:srgbClr val="9A9CA1"/>
              </a:buClr>
              <a:tabLst>
                <a:tab pos="226060" algn="l"/>
              </a:tabLst>
            </a:pPr>
            <a:r>
              <a:rPr lang="en-US" sz="1600" spc="-5">
                <a:solidFill>
                  <a:schemeClr val="bg2">
                    <a:lumMod val="25000"/>
                  </a:schemeClr>
                </a:solidFill>
                <a:latin typeface="Trebuchet MS" panose="020B0703020202090204" pitchFamily="34" charset="0"/>
              </a:rPr>
              <a:t>WMS needed</a:t>
            </a:r>
          </a:p>
          <a:p>
            <a:pPr marL="12700" algn="ctr">
              <a:lnSpc>
                <a:spcPct val="100000"/>
              </a:lnSpc>
              <a:spcBef>
                <a:spcPts val="100"/>
              </a:spcBef>
              <a:buClr>
                <a:srgbClr val="9A9CA1"/>
              </a:buClr>
              <a:tabLst>
                <a:tab pos="226060" algn="l"/>
              </a:tabLst>
            </a:pPr>
            <a:r>
              <a:rPr lang="en-US" sz="1600" spc="-5">
                <a:solidFill>
                  <a:schemeClr val="bg2">
                    <a:lumMod val="25000"/>
                  </a:schemeClr>
                </a:solidFill>
                <a:latin typeface="Trebuchet MS" panose="020B0703020202090204" pitchFamily="34" charset="0"/>
              </a:rPr>
              <a:t>Punctual warehouse disturbances</a:t>
            </a:r>
          </a:p>
        </p:txBody>
      </p:sp>
      <p:sp>
        <p:nvSpPr>
          <p:cNvPr id="16" name="ZoneTexte 15">
            <a:extLst>
              <a:ext uri="{FF2B5EF4-FFF2-40B4-BE49-F238E27FC236}">
                <a16:creationId xmlns:a16="http://schemas.microsoft.com/office/drawing/2014/main" id="{2AEBE5D4-D8E9-EC04-ADFF-B3E4DE109B52}"/>
              </a:ext>
            </a:extLst>
          </p:cNvPr>
          <p:cNvSpPr txBox="1"/>
          <p:nvPr/>
        </p:nvSpPr>
        <p:spPr>
          <a:xfrm>
            <a:off x="675328" y="2204398"/>
            <a:ext cx="3650400" cy="134640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nchor="ctr">
            <a:spAutoFit/>
          </a:bodyPr>
          <a:lstStyle/>
          <a:p>
            <a:pPr algn="ctr"/>
            <a:r>
              <a:rPr lang="fr-FR" sz="1600" spc="-5" err="1">
                <a:solidFill>
                  <a:srgbClr val="373739"/>
                </a:solidFill>
                <a:latin typeface="Trebuchet MS"/>
              </a:rPr>
              <a:t>Predict</a:t>
            </a:r>
            <a:r>
              <a:rPr lang="fr-FR" sz="1600" spc="-5">
                <a:solidFill>
                  <a:srgbClr val="373739"/>
                </a:solidFill>
                <a:latin typeface="Trebuchet MS"/>
              </a:rPr>
              <a:t> client attrition to enable </a:t>
            </a:r>
            <a:r>
              <a:rPr lang="fr-FR" sz="1600" spc="-5" err="1">
                <a:solidFill>
                  <a:srgbClr val="373739"/>
                </a:solidFill>
                <a:latin typeface="Trebuchet MS"/>
              </a:rPr>
              <a:t>counter</a:t>
            </a:r>
            <a:r>
              <a:rPr lang="fr-FR" sz="1600" spc="-5">
                <a:solidFill>
                  <a:srgbClr val="373739"/>
                </a:solidFill>
                <a:latin typeface="Trebuchet MS"/>
              </a:rPr>
              <a:t> </a:t>
            </a:r>
            <a:r>
              <a:rPr lang="fr-FR" sz="1600" spc="-5" err="1">
                <a:solidFill>
                  <a:srgbClr val="373739"/>
                </a:solidFill>
                <a:latin typeface="Trebuchet MS"/>
              </a:rPr>
              <a:t>measures</a:t>
            </a:r>
            <a:r>
              <a:rPr lang="fr-FR" sz="1600" spc="-5">
                <a:solidFill>
                  <a:srgbClr val="373739"/>
                </a:solidFill>
                <a:latin typeface="Trebuchet MS"/>
              </a:rPr>
              <a:t> </a:t>
            </a:r>
          </a:p>
        </p:txBody>
      </p:sp>
      <p:pic>
        <p:nvPicPr>
          <p:cNvPr id="20" name="Image 19">
            <a:extLst>
              <a:ext uri="{FF2B5EF4-FFF2-40B4-BE49-F238E27FC236}">
                <a16:creationId xmlns:a16="http://schemas.microsoft.com/office/drawing/2014/main" id="{C547C74C-597C-37EB-948E-B8C54FA0B6D0}"/>
              </a:ext>
            </a:extLst>
          </p:cNvPr>
          <p:cNvPicPr>
            <a:picLocks noChangeAspect="1"/>
          </p:cNvPicPr>
          <p:nvPr/>
        </p:nvPicPr>
        <p:blipFill rotWithShape="1">
          <a:blip r:embed="rId8">
            <a:extLst>
              <a:ext uri="{BEBA8EAE-BF5A-486C-A8C5-ECC9F3942E4B}">
                <a14:imgProps xmlns:a14="http://schemas.microsoft.com/office/drawing/2010/main">
                  <a14:imgLayer r:embed="rId9">
                    <a14:imgEffect>
                      <a14:backgroundRemoval t="10000" b="90000" l="10000" r="90000">
                        <a14:foregroundMark x1="50226" y1="74533" x2="50226" y2="74533"/>
                        <a14:foregroundMark x1="50905" y1="89019" x2="50905" y2="89019"/>
                      </a14:backgroundRemoval>
                    </a14:imgEffect>
                  </a14:imgLayer>
                </a14:imgProps>
              </a:ext>
            </a:extLst>
          </a:blip>
          <a:srcRect l="1584" r="1584"/>
          <a:stretch/>
        </p:blipFill>
        <p:spPr>
          <a:xfrm>
            <a:off x="47963" y="3665869"/>
            <a:ext cx="720000" cy="720000"/>
          </a:xfrm>
          <a:prstGeom prst="rect">
            <a:avLst/>
          </a:prstGeom>
        </p:spPr>
      </p:pic>
      <p:pic>
        <p:nvPicPr>
          <p:cNvPr id="30" name="Image 29">
            <a:extLst>
              <a:ext uri="{FF2B5EF4-FFF2-40B4-BE49-F238E27FC236}">
                <a16:creationId xmlns:a16="http://schemas.microsoft.com/office/drawing/2014/main" id="{A894DCD4-FECE-5061-8A04-7DCA50C609F5}"/>
              </a:ext>
            </a:extLst>
          </p:cNvPr>
          <p:cNvPicPr>
            <a:picLocks noChangeAspect="1"/>
          </p:cNvPicPr>
          <p:nvPr/>
        </p:nvPicPr>
        <p:blipFill rotWithShape="1">
          <a:blip r:embed="rId10">
            <a:extLst>
              <a:ext uri="{BEBA8EAE-BF5A-486C-A8C5-ECC9F3942E4B}">
                <a14:imgProps xmlns:a14="http://schemas.microsoft.com/office/drawing/2010/main">
                  <a14:imgLayer r:embed="rId11">
                    <a14:imgEffect>
                      <a14:backgroundRemoval t="10000" b="90000" l="10000" r="90000"/>
                    </a14:imgEffect>
                  </a14:imgLayer>
                </a14:imgProps>
              </a:ext>
            </a:extLst>
          </a:blip>
          <a:srcRect t="1190" b="1190"/>
          <a:stretch/>
        </p:blipFill>
        <p:spPr>
          <a:xfrm>
            <a:off x="86088" y="5026922"/>
            <a:ext cx="720000" cy="720000"/>
          </a:xfrm>
          <a:prstGeom prst="rect">
            <a:avLst/>
          </a:prstGeom>
        </p:spPr>
      </p:pic>
      <p:sp>
        <p:nvSpPr>
          <p:cNvPr id="32" name="ZoneTexte 31">
            <a:extLst>
              <a:ext uri="{FF2B5EF4-FFF2-40B4-BE49-F238E27FC236}">
                <a16:creationId xmlns:a16="http://schemas.microsoft.com/office/drawing/2014/main" id="{D3577452-B991-BED5-38D3-F1BE83532D1C}"/>
              </a:ext>
            </a:extLst>
          </p:cNvPr>
          <p:cNvSpPr txBox="1"/>
          <p:nvPr/>
        </p:nvSpPr>
        <p:spPr>
          <a:xfrm>
            <a:off x="8293368" y="6185248"/>
            <a:ext cx="3144579" cy="646331"/>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12700" algn="ctr">
              <a:spcBef>
                <a:spcPts val="100"/>
              </a:spcBef>
              <a:buClr>
                <a:srgbClr val="9A9CA1"/>
              </a:buClr>
              <a:tabLst>
                <a:tab pos="226060" algn="l"/>
              </a:tabLst>
            </a:pPr>
            <a:r>
              <a:rPr lang="en-US" sz="1800" b="1" spc="-5">
                <a:solidFill>
                  <a:srgbClr val="00B050"/>
                </a:solidFill>
                <a:latin typeface="Trebuchet MS" panose="020B0703020202090204" pitchFamily="34" charset="0"/>
              </a:rPr>
              <a:t>+ Paves the way for digitalized Supply Chain</a:t>
            </a:r>
          </a:p>
        </p:txBody>
      </p:sp>
    </p:spTree>
    <p:extLst>
      <p:ext uri="{BB962C8B-B14F-4D97-AF65-F5344CB8AC3E}">
        <p14:creationId xmlns:p14="http://schemas.microsoft.com/office/powerpoint/2010/main" val="225817984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7697" name="Diapositive think-cell" r:id="rId25" imgW="473" imgH="473" progId="TCLayout.ActiveDocument.1">
                  <p:embed/>
                </p:oleObj>
              </mc:Choice>
              <mc:Fallback>
                <p:oleObj name="Diapositive think-cell" r:id="rId25" imgW="473" imgH="473" progId="TCLayout.ActiveDocument.1">
                  <p:embed/>
                  <p:pic>
                    <p:nvPicPr>
                      <p:cNvPr id="4" name="Object 3" hidden="1"/>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a:xfrm>
            <a:off x="630000" y="622800"/>
            <a:ext cx="10933350" cy="443198"/>
          </a:xfrm>
        </p:spPr>
        <p:txBody>
          <a:bodyPr vert="horz"/>
          <a:lstStyle/>
          <a:p>
            <a:r>
              <a:rPr lang="en-US" sz="3200">
                <a:solidFill>
                  <a:srgbClr val="00B050"/>
                </a:solidFill>
              </a:rPr>
              <a:t>Step by step, </a:t>
            </a:r>
            <a:r>
              <a:rPr lang="en-US" sz="3200" err="1">
                <a:solidFill>
                  <a:srgbClr val="00B050"/>
                </a:solidFill>
              </a:rPr>
              <a:t>ClientCo</a:t>
            </a:r>
            <a:r>
              <a:rPr lang="en-US" sz="3200">
                <a:solidFill>
                  <a:srgbClr val="00B050"/>
                </a:solidFill>
              </a:rPr>
              <a:t> can enter the data era</a:t>
            </a:r>
          </a:p>
        </p:txBody>
      </p:sp>
      <p:sp>
        <p:nvSpPr>
          <p:cNvPr id="2" name="Text Placeholder">
            <a:extLst>
              <a:ext uri="{FF2B5EF4-FFF2-40B4-BE49-F238E27FC236}">
                <a16:creationId xmlns:a16="http://schemas.microsoft.com/office/drawing/2014/main" id="{90DEF2C2-506B-9CF9-7D1D-775FB462248A}"/>
              </a:ext>
            </a:extLst>
          </p:cNvPr>
          <p:cNvSpPr txBox="1">
            <a:spLocks/>
          </p:cNvSpPr>
          <p:nvPr>
            <p:custDataLst>
              <p:tags r:id="rId4"/>
            </p:custDataLst>
          </p:nvPr>
        </p:nvSpPr>
        <p:spPr bwMode="auto">
          <a:xfrm>
            <a:off x="1519881" y="1860622"/>
            <a:ext cx="1386000" cy="280645"/>
          </a:xfrm>
          <a:prstGeom prst="rect">
            <a:avLst/>
          </a:prstGeom>
          <a:noFill/>
          <a:ln w="9525">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numCol="1" spcCol="0" rtlCol="0" anchor="ctr" anchorCtr="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GB" altLang="en-US" sz="1400" b="1"/>
              <a:t>S1 - 2019</a:t>
            </a:r>
            <a:endParaRPr lang="en-GB" sz="1400" b="1"/>
          </a:p>
        </p:txBody>
      </p:sp>
      <p:sp>
        <p:nvSpPr>
          <p:cNvPr id="10" name="Text Placeholder">
            <a:extLst>
              <a:ext uri="{FF2B5EF4-FFF2-40B4-BE49-F238E27FC236}">
                <a16:creationId xmlns:a16="http://schemas.microsoft.com/office/drawing/2014/main" id="{6A106C1A-9164-3626-4AAD-215D48E49F2C}"/>
              </a:ext>
            </a:extLst>
          </p:cNvPr>
          <p:cNvSpPr txBox="1">
            <a:spLocks/>
          </p:cNvSpPr>
          <p:nvPr>
            <p:custDataLst>
              <p:tags r:id="rId5"/>
            </p:custDataLst>
          </p:nvPr>
        </p:nvSpPr>
        <p:spPr bwMode="auto">
          <a:xfrm>
            <a:off x="2908436" y="1860623"/>
            <a:ext cx="1386000" cy="260350"/>
          </a:xfrm>
          <a:prstGeom prst="rect">
            <a:avLst/>
          </a:prstGeom>
          <a:noFill/>
          <a:ln w="9525">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numCol="1" spcCol="0" rtlCol="0" anchor="ctr" anchorCtr="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GB" altLang="en-US" sz="1400" b="1"/>
              <a:t>S2 - 2019</a:t>
            </a:r>
            <a:endParaRPr lang="en-GB" sz="1400" b="1"/>
          </a:p>
        </p:txBody>
      </p:sp>
      <p:sp>
        <p:nvSpPr>
          <p:cNvPr id="27" name="Text Placeholder">
            <a:extLst>
              <a:ext uri="{FF2B5EF4-FFF2-40B4-BE49-F238E27FC236}">
                <a16:creationId xmlns:a16="http://schemas.microsoft.com/office/drawing/2014/main" id="{F108D217-EA76-2262-C703-E0210CCA56FF}"/>
              </a:ext>
            </a:extLst>
          </p:cNvPr>
          <p:cNvSpPr txBox="1">
            <a:spLocks/>
          </p:cNvSpPr>
          <p:nvPr>
            <p:custDataLst>
              <p:tags r:id="rId6"/>
            </p:custDataLst>
          </p:nvPr>
        </p:nvSpPr>
        <p:spPr bwMode="auto">
          <a:xfrm>
            <a:off x="4291881" y="1860623"/>
            <a:ext cx="1386000" cy="260350"/>
          </a:xfrm>
          <a:prstGeom prst="rect">
            <a:avLst/>
          </a:prstGeom>
          <a:noFill/>
          <a:ln w="9525">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numCol="1" spcCol="0" rtlCol="0" anchor="ctr" anchorCtr="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GB" altLang="en-US" sz="1400" b="1"/>
              <a:t>S1 - 2020</a:t>
            </a:r>
            <a:endParaRPr lang="en-GB" sz="1400" b="1"/>
          </a:p>
        </p:txBody>
      </p:sp>
      <p:sp>
        <p:nvSpPr>
          <p:cNvPr id="28" name="Text Placeholder">
            <a:extLst>
              <a:ext uri="{FF2B5EF4-FFF2-40B4-BE49-F238E27FC236}">
                <a16:creationId xmlns:a16="http://schemas.microsoft.com/office/drawing/2014/main" id="{122BBF48-BCE2-1791-826F-A9CFA3E95178}"/>
              </a:ext>
            </a:extLst>
          </p:cNvPr>
          <p:cNvSpPr txBox="1">
            <a:spLocks/>
          </p:cNvSpPr>
          <p:nvPr>
            <p:custDataLst>
              <p:tags r:id="rId7"/>
            </p:custDataLst>
          </p:nvPr>
        </p:nvSpPr>
        <p:spPr bwMode="auto">
          <a:xfrm>
            <a:off x="5682991" y="1860623"/>
            <a:ext cx="1386000" cy="260350"/>
          </a:xfrm>
          <a:prstGeom prst="rect">
            <a:avLst/>
          </a:prstGeom>
          <a:noFill/>
          <a:ln w="9525">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numCol="1" spcCol="0" rtlCol="0" anchor="ctr" anchorCtr="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GB" altLang="en-US" sz="1400" b="1"/>
              <a:t>S2 - 2020</a:t>
            </a:r>
            <a:endParaRPr lang="en-GB" sz="1400" b="1"/>
          </a:p>
        </p:txBody>
      </p:sp>
      <p:sp>
        <p:nvSpPr>
          <p:cNvPr id="29" name="Text Placeholder">
            <a:extLst>
              <a:ext uri="{FF2B5EF4-FFF2-40B4-BE49-F238E27FC236}">
                <a16:creationId xmlns:a16="http://schemas.microsoft.com/office/drawing/2014/main" id="{B430FEEE-0D20-2CEB-BF68-3E2D9A209468}"/>
              </a:ext>
            </a:extLst>
          </p:cNvPr>
          <p:cNvSpPr txBox="1">
            <a:spLocks/>
          </p:cNvSpPr>
          <p:nvPr>
            <p:custDataLst>
              <p:tags r:id="rId8"/>
            </p:custDataLst>
          </p:nvPr>
        </p:nvSpPr>
        <p:spPr bwMode="auto">
          <a:xfrm>
            <a:off x="7068991" y="1860623"/>
            <a:ext cx="1386000" cy="260350"/>
          </a:xfrm>
          <a:prstGeom prst="rect">
            <a:avLst/>
          </a:prstGeom>
          <a:noFill/>
          <a:ln w="9525">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numCol="1" spcCol="0" rtlCol="0" anchor="ctr" anchorCtr="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GB" altLang="en-US" sz="1400" b="1"/>
              <a:t>S1 - 2021</a:t>
            </a:r>
            <a:endParaRPr lang="en-GB" sz="1400" b="1"/>
          </a:p>
        </p:txBody>
      </p:sp>
      <p:sp>
        <p:nvSpPr>
          <p:cNvPr id="30" name="Text Placeholder">
            <a:extLst>
              <a:ext uri="{FF2B5EF4-FFF2-40B4-BE49-F238E27FC236}">
                <a16:creationId xmlns:a16="http://schemas.microsoft.com/office/drawing/2014/main" id="{644C3D78-5DD5-337B-E6E6-276BFF0A94BD}"/>
              </a:ext>
            </a:extLst>
          </p:cNvPr>
          <p:cNvSpPr txBox="1">
            <a:spLocks/>
          </p:cNvSpPr>
          <p:nvPr>
            <p:custDataLst>
              <p:tags r:id="rId9"/>
            </p:custDataLst>
          </p:nvPr>
        </p:nvSpPr>
        <p:spPr bwMode="auto">
          <a:xfrm>
            <a:off x="8454991" y="1860623"/>
            <a:ext cx="1386000" cy="260350"/>
          </a:xfrm>
          <a:prstGeom prst="rect">
            <a:avLst/>
          </a:prstGeom>
          <a:noFill/>
          <a:ln w="9525">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numCol="1" spcCol="0" rtlCol="0" anchor="ctr" anchorCtr="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GB" altLang="en-US" sz="1400" b="1"/>
              <a:t>S2 - 2021</a:t>
            </a:r>
            <a:endParaRPr lang="en-GB" sz="1400" b="1"/>
          </a:p>
        </p:txBody>
      </p:sp>
      <p:sp>
        <p:nvSpPr>
          <p:cNvPr id="32" name="Text Placeholder">
            <a:extLst>
              <a:ext uri="{FF2B5EF4-FFF2-40B4-BE49-F238E27FC236}">
                <a16:creationId xmlns:a16="http://schemas.microsoft.com/office/drawing/2014/main" id="{CDDE42D9-39FC-E92B-3CC4-2D7AEF707C41}"/>
              </a:ext>
            </a:extLst>
          </p:cNvPr>
          <p:cNvSpPr txBox="1">
            <a:spLocks/>
          </p:cNvSpPr>
          <p:nvPr>
            <p:custDataLst>
              <p:tags r:id="rId10"/>
            </p:custDataLst>
          </p:nvPr>
        </p:nvSpPr>
        <p:spPr bwMode="auto">
          <a:xfrm>
            <a:off x="628651" y="1864141"/>
            <a:ext cx="1253693" cy="236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b" anchorCtr="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GB" altLang="en-US" sz="1400" b="1">
                <a:effectLst/>
              </a:rPr>
              <a:t>Use Case</a:t>
            </a:r>
            <a:endParaRPr lang="en-GB" sz="1400" b="1"/>
          </a:p>
        </p:txBody>
      </p:sp>
      <p:sp>
        <p:nvSpPr>
          <p:cNvPr id="33" name="Rectangle 32">
            <a:extLst>
              <a:ext uri="{FF2B5EF4-FFF2-40B4-BE49-F238E27FC236}">
                <a16:creationId xmlns:a16="http://schemas.microsoft.com/office/drawing/2014/main" id="{FE2FA2B3-DE45-BA04-2943-8B1D220C1BB3}"/>
              </a:ext>
            </a:extLst>
          </p:cNvPr>
          <p:cNvSpPr/>
          <p:nvPr>
            <p:custDataLst>
              <p:tags r:id="rId11"/>
            </p:custDataLst>
          </p:nvPr>
        </p:nvSpPr>
        <p:spPr bwMode="auto">
          <a:xfrm>
            <a:off x="628651" y="2120974"/>
            <a:ext cx="9212400" cy="1080000"/>
          </a:xfrm>
          <a:prstGeom prst="rect">
            <a:avLst/>
          </a:prstGeom>
          <a:solidFill>
            <a:srgbClr val="104B26">
              <a:alpha val="89804"/>
            </a:srgbClr>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sp>
        <p:nvSpPr>
          <p:cNvPr id="34" name="Rectangle 33">
            <a:extLst>
              <a:ext uri="{FF2B5EF4-FFF2-40B4-BE49-F238E27FC236}">
                <a16:creationId xmlns:a16="http://schemas.microsoft.com/office/drawing/2014/main" id="{5CAF548E-E53E-FD25-4FB7-58FF0CDCB5A9}"/>
              </a:ext>
            </a:extLst>
          </p:cNvPr>
          <p:cNvSpPr/>
          <p:nvPr>
            <p:custDataLst>
              <p:tags r:id="rId12"/>
            </p:custDataLst>
          </p:nvPr>
        </p:nvSpPr>
        <p:spPr bwMode="auto">
          <a:xfrm>
            <a:off x="628651" y="3201084"/>
            <a:ext cx="9212400" cy="1260000"/>
          </a:xfrm>
          <a:prstGeom prst="rect">
            <a:avLst/>
          </a:prstGeom>
          <a:solidFill>
            <a:srgbClr val="20BE60">
              <a:alpha val="89804"/>
            </a:srgbClr>
          </a:solidFill>
          <a:ln w="9525" cap="flat" cmpd="sng" algn="ctr">
            <a:solidFill>
              <a:srgbClr val="000000">
                <a:alpha val="50196"/>
              </a:srgbClr>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sp>
        <p:nvSpPr>
          <p:cNvPr id="35" name="Rectangle 34">
            <a:extLst>
              <a:ext uri="{FF2B5EF4-FFF2-40B4-BE49-F238E27FC236}">
                <a16:creationId xmlns:a16="http://schemas.microsoft.com/office/drawing/2014/main" id="{FA489989-F77B-4F97-1321-EC6BEAF37C43}"/>
              </a:ext>
            </a:extLst>
          </p:cNvPr>
          <p:cNvSpPr/>
          <p:nvPr>
            <p:custDataLst>
              <p:tags r:id="rId13"/>
            </p:custDataLst>
          </p:nvPr>
        </p:nvSpPr>
        <p:spPr bwMode="auto">
          <a:xfrm>
            <a:off x="628651" y="4469353"/>
            <a:ext cx="9212400" cy="1080000"/>
          </a:xfrm>
          <a:prstGeom prst="rect">
            <a:avLst/>
          </a:prstGeom>
          <a:solidFill>
            <a:srgbClr val="00F26D">
              <a:alpha val="89804"/>
            </a:srgbClr>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sp>
        <p:nvSpPr>
          <p:cNvPr id="42" name="Text Placeholder">
            <a:extLst>
              <a:ext uri="{FF2B5EF4-FFF2-40B4-BE49-F238E27FC236}">
                <a16:creationId xmlns:a16="http://schemas.microsoft.com/office/drawing/2014/main" id="{6CC908C3-C3C6-8A05-8891-122D66532322}"/>
              </a:ext>
            </a:extLst>
          </p:cNvPr>
          <p:cNvSpPr txBox="1">
            <a:spLocks/>
          </p:cNvSpPr>
          <p:nvPr>
            <p:custDataLst>
              <p:tags r:id="rId14"/>
            </p:custDataLst>
          </p:nvPr>
        </p:nvSpPr>
        <p:spPr bwMode="auto">
          <a:xfrm>
            <a:off x="1522548" y="2123919"/>
            <a:ext cx="1386000" cy="4111281"/>
          </a:xfrm>
          <a:prstGeom prst="rect">
            <a:avLst/>
          </a:prstGeom>
          <a:noFill/>
          <a:ln w="9525">
            <a:solidFill>
              <a:srgbClr val="F8F8F8"/>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numCol="1" spcCol="0" rtlCol="0" anchor="ctr" anchorCtr="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endParaRPr lang="en-GB" sz="1400" b="1"/>
          </a:p>
        </p:txBody>
      </p:sp>
      <p:sp>
        <p:nvSpPr>
          <p:cNvPr id="43" name="Text Placeholder">
            <a:extLst>
              <a:ext uri="{FF2B5EF4-FFF2-40B4-BE49-F238E27FC236}">
                <a16:creationId xmlns:a16="http://schemas.microsoft.com/office/drawing/2014/main" id="{81CB6141-A3F6-54DC-92FD-59A5694C8F9D}"/>
              </a:ext>
            </a:extLst>
          </p:cNvPr>
          <p:cNvSpPr txBox="1">
            <a:spLocks/>
          </p:cNvSpPr>
          <p:nvPr>
            <p:custDataLst>
              <p:tags r:id="rId15"/>
            </p:custDataLst>
          </p:nvPr>
        </p:nvSpPr>
        <p:spPr bwMode="auto">
          <a:xfrm>
            <a:off x="2907488" y="2110441"/>
            <a:ext cx="1386000" cy="4111281"/>
          </a:xfrm>
          <a:prstGeom prst="rect">
            <a:avLst/>
          </a:prstGeom>
          <a:noFill/>
          <a:ln w="9525">
            <a:solidFill>
              <a:srgbClr val="F8F8F8"/>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numCol="1" spcCol="0" rtlCol="0" anchor="ctr" anchorCtr="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endParaRPr lang="en-GB" sz="1400" b="1"/>
          </a:p>
        </p:txBody>
      </p:sp>
      <p:sp>
        <p:nvSpPr>
          <p:cNvPr id="44" name="Text Placeholder">
            <a:extLst>
              <a:ext uri="{FF2B5EF4-FFF2-40B4-BE49-F238E27FC236}">
                <a16:creationId xmlns:a16="http://schemas.microsoft.com/office/drawing/2014/main" id="{130CC202-160C-D64E-5DEC-A28C25F80244}"/>
              </a:ext>
            </a:extLst>
          </p:cNvPr>
          <p:cNvSpPr txBox="1">
            <a:spLocks/>
          </p:cNvSpPr>
          <p:nvPr>
            <p:custDataLst>
              <p:tags r:id="rId16"/>
            </p:custDataLst>
          </p:nvPr>
        </p:nvSpPr>
        <p:spPr bwMode="auto">
          <a:xfrm>
            <a:off x="4295221" y="2119128"/>
            <a:ext cx="1385999" cy="4083194"/>
          </a:xfrm>
          <a:prstGeom prst="rect">
            <a:avLst/>
          </a:prstGeom>
          <a:noFill/>
          <a:ln w="9525">
            <a:solidFill>
              <a:srgbClr val="F8F8F8"/>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numCol="1" spcCol="0" rtlCol="0" anchor="ctr" anchorCtr="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endParaRPr lang="en-GB" sz="1400" b="1"/>
          </a:p>
        </p:txBody>
      </p:sp>
      <p:sp>
        <p:nvSpPr>
          <p:cNvPr id="45" name="Text Placeholder">
            <a:extLst>
              <a:ext uri="{FF2B5EF4-FFF2-40B4-BE49-F238E27FC236}">
                <a16:creationId xmlns:a16="http://schemas.microsoft.com/office/drawing/2014/main" id="{290C1246-F13A-4FCE-78DD-569CEE59A522}"/>
              </a:ext>
            </a:extLst>
          </p:cNvPr>
          <p:cNvSpPr txBox="1">
            <a:spLocks/>
          </p:cNvSpPr>
          <p:nvPr>
            <p:custDataLst>
              <p:tags r:id="rId17"/>
            </p:custDataLst>
          </p:nvPr>
        </p:nvSpPr>
        <p:spPr bwMode="auto">
          <a:xfrm>
            <a:off x="5690655" y="2117078"/>
            <a:ext cx="1393665" cy="4111281"/>
          </a:xfrm>
          <a:prstGeom prst="rect">
            <a:avLst/>
          </a:prstGeom>
          <a:noFill/>
          <a:ln w="9525">
            <a:solidFill>
              <a:srgbClr val="F8F8F8"/>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numCol="1" spcCol="0" rtlCol="0" anchor="ctr" anchorCtr="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endParaRPr lang="en-GB" sz="1400" b="1"/>
          </a:p>
        </p:txBody>
      </p:sp>
      <p:sp>
        <p:nvSpPr>
          <p:cNvPr id="46" name="Text Placeholder">
            <a:extLst>
              <a:ext uri="{FF2B5EF4-FFF2-40B4-BE49-F238E27FC236}">
                <a16:creationId xmlns:a16="http://schemas.microsoft.com/office/drawing/2014/main" id="{0B610090-5000-B931-9897-61D54EE4771E}"/>
              </a:ext>
            </a:extLst>
          </p:cNvPr>
          <p:cNvSpPr txBox="1">
            <a:spLocks/>
          </p:cNvSpPr>
          <p:nvPr>
            <p:custDataLst>
              <p:tags r:id="rId18"/>
            </p:custDataLst>
          </p:nvPr>
        </p:nvSpPr>
        <p:spPr bwMode="auto">
          <a:xfrm>
            <a:off x="7076656" y="2091041"/>
            <a:ext cx="1386000" cy="4111281"/>
          </a:xfrm>
          <a:prstGeom prst="rect">
            <a:avLst/>
          </a:prstGeom>
          <a:noFill/>
          <a:ln w="9525">
            <a:solidFill>
              <a:srgbClr val="F8F8F8"/>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numCol="1" spcCol="0" rtlCol="0" anchor="ctr" anchorCtr="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endParaRPr lang="en-GB" sz="1400" b="1"/>
          </a:p>
        </p:txBody>
      </p:sp>
      <p:sp>
        <p:nvSpPr>
          <p:cNvPr id="47" name="Text Placeholder">
            <a:extLst>
              <a:ext uri="{FF2B5EF4-FFF2-40B4-BE49-F238E27FC236}">
                <a16:creationId xmlns:a16="http://schemas.microsoft.com/office/drawing/2014/main" id="{549F2403-B670-8A99-5C69-16609F66F49F}"/>
              </a:ext>
            </a:extLst>
          </p:cNvPr>
          <p:cNvSpPr txBox="1">
            <a:spLocks/>
          </p:cNvSpPr>
          <p:nvPr>
            <p:custDataLst>
              <p:tags r:id="rId19"/>
            </p:custDataLst>
          </p:nvPr>
        </p:nvSpPr>
        <p:spPr bwMode="auto">
          <a:xfrm>
            <a:off x="8462656" y="2110441"/>
            <a:ext cx="1378335" cy="4111281"/>
          </a:xfrm>
          <a:prstGeom prst="rect">
            <a:avLst/>
          </a:prstGeom>
          <a:noFill/>
          <a:ln w="9525">
            <a:solidFill>
              <a:srgbClr val="F8F8F8"/>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numCol="1" spcCol="0" rtlCol="0" anchor="ctr" anchorCtr="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endParaRPr lang="en-GB" sz="1400" b="1"/>
          </a:p>
        </p:txBody>
      </p:sp>
      <p:sp>
        <p:nvSpPr>
          <p:cNvPr id="40" name="Text Placeholder">
            <a:extLst>
              <a:ext uri="{FF2B5EF4-FFF2-40B4-BE49-F238E27FC236}">
                <a16:creationId xmlns:a16="http://schemas.microsoft.com/office/drawing/2014/main" id="{070819DA-56AB-0CEB-BAB2-02CF2E1D913D}"/>
              </a:ext>
            </a:extLst>
          </p:cNvPr>
          <p:cNvSpPr txBox="1">
            <a:spLocks/>
          </p:cNvSpPr>
          <p:nvPr>
            <p:custDataLst>
              <p:tags r:id="rId20"/>
            </p:custDataLst>
          </p:nvPr>
        </p:nvSpPr>
        <p:spPr bwMode="auto">
          <a:xfrm>
            <a:off x="690768" y="2488063"/>
            <a:ext cx="760702" cy="492624"/>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b" anchorCtr="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GB" altLang="en-US" sz="1400">
                <a:solidFill>
                  <a:schemeClr val="bg1">
                    <a:lumMod val="95000"/>
                  </a:schemeClr>
                </a:solidFill>
                <a:effectLst/>
              </a:rPr>
              <a:t>Churn </a:t>
            </a:r>
          </a:p>
          <a:p>
            <a:pPr marL="0" indent="0">
              <a:spcBef>
                <a:spcPct val="0"/>
              </a:spcBef>
              <a:spcAft>
                <a:spcPct val="0"/>
              </a:spcAft>
              <a:buNone/>
            </a:pPr>
            <a:r>
              <a:rPr lang="en-GB" altLang="en-US" sz="1400">
                <a:solidFill>
                  <a:schemeClr val="bg1">
                    <a:lumMod val="95000"/>
                  </a:schemeClr>
                </a:solidFill>
                <a:effectLst/>
              </a:rPr>
              <a:t>Prediction</a:t>
            </a:r>
            <a:endParaRPr lang="en-GB" sz="1400">
              <a:solidFill>
                <a:schemeClr val="bg1">
                  <a:lumMod val="95000"/>
                </a:schemeClr>
              </a:solidFill>
            </a:endParaRPr>
          </a:p>
        </p:txBody>
      </p:sp>
      <p:sp>
        <p:nvSpPr>
          <p:cNvPr id="49" name="Text Placeholder">
            <a:extLst>
              <a:ext uri="{FF2B5EF4-FFF2-40B4-BE49-F238E27FC236}">
                <a16:creationId xmlns:a16="http://schemas.microsoft.com/office/drawing/2014/main" id="{D0CCCAC3-F7E0-615E-D9C0-4B1C06530E1A}"/>
              </a:ext>
            </a:extLst>
          </p:cNvPr>
          <p:cNvSpPr txBox="1">
            <a:spLocks/>
          </p:cNvSpPr>
          <p:nvPr>
            <p:custDataLst>
              <p:tags r:id="rId21"/>
            </p:custDataLst>
          </p:nvPr>
        </p:nvSpPr>
        <p:spPr bwMode="auto">
          <a:xfrm>
            <a:off x="693588" y="3489713"/>
            <a:ext cx="760702" cy="68682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b" anchorCtr="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GB" altLang="en-US" sz="1400" err="1">
                <a:solidFill>
                  <a:schemeClr val="bg1">
                    <a:lumMod val="95000"/>
                  </a:schemeClr>
                </a:solidFill>
                <a:effectLst/>
              </a:rPr>
              <a:t>Recom</a:t>
            </a:r>
            <a:r>
              <a:rPr lang="en-GB" altLang="en-US" sz="1400">
                <a:solidFill>
                  <a:schemeClr val="bg1">
                    <a:lumMod val="95000"/>
                  </a:schemeClr>
                </a:solidFill>
                <a:effectLst/>
              </a:rPr>
              <a:t>- </a:t>
            </a:r>
          </a:p>
          <a:p>
            <a:pPr marL="0" indent="0">
              <a:spcBef>
                <a:spcPct val="0"/>
              </a:spcBef>
              <a:spcAft>
                <a:spcPct val="0"/>
              </a:spcAft>
              <a:buNone/>
            </a:pPr>
            <a:r>
              <a:rPr lang="en-GB" altLang="en-US" sz="1400" err="1">
                <a:solidFill>
                  <a:schemeClr val="bg1">
                    <a:lumMod val="95000"/>
                  </a:schemeClr>
                </a:solidFill>
                <a:effectLst/>
              </a:rPr>
              <a:t>mendation</a:t>
            </a:r>
            <a:endParaRPr lang="en-GB" altLang="en-US" sz="1400">
              <a:solidFill>
                <a:schemeClr val="bg1">
                  <a:lumMod val="95000"/>
                </a:schemeClr>
              </a:solidFill>
              <a:effectLst/>
            </a:endParaRPr>
          </a:p>
          <a:p>
            <a:pPr marL="0" indent="0">
              <a:spcBef>
                <a:spcPct val="0"/>
              </a:spcBef>
              <a:spcAft>
                <a:spcPct val="0"/>
              </a:spcAft>
              <a:buNone/>
            </a:pPr>
            <a:r>
              <a:rPr lang="en-GB" sz="1400">
                <a:solidFill>
                  <a:schemeClr val="bg1">
                    <a:lumMod val="95000"/>
                  </a:schemeClr>
                </a:solidFill>
              </a:rPr>
              <a:t>Tool</a:t>
            </a:r>
          </a:p>
        </p:txBody>
      </p:sp>
      <p:sp>
        <p:nvSpPr>
          <p:cNvPr id="50" name="Text Placeholder">
            <a:extLst>
              <a:ext uri="{FF2B5EF4-FFF2-40B4-BE49-F238E27FC236}">
                <a16:creationId xmlns:a16="http://schemas.microsoft.com/office/drawing/2014/main" id="{4FE24475-92CC-4E23-4965-A78206A62209}"/>
              </a:ext>
            </a:extLst>
          </p:cNvPr>
          <p:cNvSpPr txBox="1">
            <a:spLocks/>
          </p:cNvSpPr>
          <p:nvPr>
            <p:custDataLst>
              <p:tags r:id="rId22"/>
            </p:custDataLst>
          </p:nvPr>
        </p:nvSpPr>
        <p:spPr bwMode="auto">
          <a:xfrm>
            <a:off x="685964" y="4785153"/>
            <a:ext cx="760702" cy="492624"/>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b" anchorCtr="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GB" altLang="en-US" sz="1400">
                <a:solidFill>
                  <a:schemeClr val="bg1">
                    <a:lumMod val="95000"/>
                  </a:schemeClr>
                </a:solidFill>
                <a:effectLst/>
              </a:rPr>
              <a:t>Data based </a:t>
            </a:r>
          </a:p>
          <a:p>
            <a:pPr marL="0" indent="0">
              <a:spcBef>
                <a:spcPct val="0"/>
              </a:spcBef>
              <a:spcAft>
                <a:spcPct val="0"/>
              </a:spcAft>
              <a:buNone/>
            </a:pPr>
            <a:r>
              <a:rPr lang="en-GB" sz="1400">
                <a:solidFill>
                  <a:schemeClr val="bg1">
                    <a:lumMod val="95000"/>
                  </a:schemeClr>
                </a:solidFill>
              </a:rPr>
              <a:t>Inventories</a:t>
            </a:r>
          </a:p>
        </p:txBody>
      </p:sp>
      <p:sp>
        <p:nvSpPr>
          <p:cNvPr id="112" name="Flèche : pentagone 111">
            <a:extLst>
              <a:ext uri="{FF2B5EF4-FFF2-40B4-BE49-F238E27FC236}">
                <a16:creationId xmlns:a16="http://schemas.microsoft.com/office/drawing/2014/main" id="{0289EF64-88D1-64AC-6B69-FD4734519E7A}"/>
              </a:ext>
            </a:extLst>
          </p:cNvPr>
          <p:cNvSpPr/>
          <p:nvPr/>
        </p:nvSpPr>
        <p:spPr>
          <a:xfrm>
            <a:off x="4024825" y="4766877"/>
            <a:ext cx="550097" cy="360000"/>
          </a:xfrm>
          <a:prstGeom prst="homePlate">
            <a:avLst/>
          </a:prstGeom>
          <a:solidFill>
            <a:schemeClr val="bg1"/>
          </a:solidFill>
          <a:ln w="9525" cap="rnd" cmpd="sng" algn="ctr">
            <a:solidFill>
              <a:srgbClr val="2C2C2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200">
              <a:solidFill>
                <a:srgbClr val="FFFFFF"/>
              </a:solidFill>
            </a:endParaRPr>
          </a:p>
        </p:txBody>
      </p:sp>
      <p:sp>
        <p:nvSpPr>
          <p:cNvPr id="113" name="ZoneTexte 112">
            <a:extLst>
              <a:ext uri="{FF2B5EF4-FFF2-40B4-BE49-F238E27FC236}">
                <a16:creationId xmlns:a16="http://schemas.microsoft.com/office/drawing/2014/main" id="{60009E6D-6850-2CB2-F475-B07C0C72538D}"/>
              </a:ext>
            </a:extLst>
          </p:cNvPr>
          <p:cNvSpPr txBox="1"/>
          <p:nvPr/>
        </p:nvSpPr>
        <p:spPr>
          <a:xfrm>
            <a:off x="3739435" y="4998317"/>
            <a:ext cx="1050753" cy="43848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1000" err="1">
                <a:solidFill>
                  <a:schemeClr val="bg1"/>
                </a:solidFill>
              </a:rPr>
              <a:t>Scoping</a:t>
            </a:r>
            <a:r>
              <a:rPr lang="fr-FR" sz="900">
                <a:solidFill>
                  <a:schemeClr val="bg1"/>
                </a:solidFill>
              </a:rPr>
              <a:t> </a:t>
            </a:r>
            <a:endParaRPr lang="fr-FR" sz="900" i="1">
              <a:solidFill>
                <a:schemeClr val="bg1"/>
              </a:solidFill>
            </a:endParaRPr>
          </a:p>
        </p:txBody>
      </p:sp>
      <p:sp>
        <p:nvSpPr>
          <p:cNvPr id="114" name="Flèche : pentagone 113">
            <a:extLst>
              <a:ext uri="{FF2B5EF4-FFF2-40B4-BE49-F238E27FC236}">
                <a16:creationId xmlns:a16="http://schemas.microsoft.com/office/drawing/2014/main" id="{FC488AA6-7168-EB3F-A631-11A9E6DA20C7}"/>
              </a:ext>
            </a:extLst>
          </p:cNvPr>
          <p:cNvSpPr/>
          <p:nvPr/>
        </p:nvSpPr>
        <p:spPr>
          <a:xfrm>
            <a:off x="4613447" y="4751567"/>
            <a:ext cx="720000" cy="360000"/>
          </a:xfrm>
          <a:prstGeom prst="homePlate">
            <a:avLst/>
          </a:prstGeom>
          <a:solidFill>
            <a:schemeClr val="bg1"/>
          </a:solidFill>
          <a:ln w="9525" cap="rnd" cmpd="sng" algn="ctr">
            <a:solidFill>
              <a:srgbClr val="2C2C2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200">
              <a:solidFill>
                <a:srgbClr val="FFFFFF"/>
              </a:solidFill>
            </a:endParaRPr>
          </a:p>
        </p:txBody>
      </p:sp>
      <p:sp>
        <p:nvSpPr>
          <p:cNvPr id="115" name="ZoneTexte 114">
            <a:extLst>
              <a:ext uri="{FF2B5EF4-FFF2-40B4-BE49-F238E27FC236}">
                <a16:creationId xmlns:a16="http://schemas.microsoft.com/office/drawing/2014/main" id="{7BC75E30-61C3-96A1-52DB-803B6E7B474A}"/>
              </a:ext>
            </a:extLst>
          </p:cNvPr>
          <p:cNvSpPr txBox="1"/>
          <p:nvPr/>
        </p:nvSpPr>
        <p:spPr>
          <a:xfrm>
            <a:off x="4403877" y="5012514"/>
            <a:ext cx="1050753" cy="43848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900" err="1">
                <a:solidFill>
                  <a:schemeClr val="bg1"/>
                </a:solidFill>
              </a:rPr>
              <a:t>Prototyping</a:t>
            </a:r>
            <a:r>
              <a:rPr lang="fr-FR" sz="900">
                <a:solidFill>
                  <a:schemeClr val="bg1"/>
                </a:solidFill>
              </a:rPr>
              <a:t> </a:t>
            </a:r>
            <a:endParaRPr lang="fr-FR" sz="900" i="1">
              <a:solidFill>
                <a:schemeClr val="bg1"/>
              </a:solidFill>
            </a:endParaRPr>
          </a:p>
        </p:txBody>
      </p:sp>
      <p:sp>
        <p:nvSpPr>
          <p:cNvPr id="116" name="Flèche : pentagone 115">
            <a:extLst>
              <a:ext uri="{FF2B5EF4-FFF2-40B4-BE49-F238E27FC236}">
                <a16:creationId xmlns:a16="http://schemas.microsoft.com/office/drawing/2014/main" id="{2A10A409-6D28-D2B9-EA09-8392E5B94457}"/>
              </a:ext>
            </a:extLst>
          </p:cNvPr>
          <p:cNvSpPr/>
          <p:nvPr/>
        </p:nvSpPr>
        <p:spPr>
          <a:xfrm>
            <a:off x="5350541" y="4766877"/>
            <a:ext cx="550097" cy="360000"/>
          </a:xfrm>
          <a:prstGeom prst="homePlate">
            <a:avLst/>
          </a:prstGeom>
          <a:solidFill>
            <a:schemeClr val="bg1"/>
          </a:solidFill>
          <a:ln w="9525" cap="rnd" cmpd="sng" algn="ctr">
            <a:solidFill>
              <a:srgbClr val="2C2C2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200">
              <a:solidFill>
                <a:srgbClr val="FFFFFF"/>
              </a:solidFill>
            </a:endParaRPr>
          </a:p>
        </p:txBody>
      </p:sp>
      <p:sp>
        <p:nvSpPr>
          <p:cNvPr id="117" name="ZoneTexte 116">
            <a:extLst>
              <a:ext uri="{FF2B5EF4-FFF2-40B4-BE49-F238E27FC236}">
                <a16:creationId xmlns:a16="http://schemas.microsoft.com/office/drawing/2014/main" id="{00194FD7-CD64-11B7-0AD2-B7E00C58152C}"/>
              </a:ext>
            </a:extLst>
          </p:cNvPr>
          <p:cNvSpPr txBox="1"/>
          <p:nvPr/>
        </p:nvSpPr>
        <p:spPr>
          <a:xfrm>
            <a:off x="5076656" y="5015425"/>
            <a:ext cx="1050753" cy="43848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900">
                <a:solidFill>
                  <a:schemeClr val="bg1"/>
                </a:solidFill>
              </a:rPr>
              <a:t>Validation </a:t>
            </a:r>
            <a:endParaRPr lang="fr-FR" sz="900" i="1">
              <a:solidFill>
                <a:schemeClr val="bg1"/>
              </a:solidFill>
            </a:endParaRPr>
          </a:p>
        </p:txBody>
      </p:sp>
      <p:sp>
        <p:nvSpPr>
          <p:cNvPr id="118" name="Flèche : pentagone 117">
            <a:extLst>
              <a:ext uri="{FF2B5EF4-FFF2-40B4-BE49-F238E27FC236}">
                <a16:creationId xmlns:a16="http://schemas.microsoft.com/office/drawing/2014/main" id="{BB5309F6-6B69-92F2-DD4E-0BEF01A39052}"/>
              </a:ext>
            </a:extLst>
          </p:cNvPr>
          <p:cNvSpPr/>
          <p:nvPr/>
        </p:nvSpPr>
        <p:spPr>
          <a:xfrm>
            <a:off x="5956414" y="4751567"/>
            <a:ext cx="1080000" cy="360000"/>
          </a:xfrm>
          <a:prstGeom prst="homePlate">
            <a:avLst/>
          </a:prstGeom>
          <a:solidFill>
            <a:schemeClr val="bg1"/>
          </a:solidFill>
          <a:ln w="9525" cap="rnd" cmpd="sng" algn="ctr">
            <a:solidFill>
              <a:srgbClr val="2C2C2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200">
              <a:solidFill>
                <a:srgbClr val="FFFFFF"/>
              </a:solidFill>
            </a:endParaRPr>
          </a:p>
        </p:txBody>
      </p:sp>
      <p:sp>
        <p:nvSpPr>
          <p:cNvPr id="119" name="ZoneTexte 118">
            <a:extLst>
              <a:ext uri="{FF2B5EF4-FFF2-40B4-BE49-F238E27FC236}">
                <a16:creationId xmlns:a16="http://schemas.microsoft.com/office/drawing/2014/main" id="{8ACF4EA5-FC9A-132C-9B0B-886C1F845C36}"/>
              </a:ext>
            </a:extLst>
          </p:cNvPr>
          <p:cNvSpPr txBox="1"/>
          <p:nvPr/>
        </p:nvSpPr>
        <p:spPr>
          <a:xfrm>
            <a:off x="5781420" y="5008911"/>
            <a:ext cx="1050753" cy="43848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900">
                <a:solidFill>
                  <a:schemeClr val="bg1"/>
                </a:solidFill>
              </a:rPr>
              <a:t>Roll out </a:t>
            </a:r>
            <a:endParaRPr lang="fr-FR" sz="900" i="1">
              <a:solidFill>
                <a:schemeClr val="bg1"/>
              </a:solidFill>
            </a:endParaRPr>
          </a:p>
        </p:txBody>
      </p:sp>
      <p:sp>
        <p:nvSpPr>
          <p:cNvPr id="120" name="Flèche : pentagone 52">
            <a:extLst>
              <a:ext uri="{FF2B5EF4-FFF2-40B4-BE49-F238E27FC236}">
                <a16:creationId xmlns:a16="http://schemas.microsoft.com/office/drawing/2014/main" id="{495127DA-16B8-387C-5B4C-FDD963AFE48B}"/>
              </a:ext>
            </a:extLst>
          </p:cNvPr>
          <p:cNvSpPr/>
          <p:nvPr/>
        </p:nvSpPr>
        <p:spPr>
          <a:xfrm>
            <a:off x="7130135" y="4751567"/>
            <a:ext cx="1615354" cy="360000"/>
          </a:xfrm>
          <a:prstGeom prst="homePlate">
            <a:avLst/>
          </a:prstGeom>
          <a:solidFill>
            <a:schemeClr val="bg1"/>
          </a:solidFill>
          <a:ln w="9525" cap="rnd" cmpd="sng" algn="ctr">
            <a:solidFill>
              <a:srgbClr val="2C2C2C"/>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1200" err="1">
                <a:solidFill>
                  <a:srgbClr val="104B26"/>
                </a:solidFill>
              </a:rPr>
              <a:t>Forecasted</a:t>
            </a:r>
            <a:r>
              <a:rPr lang="fr-FR" sz="1200">
                <a:solidFill>
                  <a:srgbClr val="104B26"/>
                </a:solidFill>
              </a:rPr>
              <a:t> </a:t>
            </a:r>
            <a:r>
              <a:rPr lang="fr-FR" sz="1200" err="1">
                <a:solidFill>
                  <a:srgbClr val="104B26"/>
                </a:solidFill>
              </a:rPr>
              <a:t>Supply</a:t>
            </a:r>
            <a:r>
              <a:rPr lang="fr-FR" sz="1200">
                <a:solidFill>
                  <a:srgbClr val="104B26"/>
                </a:solidFill>
              </a:rPr>
              <a:t> Chain</a:t>
            </a:r>
          </a:p>
        </p:txBody>
      </p:sp>
      <p:sp>
        <p:nvSpPr>
          <p:cNvPr id="121" name="Flèche : pentagone 120">
            <a:extLst>
              <a:ext uri="{FF2B5EF4-FFF2-40B4-BE49-F238E27FC236}">
                <a16:creationId xmlns:a16="http://schemas.microsoft.com/office/drawing/2014/main" id="{0A08F4C0-7ADD-1F5B-A6C6-BB8760557FB9}"/>
              </a:ext>
            </a:extLst>
          </p:cNvPr>
          <p:cNvSpPr/>
          <p:nvPr/>
        </p:nvSpPr>
        <p:spPr>
          <a:xfrm>
            <a:off x="2098056" y="3896851"/>
            <a:ext cx="550097" cy="360000"/>
          </a:xfrm>
          <a:prstGeom prst="homePlate">
            <a:avLst/>
          </a:prstGeom>
          <a:solidFill>
            <a:schemeClr val="bg1"/>
          </a:solidFill>
          <a:ln w="9525" cap="rnd" cmpd="sng" algn="ctr">
            <a:solidFill>
              <a:srgbClr val="2C2C2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200">
              <a:solidFill>
                <a:srgbClr val="FFFFFF"/>
              </a:solidFill>
            </a:endParaRPr>
          </a:p>
        </p:txBody>
      </p:sp>
      <p:sp>
        <p:nvSpPr>
          <p:cNvPr id="122" name="ZoneTexte 121">
            <a:extLst>
              <a:ext uri="{FF2B5EF4-FFF2-40B4-BE49-F238E27FC236}">
                <a16:creationId xmlns:a16="http://schemas.microsoft.com/office/drawing/2014/main" id="{C870823F-A29B-6059-7C1C-EA5A02596708}"/>
              </a:ext>
            </a:extLst>
          </p:cNvPr>
          <p:cNvSpPr txBox="1"/>
          <p:nvPr/>
        </p:nvSpPr>
        <p:spPr>
          <a:xfrm>
            <a:off x="1812666" y="4128291"/>
            <a:ext cx="1050753" cy="43848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1000" err="1">
                <a:solidFill>
                  <a:schemeClr val="bg1"/>
                </a:solidFill>
              </a:rPr>
              <a:t>Scoping</a:t>
            </a:r>
            <a:r>
              <a:rPr lang="fr-FR" sz="900">
                <a:solidFill>
                  <a:schemeClr val="bg1"/>
                </a:solidFill>
              </a:rPr>
              <a:t> </a:t>
            </a:r>
            <a:endParaRPr lang="fr-FR" sz="900" i="1">
              <a:solidFill>
                <a:schemeClr val="bg1"/>
              </a:solidFill>
            </a:endParaRPr>
          </a:p>
        </p:txBody>
      </p:sp>
      <p:sp>
        <p:nvSpPr>
          <p:cNvPr id="123" name="Flèche : pentagone 122">
            <a:extLst>
              <a:ext uri="{FF2B5EF4-FFF2-40B4-BE49-F238E27FC236}">
                <a16:creationId xmlns:a16="http://schemas.microsoft.com/office/drawing/2014/main" id="{D490F960-68A5-7ADB-AA41-43746C5DDE3F}"/>
              </a:ext>
            </a:extLst>
          </p:cNvPr>
          <p:cNvSpPr/>
          <p:nvPr/>
        </p:nvSpPr>
        <p:spPr>
          <a:xfrm>
            <a:off x="2686678" y="3881541"/>
            <a:ext cx="550800" cy="360000"/>
          </a:xfrm>
          <a:prstGeom prst="homePlate">
            <a:avLst/>
          </a:prstGeom>
          <a:solidFill>
            <a:schemeClr val="bg1"/>
          </a:solidFill>
          <a:ln w="9525" cap="rnd" cmpd="sng" algn="ctr">
            <a:solidFill>
              <a:srgbClr val="2C2C2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200">
              <a:solidFill>
                <a:srgbClr val="FFFFFF"/>
              </a:solidFill>
            </a:endParaRPr>
          </a:p>
        </p:txBody>
      </p:sp>
      <p:sp>
        <p:nvSpPr>
          <p:cNvPr id="124" name="ZoneTexte 123">
            <a:extLst>
              <a:ext uri="{FF2B5EF4-FFF2-40B4-BE49-F238E27FC236}">
                <a16:creationId xmlns:a16="http://schemas.microsoft.com/office/drawing/2014/main" id="{6F2E483C-A298-FC8D-1FB7-89DE6DF2E89A}"/>
              </a:ext>
            </a:extLst>
          </p:cNvPr>
          <p:cNvSpPr txBox="1"/>
          <p:nvPr/>
        </p:nvSpPr>
        <p:spPr>
          <a:xfrm>
            <a:off x="2392044" y="4142488"/>
            <a:ext cx="1050753" cy="43848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900" err="1">
                <a:solidFill>
                  <a:schemeClr val="bg1"/>
                </a:solidFill>
              </a:rPr>
              <a:t>Prototyping</a:t>
            </a:r>
            <a:r>
              <a:rPr lang="fr-FR" sz="900">
                <a:solidFill>
                  <a:schemeClr val="bg1"/>
                </a:solidFill>
              </a:rPr>
              <a:t> </a:t>
            </a:r>
            <a:endParaRPr lang="fr-FR" sz="900" i="1">
              <a:solidFill>
                <a:schemeClr val="bg1"/>
              </a:solidFill>
            </a:endParaRPr>
          </a:p>
        </p:txBody>
      </p:sp>
      <p:sp>
        <p:nvSpPr>
          <p:cNvPr id="125" name="Flèche : pentagone 124">
            <a:extLst>
              <a:ext uri="{FF2B5EF4-FFF2-40B4-BE49-F238E27FC236}">
                <a16:creationId xmlns:a16="http://schemas.microsoft.com/office/drawing/2014/main" id="{643E599D-5CCE-AA4B-2C15-051A61BD9E99}"/>
              </a:ext>
            </a:extLst>
          </p:cNvPr>
          <p:cNvSpPr/>
          <p:nvPr/>
        </p:nvSpPr>
        <p:spPr>
          <a:xfrm>
            <a:off x="3253645" y="3896851"/>
            <a:ext cx="550097" cy="360000"/>
          </a:xfrm>
          <a:prstGeom prst="homePlate">
            <a:avLst/>
          </a:prstGeom>
          <a:solidFill>
            <a:schemeClr val="bg1"/>
          </a:solidFill>
          <a:ln w="9525" cap="rnd" cmpd="sng" algn="ctr">
            <a:solidFill>
              <a:srgbClr val="2C2C2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200">
              <a:solidFill>
                <a:srgbClr val="FFFFFF"/>
              </a:solidFill>
            </a:endParaRPr>
          </a:p>
        </p:txBody>
      </p:sp>
      <p:sp>
        <p:nvSpPr>
          <p:cNvPr id="126" name="ZoneTexte 125">
            <a:extLst>
              <a:ext uri="{FF2B5EF4-FFF2-40B4-BE49-F238E27FC236}">
                <a16:creationId xmlns:a16="http://schemas.microsoft.com/office/drawing/2014/main" id="{898701CE-2ABB-72E4-277C-7DF54628925D}"/>
              </a:ext>
            </a:extLst>
          </p:cNvPr>
          <p:cNvSpPr txBox="1"/>
          <p:nvPr/>
        </p:nvSpPr>
        <p:spPr>
          <a:xfrm>
            <a:off x="2979760" y="4145399"/>
            <a:ext cx="1050753" cy="43848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900">
                <a:solidFill>
                  <a:schemeClr val="bg1"/>
                </a:solidFill>
              </a:rPr>
              <a:t>Validation </a:t>
            </a:r>
            <a:endParaRPr lang="fr-FR" sz="900" i="1">
              <a:solidFill>
                <a:schemeClr val="bg1"/>
              </a:solidFill>
            </a:endParaRPr>
          </a:p>
        </p:txBody>
      </p:sp>
      <p:sp>
        <p:nvSpPr>
          <p:cNvPr id="127" name="Flèche : pentagone 126">
            <a:extLst>
              <a:ext uri="{FF2B5EF4-FFF2-40B4-BE49-F238E27FC236}">
                <a16:creationId xmlns:a16="http://schemas.microsoft.com/office/drawing/2014/main" id="{42E3E54C-63C4-62AA-557F-617B095FA420}"/>
              </a:ext>
            </a:extLst>
          </p:cNvPr>
          <p:cNvSpPr/>
          <p:nvPr/>
        </p:nvSpPr>
        <p:spPr>
          <a:xfrm>
            <a:off x="3859518" y="3881541"/>
            <a:ext cx="720000" cy="360000"/>
          </a:xfrm>
          <a:prstGeom prst="homePlate">
            <a:avLst/>
          </a:prstGeom>
          <a:solidFill>
            <a:schemeClr val="bg1"/>
          </a:solidFill>
          <a:ln w="9525" cap="rnd" cmpd="sng" algn="ctr">
            <a:solidFill>
              <a:srgbClr val="2C2C2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200">
              <a:solidFill>
                <a:srgbClr val="FFFFFF"/>
              </a:solidFill>
            </a:endParaRPr>
          </a:p>
        </p:txBody>
      </p:sp>
      <p:sp>
        <p:nvSpPr>
          <p:cNvPr id="128" name="ZoneTexte 127">
            <a:extLst>
              <a:ext uri="{FF2B5EF4-FFF2-40B4-BE49-F238E27FC236}">
                <a16:creationId xmlns:a16="http://schemas.microsoft.com/office/drawing/2014/main" id="{2230567F-A3EA-3AC7-EE8F-CE7D1B7ED7C4}"/>
              </a:ext>
            </a:extLst>
          </p:cNvPr>
          <p:cNvSpPr txBox="1"/>
          <p:nvPr/>
        </p:nvSpPr>
        <p:spPr>
          <a:xfrm>
            <a:off x="3684524" y="4138885"/>
            <a:ext cx="1050753" cy="43848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900">
                <a:solidFill>
                  <a:schemeClr val="bg1"/>
                </a:solidFill>
              </a:rPr>
              <a:t>Roll out </a:t>
            </a:r>
            <a:endParaRPr lang="fr-FR" sz="900" i="1">
              <a:solidFill>
                <a:schemeClr val="bg1"/>
              </a:solidFill>
            </a:endParaRPr>
          </a:p>
        </p:txBody>
      </p:sp>
      <p:sp>
        <p:nvSpPr>
          <p:cNvPr id="129" name="Flèche : pentagone 128">
            <a:extLst>
              <a:ext uri="{FF2B5EF4-FFF2-40B4-BE49-F238E27FC236}">
                <a16:creationId xmlns:a16="http://schemas.microsoft.com/office/drawing/2014/main" id="{097CBAFC-0A9F-7B46-C6B9-88458DC4C706}"/>
              </a:ext>
            </a:extLst>
          </p:cNvPr>
          <p:cNvSpPr/>
          <p:nvPr/>
        </p:nvSpPr>
        <p:spPr>
          <a:xfrm>
            <a:off x="2277517" y="3267517"/>
            <a:ext cx="3617788" cy="207975"/>
          </a:xfrm>
          <a:prstGeom prst="homePlate">
            <a:avLst/>
          </a:prstGeom>
          <a:solidFill>
            <a:schemeClr val="bg1"/>
          </a:solidFill>
          <a:ln w="9525" cap="rnd" cmpd="sng" algn="ctr">
            <a:solidFill>
              <a:srgbClr val="2C2C2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200">
              <a:solidFill>
                <a:srgbClr val="FFFFFF"/>
              </a:solidFill>
            </a:endParaRPr>
          </a:p>
        </p:txBody>
      </p:sp>
      <p:sp>
        <p:nvSpPr>
          <p:cNvPr id="130" name="ZoneTexte 89">
            <a:extLst>
              <a:ext uri="{FF2B5EF4-FFF2-40B4-BE49-F238E27FC236}">
                <a16:creationId xmlns:a16="http://schemas.microsoft.com/office/drawing/2014/main" id="{4EFADC26-255C-4308-F3B9-B39F306A1874}"/>
              </a:ext>
            </a:extLst>
          </p:cNvPr>
          <p:cNvSpPr txBox="1"/>
          <p:nvPr/>
        </p:nvSpPr>
        <p:spPr>
          <a:xfrm>
            <a:off x="2165818" y="3367484"/>
            <a:ext cx="3674756" cy="43848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900" err="1">
                <a:solidFill>
                  <a:schemeClr val="bg1"/>
                </a:solidFill>
              </a:rPr>
              <a:t>Get</a:t>
            </a:r>
            <a:r>
              <a:rPr lang="fr-FR" sz="900">
                <a:solidFill>
                  <a:schemeClr val="bg1"/>
                </a:solidFill>
              </a:rPr>
              <a:t> Marketing Team to </a:t>
            </a:r>
            <a:r>
              <a:rPr lang="fr-FR" sz="900" err="1">
                <a:solidFill>
                  <a:schemeClr val="bg1"/>
                </a:solidFill>
              </a:rPr>
              <a:t>digitally</a:t>
            </a:r>
            <a:r>
              <a:rPr lang="fr-FR" sz="900">
                <a:solidFill>
                  <a:schemeClr val="bg1"/>
                </a:solidFill>
              </a:rPr>
              <a:t> input </a:t>
            </a:r>
            <a:r>
              <a:rPr lang="fr-FR" sz="900" err="1">
                <a:solidFill>
                  <a:schemeClr val="bg1"/>
                </a:solidFill>
              </a:rPr>
              <a:t>behavorial</a:t>
            </a:r>
            <a:r>
              <a:rPr lang="fr-FR" sz="900">
                <a:solidFill>
                  <a:schemeClr val="bg1"/>
                </a:solidFill>
              </a:rPr>
              <a:t> / qualitative data</a:t>
            </a:r>
            <a:endParaRPr lang="fr-FR" sz="900" i="1">
              <a:solidFill>
                <a:schemeClr val="bg1"/>
              </a:solidFill>
            </a:endParaRPr>
          </a:p>
        </p:txBody>
      </p:sp>
      <p:sp>
        <p:nvSpPr>
          <p:cNvPr id="131" name="Flèche : pentagone 130">
            <a:extLst>
              <a:ext uri="{FF2B5EF4-FFF2-40B4-BE49-F238E27FC236}">
                <a16:creationId xmlns:a16="http://schemas.microsoft.com/office/drawing/2014/main" id="{CBEC2A06-E497-A736-3C19-EE6FA110C479}"/>
              </a:ext>
            </a:extLst>
          </p:cNvPr>
          <p:cNvSpPr/>
          <p:nvPr/>
        </p:nvSpPr>
        <p:spPr>
          <a:xfrm>
            <a:off x="1518727" y="2283971"/>
            <a:ext cx="550097" cy="360000"/>
          </a:xfrm>
          <a:prstGeom prst="homePlate">
            <a:avLst/>
          </a:prstGeom>
          <a:solidFill>
            <a:schemeClr val="bg1"/>
          </a:solidFill>
          <a:ln w="9525" cap="rnd" cmpd="sng" algn="ctr">
            <a:solidFill>
              <a:srgbClr val="2C2C2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200">
              <a:solidFill>
                <a:srgbClr val="FFFFFF"/>
              </a:solidFill>
            </a:endParaRPr>
          </a:p>
        </p:txBody>
      </p:sp>
      <p:sp>
        <p:nvSpPr>
          <p:cNvPr id="132" name="ZoneTexte 131">
            <a:extLst>
              <a:ext uri="{FF2B5EF4-FFF2-40B4-BE49-F238E27FC236}">
                <a16:creationId xmlns:a16="http://schemas.microsoft.com/office/drawing/2014/main" id="{EF27F43E-56A3-9CBD-E606-E7591A2CB99A}"/>
              </a:ext>
            </a:extLst>
          </p:cNvPr>
          <p:cNvSpPr txBox="1"/>
          <p:nvPr/>
        </p:nvSpPr>
        <p:spPr>
          <a:xfrm>
            <a:off x="1233337" y="2515411"/>
            <a:ext cx="1050753" cy="43848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1000" err="1">
                <a:solidFill>
                  <a:schemeClr val="bg1"/>
                </a:solidFill>
              </a:rPr>
              <a:t>Scoping</a:t>
            </a:r>
            <a:r>
              <a:rPr lang="fr-FR" sz="900">
                <a:solidFill>
                  <a:schemeClr val="bg1"/>
                </a:solidFill>
              </a:rPr>
              <a:t> </a:t>
            </a:r>
            <a:endParaRPr lang="fr-FR" sz="900" i="1">
              <a:solidFill>
                <a:schemeClr val="bg1"/>
              </a:solidFill>
            </a:endParaRPr>
          </a:p>
        </p:txBody>
      </p:sp>
      <p:sp>
        <p:nvSpPr>
          <p:cNvPr id="133" name="Flèche : pentagone 132">
            <a:extLst>
              <a:ext uri="{FF2B5EF4-FFF2-40B4-BE49-F238E27FC236}">
                <a16:creationId xmlns:a16="http://schemas.microsoft.com/office/drawing/2014/main" id="{90836001-713A-118B-B6E9-1A872F3E0D88}"/>
              </a:ext>
            </a:extLst>
          </p:cNvPr>
          <p:cNvSpPr/>
          <p:nvPr/>
        </p:nvSpPr>
        <p:spPr>
          <a:xfrm>
            <a:off x="2107349" y="2268661"/>
            <a:ext cx="550800" cy="360000"/>
          </a:xfrm>
          <a:prstGeom prst="homePlate">
            <a:avLst/>
          </a:prstGeom>
          <a:solidFill>
            <a:schemeClr val="bg1"/>
          </a:solidFill>
          <a:ln w="9525" cap="rnd" cmpd="sng" algn="ctr">
            <a:solidFill>
              <a:srgbClr val="2C2C2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200">
              <a:solidFill>
                <a:srgbClr val="FFFFFF"/>
              </a:solidFill>
            </a:endParaRPr>
          </a:p>
        </p:txBody>
      </p:sp>
      <p:sp>
        <p:nvSpPr>
          <p:cNvPr id="134" name="ZoneTexte 133">
            <a:extLst>
              <a:ext uri="{FF2B5EF4-FFF2-40B4-BE49-F238E27FC236}">
                <a16:creationId xmlns:a16="http://schemas.microsoft.com/office/drawing/2014/main" id="{995F2DD3-5BCB-25A6-4F9F-FFBB1C90D802}"/>
              </a:ext>
            </a:extLst>
          </p:cNvPr>
          <p:cNvSpPr txBox="1"/>
          <p:nvPr/>
        </p:nvSpPr>
        <p:spPr>
          <a:xfrm>
            <a:off x="1812715" y="2529608"/>
            <a:ext cx="1050753" cy="43848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900" err="1">
                <a:solidFill>
                  <a:schemeClr val="bg1"/>
                </a:solidFill>
              </a:rPr>
              <a:t>Prototyping</a:t>
            </a:r>
            <a:r>
              <a:rPr lang="fr-FR" sz="900">
                <a:solidFill>
                  <a:schemeClr val="bg1"/>
                </a:solidFill>
              </a:rPr>
              <a:t> </a:t>
            </a:r>
            <a:endParaRPr lang="fr-FR" sz="900" i="1">
              <a:solidFill>
                <a:schemeClr val="bg1"/>
              </a:solidFill>
            </a:endParaRPr>
          </a:p>
        </p:txBody>
      </p:sp>
      <p:sp>
        <p:nvSpPr>
          <p:cNvPr id="135" name="Flèche : pentagone 134">
            <a:extLst>
              <a:ext uri="{FF2B5EF4-FFF2-40B4-BE49-F238E27FC236}">
                <a16:creationId xmlns:a16="http://schemas.microsoft.com/office/drawing/2014/main" id="{CCF09CBC-B0B7-E194-0362-21C74BBE7115}"/>
              </a:ext>
            </a:extLst>
          </p:cNvPr>
          <p:cNvSpPr/>
          <p:nvPr/>
        </p:nvSpPr>
        <p:spPr>
          <a:xfrm>
            <a:off x="2674316" y="2283971"/>
            <a:ext cx="550097" cy="360000"/>
          </a:xfrm>
          <a:prstGeom prst="homePlate">
            <a:avLst/>
          </a:prstGeom>
          <a:solidFill>
            <a:schemeClr val="bg1"/>
          </a:solidFill>
          <a:ln w="9525" cap="rnd" cmpd="sng" algn="ctr">
            <a:solidFill>
              <a:srgbClr val="2C2C2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200">
              <a:solidFill>
                <a:srgbClr val="FFFFFF"/>
              </a:solidFill>
            </a:endParaRPr>
          </a:p>
        </p:txBody>
      </p:sp>
      <p:sp>
        <p:nvSpPr>
          <p:cNvPr id="136" name="ZoneTexte 135">
            <a:extLst>
              <a:ext uri="{FF2B5EF4-FFF2-40B4-BE49-F238E27FC236}">
                <a16:creationId xmlns:a16="http://schemas.microsoft.com/office/drawing/2014/main" id="{2BBE473F-5971-9980-F929-B9494B169784}"/>
              </a:ext>
            </a:extLst>
          </p:cNvPr>
          <p:cNvSpPr txBox="1"/>
          <p:nvPr/>
        </p:nvSpPr>
        <p:spPr>
          <a:xfrm>
            <a:off x="2400431" y="2532519"/>
            <a:ext cx="1050753" cy="43848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900">
                <a:solidFill>
                  <a:schemeClr val="bg1"/>
                </a:solidFill>
              </a:rPr>
              <a:t>Validation </a:t>
            </a:r>
            <a:endParaRPr lang="fr-FR" sz="900" i="1">
              <a:solidFill>
                <a:schemeClr val="bg1"/>
              </a:solidFill>
            </a:endParaRPr>
          </a:p>
        </p:txBody>
      </p:sp>
      <p:sp>
        <p:nvSpPr>
          <p:cNvPr id="137" name="Flèche : pentagone 136">
            <a:extLst>
              <a:ext uri="{FF2B5EF4-FFF2-40B4-BE49-F238E27FC236}">
                <a16:creationId xmlns:a16="http://schemas.microsoft.com/office/drawing/2014/main" id="{3D545FB0-334F-E89C-1E7F-89EEFA6DEBEA}"/>
              </a:ext>
            </a:extLst>
          </p:cNvPr>
          <p:cNvSpPr/>
          <p:nvPr/>
        </p:nvSpPr>
        <p:spPr>
          <a:xfrm>
            <a:off x="3280189" y="2268661"/>
            <a:ext cx="720000" cy="360000"/>
          </a:xfrm>
          <a:prstGeom prst="homePlate">
            <a:avLst/>
          </a:prstGeom>
          <a:solidFill>
            <a:schemeClr val="bg1"/>
          </a:solidFill>
          <a:ln w="9525" cap="rnd" cmpd="sng" algn="ctr">
            <a:solidFill>
              <a:srgbClr val="2C2C2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200">
              <a:solidFill>
                <a:srgbClr val="FFFFFF"/>
              </a:solidFill>
            </a:endParaRPr>
          </a:p>
        </p:txBody>
      </p:sp>
      <p:sp>
        <p:nvSpPr>
          <p:cNvPr id="138" name="ZoneTexte 137">
            <a:extLst>
              <a:ext uri="{FF2B5EF4-FFF2-40B4-BE49-F238E27FC236}">
                <a16:creationId xmlns:a16="http://schemas.microsoft.com/office/drawing/2014/main" id="{8A4F8B0A-7B1A-DA99-69BF-446CEC67380D}"/>
              </a:ext>
            </a:extLst>
          </p:cNvPr>
          <p:cNvSpPr txBox="1"/>
          <p:nvPr/>
        </p:nvSpPr>
        <p:spPr>
          <a:xfrm>
            <a:off x="3105195" y="2526005"/>
            <a:ext cx="1050753" cy="43848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900">
                <a:solidFill>
                  <a:schemeClr val="bg1"/>
                </a:solidFill>
              </a:rPr>
              <a:t>Roll out </a:t>
            </a:r>
            <a:endParaRPr lang="fr-FR" sz="900" i="1">
              <a:solidFill>
                <a:schemeClr val="bg1"/>
              </a:solidFill>
            </a:endParaRPr>
          </a:p>
        </p:txBody>
      </p:sp>
      <p:sp>
        <p:nvSpPr>
          <p:cNvPr id="139" name="Flèche : pentagone 52">
            <a:extLst>
              <a:ext uri="{FF2B5EF4-FFF2-40B4-BE49-F238E27FC236}">
                <a16:creationId xmlns:a16="http://schemas.microsoft.com/office/drawing/2014/main" id="{6230244D-35BF-E574-D903-864DEBC7E234}"/>
              </a:ext>
            </a:extLst>
          </p:cNvPr>
          <p:cNvSpPr/>
          <p:nvPr/>
        </p:nvSpPr>
        <p:spPr>
          <a:xfrm>
            <a:off x="4121487" y="2271892"/>
            <a:ext cx="1615354" cy="360000"/>
          </a:xfrm>
          <a:prstGeom prst="homePlate">
            <a:avLst/>
          </a:prstGeom>
          <a:solidFill>
            <a:schemeClr val="bg1"/>
          </a:solidFill>
          <a:ln w="9525" cap="rnd" cmpd="sng" algn="ctr">
            <a:solidFill>
              <a:srgbClr val="2C2C2C"/>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1050">
                <a:solidFill>
                  <a:srgbClr val="104B26"/>
                </a:solidFill>
              </a:rPr>
              <a:t>Follow up and </a:t>
            </a:r>
            <a:r>
              <a:rPr lang="fr-FR" sz="1050" err="1">
                <a:solidFill>
                  <a:srgbClr val="104B26"/>
                </a:solidFill>
              </a:rPr>
              <a:t>continous</a:t>
            </a:r>
            <a:r>
              <a:rPr lang="fr-FR" sz="1050">
                <a:solidFill>
                  <a:srgbClr val="104B26"/>
                </a:solidFill>
              </a:rPr>
              <a:t> </a:t>
            </a:r>
            <a:r>
              <a:rPr lang="fr-FR" sz="1050" err="1">
                <a:solidFill>
                  <a:srgbClr val="104B26"/>
                </a:solidFill>
              </a:rPr>
              <a:t>improvement</a:t>
            </a:r>
            <a:endParaRPr lang="fr-FR" sz="1200">
              <a:solidFill>
                <a:srgbClr val="104B26"/>
              </a:solidFill>
            </a:endParaRPr>
          </a:p>
        </p:txBody>
      </p:sp>
      <p:sp>
        <p:nvSpPr>
          <p:cNvPr id="140" name="Flèche : pentagone 52">
            <a:extLst>
              <a:ext uri="{FF2B5EF4-FFF2-40B4-BE49-F238E27FC236}">
                <a16:creationId xmlns:a16="http://schemas.microsoft.com/office/drawing/2014/main" id="{5EBD319C-E821-837C-450D-6C838B4D83D5}"/>
              </a:ext>
            </a:extLst>
          </p:cNvPr>
          <p:cNvSpPr/>
          <p:nvPr/>
        </p:nvSpPr>
        <p:spPr>
          <a:xfrm>
            <a:off x="4692342" y="3864468"/>
            <a:ext cx="1615354" cy="360000"/>
          </a:xfrm>
          <a:prstGeom prst="homePlate">
            <a:avLst/>
          </a:prstGeom>
          <a:solidFill>
            <a:schemeClr val="bg1"/>
          </a:solidFill>
          <a:ln w="9525" cap="rnd" cmpd="sng" algn="ctr">
            <a:solidFill>
              <a:srgbClr val="2C2C2C"/>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1050">
                <a:solidFill>
                  <a:srgbClr val="104B26"/>
                </a:solidFill>
              </a:rPr>
              <a:t>Follow up and </a:t>
            </a:r>
            <a:r>
              <a:rPr lang="fr-FR" sz="1050" err="1">
                <a:solidFill>
                  <a:srgbClr val="104B26"/>
                </a:solidFill>
              </a:rPr>
              <a:t>continous</a:t>
            </a:r>
            <a:r>
              <a:rPr lang="fr-FR" sz="1050">
                <a:solidFill>
                  <a:srgbClr val="104B26"/>
                </a:solidFill>
              </a:rPr>
              <a:t> </a:t>
            </a:r>
            <a:r>
              <a:rPr lang="fr-FR" sz="1050" err="1">
                <a:solidFill>
                  <a:srgbClr val="104B26"/>
                </a:solidFill>
              </a:rPr>
              <a:t>improvement</a:t>
            </a:r>
            <a:endParaRPr lang="fr-FR" sz="1200">
              <a:solidFill>
                <a:srgbClr val="104B26"/>
              </a:solidFill>
            </a:endParaRPr>
          </a:p>
        </p:txBody>
      </p:sp>
      <p:sp>
        <p:nvSpPr>
          <p:cNvPr id="141" name="ZoneTexte 140">
            <a:extLst>
              <a:ext uri="{FF2B5EF4-FFF2-40B4-BE49-F238E27FC236}">
                <a16:creationId xmlns:a16="http://schemas.microsoft.com/office/drawing/2014/main" id="{32F44DA2-B70E-D224-C36F-79F67B44BCA2}"/>
              </a:ext>
            </a:extLst>
          </p:cNvPr>
          <p:cNvSpPr txBox="1"/>
          <p:nvPr/>
        </p:nvSpPr>
        <p:spPr>
          <a:xfrm>
            <a:off x="10084180" y="2117088"/>
            <a:ext cx="1701579" cy="81262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1400" b="1">
                <a:solidFill>
                  <a:schemeClr val="tx1"/>
                </a:solidFill>
              </a:rPr>
              <a:t>10 </a:t>
            </a:r>
            <a:r>
              <a:rPr lang="fr-FR" sz="1400" b="1" err="1">
                <a:solidFill>
                  <a:schemeClr val="tx1"/>
                </a:solidFill>
              </a:rPr>
              <a:t>months</a:t>
            </a:r>
          </a:p>
          <a:p>
            <a:pPr algn="ctr"/>
            <a:r>
              <a:rPr lang="fr-FR" sz="1400" b="1">
                <a:solidFill>
                  <a:schemeClr val="tx1"/>
                </a:solidFill>
              </a:rPr>
              <a:t>FTE : 712,5 k€</a:t>
            </a:r>
          </a:p>
        </p:txBody>
      </p:sp>
      <p:sp>
        <p:nvSpPr>
          <p:cNvPr id="142" name="ZoneTexte 141">
            <a:extLst>
              <a:ext uri="{FF2B5EF4-FFF2-40B4-BE49-F238E27FC236}">
                <a16:creationId xmlns:a16="http://schemas.microsoft.com/office/drawing/2014/main" id="{AF6E413F-E282-4AAC-92D1-1A093444EFE9}"/>
              </a:ext>
            </a:extLst>
          </p:cNvPr>
          <p:cNvSpPr txBox="1"/>
          <p:nvPr/>
        </p:nvSpPr>
        <p:spPr>
          <a:xfrm>
            <a:off x="10084180" y="3315663"/>
            <a:ext cx="1701579" cy="81262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1400" b="1">
                <a:solidFill>
                  <a:schemeClr val="tx1"/>
                </a:solidFill>
              </a:rPr>
              <a:t>10 </a:t>
            </a:r>
            <a:r>
              <a:rPr lang="fr-FR" sz="1400" b="1" err="1">
                <a:solidFill>
                  <a:schemeClr val="tx1"/>
                </a:solidFill>
              </a:rPr>
              <a:t>months</a:t>
            </a:r>
          </a:p>
          <a:p>
            <a:pPr algn="ctr"/>
            <a:r>
              <a:rPr lang="fr-FR" sz="1400" b="1">
                <a:solidFill>
                  <a:schemeClr val="tx1"/>
                </a:solidFill>
              </a:rPr>
              <a:t>FTE : 712,5 k€</a:t>
            </a:r>
          </a:p>
        </p:txBody>
      </p:sp>
      <p:sp>
        <p:nvSpPr>
          <p:cNvPr id="143" name="ZoneTexte 142">
            <a:extLst>
              <a:ext uri="{FF2B5EF4-FFF2-40B4-BE49-F238E27FC236}">
                <a16:creationId xmlns:a16="http://schemas.microsoft.com/office/drawing/2014/main" id="{F7359886-FDE7-9A87-E97C-DB08B8B72184}"/>
              </a:ext>
            </a:extLst>
          </p:cNvPr>
          <p:cNvSpPr txBox="1"/>
          <p:nvPr/>
        </p:nvSpPr>
        <p:spPr>
          <a:xfrm>
            <a:off x="10084180" y="4577369"/>
            <a:ext cx="1701579" cy="81262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1400" b="1">
                <a:solidFill>
                  <a:schemeClr val="tx1"/>
                </a:solidFill>
              </a:rPr>
              <a:t>14 </a:t>
            </a:r>
            <a:r>
              <a:rPr lang="fr-FR" sz="1400" b="1" err="1">
                <a:solidFill>
                  <a:schemeClr val="tx1"/>
                </a:solidFill>
              </a:rPr>
              <a:t>months</a:t>
            </a:r>
          </a:p>
          <a:p>
            <a:pPr algn="ctr"/>
            <a:r>
              <a:rPr lang="fr-FR" sz="1400" b="1">
                <a:solidFill>
                  <a:schemeClr val="tx1"/>
                </a:solidFill>
              </a:rPr>
              <a:t>FTE : 881 k€</a:t>
            </a:r>
          </a:p>
          <a:p>
            <a:pPr algn="ctr"/>
            <a:endParaRPr lang="fr-FR" sz="1400" b="1">
              <a:solidFill>
                <a:schemeClr val="tx1"/>
              </a:solidFill>
            </a:endParaRPr>
          </a:p>
        </p:txBody>
      </p:sp>
      <p:sp>
        <p:nvSpPr>
          <p:cNvPr id="144" name="ee4pFootnotes">
            <a:extLst>
              <a:ext uri="{FF2B5EF4-FFF2-40B4-BE49-F238E27FC236}">
                <a16:creationId xmlns:a16="http://schemas.microsoft.com/office/drawing/2014/main" id="{7FBABEAF-5440-5E72-332D-8DF18F333C96}"/>
              </a:ext>
            </a:extLst>
          </p:cNvPr>
          <p:cNvSpPr>
            <a:spLocks noChangeArrowheads="1"/>
          </p:cNvSpPr>
          <p:nvPr/>
        </p:nvSpPr>
        <p:spPr bwMode="auto">
          <a:xfrm>
            <a:off x="628650" y="6438811"/>
            <a:ext cx="903091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a:solidFill>
                  <a:schemeClr val="bg1">
                    <a:lumMod val="50000"/>
                  </a:schemeClr>
                </a:solidFill>
                <a:latin typeface="Trebuchet MS" panose="020B0603020202020204" pitchFamily="34" charset="0"/>
                <a:cs typeface="Arial" pitchFamily="34" charset="0"/>
              </a:rPr>
              <a:t>Source : </a:t>
            </a:r>
            <a:r>
              <a:rPr lang="en-US" sz="1000" err="1">
                <a:solidFill>
                  <a:schemeClr val="bg1">
                    <a:lumMod val="50000"/>
                  </a:schemeClr>
                </a:solidFill>
                <a:latin typeface="Trebuchet MS" panose="020B0603020202020204" pitchFamily="34" charset="0"/>
                <a:cs typeface="Arial" pitchFamily="34" charset="0"/>
              </a:rPr>
              <a:t>ClientCo’s</a:t>
            </a:r>
            <a:r>
              <a:rPr lang="en-US" sz="1000">
                <a:solidFill>
                  <a:schemeClr val="bg1">
                    <a:lumMod val="50000"/>
                  </a:schemeClr>
                </a:solidFill>
                <a:latin typeface="Trebuchet MS" panose="020B0603020202020204" pitchFamily="34" charset="0"/>
                <a:cs typeface="Arial" pitchFamily="34" charset="0"/>
              </a:rPr>
              <a:t> Data and Interviews, BCG studies</a:t>
            </a:r>
          </a:p>
        </p:txBody>
      </p:sp>
      <p:sp>
        <p:nvSpPr>
          <p:cNvPr id="145" name="Flèche : pentagone 52">
            <a:extLst>
              <a:ext uri="{FF2B5EF4-FFF2-40B4-BE49-F238E27FC236}">
                <a16:creationId xmlns:a16="http://schemas.microsoft.com/office/drawing/2014/main" id="{B20FAB56-77E4-B331-F9A3-D56DE6BFC202}"/>
              </a:ext>
            </a:extLst>
          </p:cNvPr>
          <p:cNvSpPr/>
          <p:nvPr/>
        </p:nvSpPr>
        <p:spPr>
          <a:xfrm>
            <a:off x="8389141" y="3001684"/>
            <a:ext cx="1615354" cy="360000"/>
          </a:xfrm>
          <a:prstGeom prst="homePlate">
            <a:avLst/>
          </a:prstGeom>
          <a:solidFill>
            <a:schemeClr val="bg1"/>
          </a:solidFill>
          <a:ln w="9525" cap="rnd" cmpd="sng" algn="ctr">
            <a:solidFill>
              <a:srgbClr val="2C2C2C"/>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spc="-5" err="1">
                <a:solidFill>
                  <a:srgbClr val="373739"/>
                </a:solidFill>
                <a:latin typeface="Trebuchet MS"/>
              </a:rPr>
              <a:t>Digitalisation</a:t>
            </a:r>
            <a:r>
              <a:rPr lang="en-US" sz="1050" spc="-5">
                <a:solidFill>
                  <a:srgbClr val="373739"/>
                </a:solidFill>
                <a:latin typeface="Trebuchet MS"/>
              </a:rPr>
              <a:t> of </a:t>
            </a:r>
            <a:r>
              <a:rPr lang="en-US" sz="1200" spc="-5">
                <a:solidFill>
                  <a:srgbClr val="373739"/>
                </a:solidFill>
                <a:latin typeface="Trebuchet MS"/>
              </a:rPr>
              <a:t>the </a:t>
            </a:r>
            <a:r>
              <a:rPr lang="en-US" sz="1050" spc="-5">
                <a:solidFill>
                  <a:srgbClr val="373739"/>
                </a:solidFill>
                <a:latin typeface="Trebuchet MS"/>
              </a:rPr>
              <a:t>customer relationship</a:t>
            </a:r>
            <a:endParaRPr lang="fr-FR" sz="1200">
              <a:solidFill>
                <a:srgbClr val="104B26"/>
              </a:solidFill>
            </a:endParaRPr>
          </a:p>
        </p:txBody>
      </p:sp>
    </p:spTree>
    <p:extLst>
      <p:ext uri="{BB962C8B-B14F-4D97-AF65-F5344CB8AC3E}">
        <p14:creationId xmlns:p14="http://schemas.microsoft.com/office/powerpoint/2010/main" val="63757025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9745" name="Diapositive think-cell" r:id="rId6" imgW="473" imgH="473" progId="TCLayout.ActiveDocument.1">
                  <p:embed/>
                </p:oleObj>
              </mc:Choice>
              <mc:Fallback>
                <p:oleObj name="Diapositive think-cell" r:id="rId6" imgW="473" imgH="473"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a:xfrm>
            <a:off x="630000" y="622800"/>
            <a:ext cx="10933350" cy="443198"/>
          </a:xfrm>
        </p:spPr>
        <p:txBody>
          <a:bodyPr vert="horz"/>
          <a:lstStyle/>
          <a:p>
            <a:r>
              <a:rPr lang="fr-FR" sz="3200" spc="-5" err="1">
                <a:solidFill>
                  <a:srgbClr val="20BE60"/>
                </a:solidFill>
              </a:rPr>
              <a:t>Churn</a:t>
            </a:r>
            <a:r>
              <a:rPr lang="fr-FR" sz="3200" spc="-5">
                <a:solidFill>
                  <a:srgbClr val="20BE60"/>
                </a:solidFill>
              </a:rPr>
              <a:t> </a:t>
            </a:r>
            <a:r>
              <a:rPr lang="fr-FR" sz="3200" spc="-5" err="1">
                <a:solidFill>
                  <a:srgbClr val="20BE60"/>
                </a:solidFill>
              </a:rPr>
              <a:t>Prediction</a:t>
            </a:r>
            <a:r>
              <a:rPr lang="fr-FR" sz="3200" spc="-5">
                <a:solidFill>
                  <a:srgbClr val="20BE60"/>
                </a:solidFill>
              </a:rPr>
              <a:t> enables </a:t>
            </a:r>
            <a:r>
              <a:rPr lang="fr-FR" sz="3200" spc="-5" err="1">
                <a:solidFill>
                  <a:srgbClr val="20BE60"/>
                </a:solidFill>
              </a:rPr>
              <a:t>preventive</a:t>
            </a:r>
            <a:r>
              <a:rPr lang="fr-FR" sz="3200" spc="-5">
                <a:solidFill>
                  <a:srgbClr val="20BE60"/>
                </a:solidFill>
              </a:rPr>
              <a:t> </a:t>
            </a:r>
            <a:r>
              <a:rPr lang="fr-FR" sz="3200" spc="-5" err="1">
                <a:solidFill>
                  <a:srgbClr val="20BE60"/>
                </a:solidFill>
              </a:rPr>
              <a:t>fidelisation</a:t>
            </a:r>
            <a:r>
              <a:rPr lang="fr-FR" sz="3200" spc="-5">
                <a:solidFill>
                  <a:srgbClr val="20BE60"/>
                </a:solidFill>
              </a:rPr>
              <a:t> actions</a:t>
            </a:r>
            <a:endParaRPr lang="en-US" sz="3200">
              <a:solidFill>
                <a:srgbClr val="00B050"/>
              </a:solidFill>
            </a:endParaRPr>
          </a:p>
        </p:txBody>
      </p:sp>
      <p:sp>
        <p:nvSpPr>
          <p:cNvPr id="7" name="ee4pFootnotes"/>
          <p:cNvSpPr>
            <a:spLocks noChangeArrowheads="1"/>
          </p:cNvSpPr>
          <p:nvPr/>
        </p:nvSpPr>
        <p:spPr bwMode="auto">
          <a:xfrm>
            <a:off x="628650" y="6438811"/>
            <a:ext cx="903091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a:solidFill>
                  <a:schemeClr val="bg1">
                    <a:lumMod val="50000"/>
                  </a:schemeClr>
                </a:solidFill>
                <a:latin typeface="Trebuchet MS" panose="020B0603020202020204" pitchFamily="34" charset="0"/>
                <a:cs typeface="Arial" pitchFamily="34" charset="0"/>
              </a:rPr>
              <a:t>Source : </a:t>
            </a:r>
            <a:r>
              <a:rPr lang="en-US" sz="1000" err="1">
                <a:solidFill>
                  <a:schemeClr val="bg1">
                    <a:lumMod val="50000"/>
                  </a:schemeClr>
                </a:solidFill>
                <a:latin typeface="Trebuchet MS" panose="020B0603020202020204" pitchFamily="34" charset="0"/>
                <a:cs typeface="Arial" pitchFamily="34" charset="0"/>
              </a:rPr>
              <a:t>ClientCo’s</a:t>
            </a:r>
            <a:r>
              <a:rPr lang="en-US" sz="1000">
                <a:solidFill>
                  <a:schemeClr val="bg1">
                    <a:lumMod val="50000"/>
                  </a:schemeClr>
                </a:solidFill>
                <a:latin typeface="Trebuchet MS" panose="020B0603020202020204" pitchFamily="34" charset="0"/>
                <a:cs typeface="Arial" pitchFamily="34" charset="0"/>
              </a:rPr>
              <a:t> Data, BCG studies</a:t>
            </a:r>
          </a:p>
        </p:txBody>
      </p:sp>
      <p:sp>
        <p:nvSpPr>
          <p:cNvPr id="2" name="object 20">
            <a:extLst>
              <a:ext uri="{FF2B5EF4-FFF2-40B4-BE49-F238E27FC236}">
                <a16:creationId xmlns:a16="http://schemas.microsoft.com/office/drawing/2014/main" id="{1E8042ED-5EE9-F3CB-4871-9C5823D439B9}"/>
              </a:ext>
            </a:extLst>
          </p:cNvPr>
          <p:cNvSpPr txBox="1"/>
          <p:nvPr/>
        </p:nvSpPr>
        <p:spPr>
          <a:xfrm>
            <a:off x="1741216" y="1957564"/>
            <a:ext cx="2079201" cy="320601"/>
          </a:xfrm>
          <a:prstGeom prst="rect">
            <a:avLst/>
          </a:prstGeom>
        </p:spPr>
        <p:txBody>
          <a:bodyPr vert="horz" wrap="square" lIns="0" tIns="12700" rIns="0" bIns="0" rtlCol="0">
            <a:spAutoFit/>
          </a:bodyPr>
          <a:lstStyle/>
          <a:p>
            <a:pPr marL="12700" algn="ctr">
              <a:lnSpc>
                <a:spcPct val="100000"/>
              </a:lnSpc>
              <a:spcBef>
                <a:spcPts val="100"/>
              </a:spcBef>
            </a:pPr>
            <a:r>
              <a:rPr lang="fr-FR" sz="2000" spc="15" err="1">
                <a:solidFill>
                  <a:srgbClr val="20BE60"/>
                </a:solidFill>
                <a:latin typeface="Trebuchet MS" panose="020B0703020202090204" pitchFamily="34" charset="0"/>
                <a:cs typeface="Microsoft Sans Serif"/>
              </a:rPr>
              <a:t>Churn</a:t>
            </a:r>
            <a:r>
              <a:rPr lang="fr-FR" sz="2000" spc="15">
                <a:solidFill>
                  <a:srgbClr val="20BE60"/>
                </a:solidFill>
                <a:latin typeface="Trebuchet MS" panose="020B0703020202090204" pitchFamily="34" charset="0"/>
                <a:cs typeface="Microsoft Sans Serif"/>
              </a:rPr>
              <a:t> </a:t>
            </a:r>
            <a:r>
              <a:rPr lang="fr-FR" sz="2000" spc="15" err="1">
                <a:solidFill>
                  <a:srgbClr val="20BE60"/>
                </a:solidFill>
                <a:latin typeface="Trebuchet MS" panose="020B0703020202090204" pitchFamily="34" charset="0"/>
                <a:cs typeface="Microsoft Sans Serif"/>
              </a:rPr>
              <a:t>definition</a:t>
            </a:r>
            <a:endParaRPr lang="fr-FR" sz="2000">
              <a:latin typeface="Trebuchet MS" panose="020B0703020202090204" pitchFamily="34" charset="0"/>
              <a:cs typeface="Microsoft Sans Serif"/>
            </a:endParaRPr>
          </a:p>
        </p:txBody>
      </p:sp>
      <p:sp>
        <p:nvSpPr>
          <p:cNvPr id="8" name="Rectangle 7">
            <a:extLst>
              <a:ext uri="{FF2B5EF4-FFF2-40B4-BE49-F238E27FC236}">
                <a16:creationId xmlns:a16="http://schemas.microsoft.com/office/drawing/2014/main" id="{CBDFB6D4-20D6-7EE7-C594-4EF91BC93601}"/>
              </a:ext>
            </a:extLst>
          </p:cNvPr>
          <p:cNvSpPr/>
          <p:nvPr/>
        </p:nvSpPr>
        <p:spPr>
          <a:xfrm>
            <a:off x="944491" y="2286150"/>
            <a:ext cx="3672650" cy="134778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a:solidFill>
                  <a:schemeClr val="accent1"/>
                </a:solidFill>
                <a:latin typeface="Trebuchet MS" panose="020B0603020202020204" pitchFamily="34" charset="0"/>
              </a:rPr>
              <a:t>Customers are considered as churners when they have not bought anything for </a:t>
            </a:r>
            <a:r>
              <a:rPr lang="en-US" sz="1600" b="1">
                <a:solidFill>
                  <a:srgbClr val="00B050"/>
                </a:solidFill>
                <a:latin typeface="Trebuchet MS" panose="020B0603020202020204" pitchFamily="34" charset="0"/>
              </a:rPr>
              <a:t>5 months</a:t>
            </a:r>
          </a:p>
        </p:txBody>
      </p:sp>
      <p:sp>
        <p:nvSpPr>
          <p:cNvPr id="9" name="object 20">
            <a:extLst>
              <a:ext uri="{FF2B5EF4-FFF2-40B4-BE49-F238E27FC236}">
                <a16:creationId xmlns:a16="http://schemas.microsoft.com/office/drawing/2014/main" id="{8DE5183E-0AE4-C3D9-6A4A-C0D09AD8B73E}"/>
              </a:ext>
            </a:extLst>
          </p:cNvPr>
          <p:cNvSpPr txBox="1"/>
          <p:nvPr/>
        </p:nvSpPr>
        <p:spPr>
          <a:xfrm>
            <a:off x="7329239" y="1949579"/>
            <a:ext cx="2079201" cy="320601"/>
          </a:xfrm>
          <a:prstGeom prst="rect">
            <a:avLst/>
          </a:prstGeom>
        </p:spPr>
        <p:txBody>
          <a:bodyPr vert="horz" wrap="square" lIns="0" tIns="12700" rIns="0" bIns="0" rtlCol="0">
            <a:spAutoFit/>
          </a:bodyPr>
          <a:lstStyle/>
          <a:p>
            <a:pPr marL="12700" algn="ctr">
              <a:lnSpc>
                <a:spcPct val="100000"/>
              </a:lnSpc>
              <a:spcBef>
                <a:spcPts val="100"/>
              </a:spcBef>
            </a:pPr>
            <a:r>
              <a:rPr lang="fr-FR" sz="2000" spc="15">
                <a:solidFill>
                  <a:srgbClr val="20BE60"/>
                </a:solidFill>
                <a:latin typeface="Trebuchet MS" panose="020B0703020202090204" pitchFamily="34" charset="0"/>
                <a:cs typeface="Microsoft Sans Serif"/>
              </a:rPr>
              <a:t>Model</a:t>
            </a:r>
            <a:endParaRPr lang="fr-FR" sz="2000">
              <a:latin typeface="Trebuchet MS" panose="020B0703020202090204" pitchFamily="34" charset="0"/>
              <a:cs typeface="Microsoft Sans Serif"/>
            </a:endParaRPr>
          </a:p>
        </p:txBody>
      </p:sp>
      <p:sp>
        <p:nvSpPr>
          <p:cNvPr id="10" name="Rectangle 9">
            <a:extLst>
              <a:ext uri="{FF2B5EF4-FFF2-40B4-BE49-F238E27FC236}">
                <a16:creationId xmlns:a16="http://schemas.microsoft.com/office/drawing/2014/main" id="{12207176-606E-5482-053F-38097FE2C967}"/>
              </a:ext>
            </a:extLst>
          </p:cNvPr>
          <p:cNvSpPr/>
          <p:nvPr/>
        </p:nvSpPr>
        <p:spPr>
          <a:xfrm>
            <a:off x="5082326" y="2278165"/>
            <a:ext cx="6573027" cy="134778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a:solidFill>
                  <a:schemeClr val="accent1"/>
                </a:solidFill>
                <a:latin typeface="Trebuchet MS" panose="020B0603020202020204" pitchFamily="34" charset="0"/>
              </a:rPr>
              <a:t>Create </a:t>
            </a:r>
            <a:r>
              <a:rPr lang="en-US" sz="1600" b="1">
                <a:solidFill>
                  <a:srgbClr val="00B050"/>
                </a:solidFill>
                <a:latin typeface="Trebuchet MS" panose="020B0603020202020204" pitchFamily="34" charset="0"/>
              </a:rPr>
              <a:t>client’s profile </a:t>
            </a:r>
            <a:r>
              <a:rPr lang="en-US" sz="1600">
                <a:solidFill>
                  <a:schemeClr val="accent1"/>
                </a:solidFill>
                <a:latin typeface="Trebuchet MS" panose="020B0603020202020204" pitchFamily="34" charset="0"/>
              </a:rPr>
              <a:t>to detect the potential of churn</a:t>
            </a:r>
          </a:p>
          <a:p>
            <a:pPr algn="ctr"/>
            <a:r>
              <a:rPr lang="en-US" sz="1600">
                <a:solidFill>
                  <a:schemeClr val="accent1"/>
                </a:solidFill>
                <a:latin typeface="Trebuchet MS" panose="020B0603020202020204" pitchFamily="34" charset="0"/>
              </a:rPr>
              <a:t>Find pertinent </a:t>
            </a:r>
            <a:r>
              <a:rPr lang="en-US" sz="1600" b="1">
                <a:solidFill>
                  <a:srgbClr val="00B050"/>
                </a:solidFill>
                <a:latin typeface="Trebuchet MS" panose="020B0603020202020204" pitchFamily="34" charset="0"/>
              </a:rPr>
              <a:t>features</a:t>
            </a:r>
            <a:r>
              <a:rPr lang="en-US" sz="1600">
                <a:solidFill>
                  <a:schemeClr val="accent1"/>
                </a:solidFill>
                <a:latin typeface="Trebuchet MS" panose="020B0603020202020204" pitchFamily="34" charset="0"/>
              </a:rPr>
              <a:t>: feature is an individual measurable property or characteristic of a phenomenon, e.g. frequency of commands</a:t>
            </a:r>
          </a:p>
        </p:txBody>
      </p:sp>
      <p:sp>
        <p:nvSpPr>
          <p:cNvPr id="16" name="object 20">
            <a:extLst>
              <a:ext uri="{FF2B5EF4-FFF2-40B4-BE49-F238E27FC236}">
                <a16:creationId xmlns:a16="http://schemas.microsoft.com/office/drawing/2014/main" id="{BDEB7DB0-CF7B-F459-1CEE-40C045FB5732}"/>
              </a:ext>
            </a:extLst>
          </p:cNvPr>
          <p:cNvSpPr txBox="1"/>
          <p:nvPr/>
        </p:nvSpPr>
        <p:spPr>
          <a:xfrm>
            <a:off x="1741216" y="4141795"/>
            <a:ext cx="2079201" cy="320601"/>
          </a:xfrm>
          <a:prstGeom prst="rect">
            <a:avLst/>
          </a:prstGeom>
        </p:spPr>
        <p:txBody>
          <a:bodyPr vert="horz" wrap="square" lIns="0" tIns="12700" rIns="0" bIns="0" rtlCol="0">
            <a:spAutoFit/>
          </a:bodyPr>
          <a:lstStyle/>
          <a:p>
            <a:pPr marL="12700" algn="ctr">
              <a:lnSpc>
                <a:spcPct val="100000"/>
              </a:lnSpc>
              <a:spcBef>
                <a:spcPts val="100"/>
              </a:spcBef>
            </a:pPr>
            <a:r>
              <a:rPr lang="fr-FR" sz="2000" spc="15" err="1">
                <a:solidFill>
                  <a:srgbClr val="20BE60"/>
                </a:solidFill>
                <a:latin typeface="Trebuchet MS" panose="020B0703020202090204" pitchFamily="34" charset="0"/>
                <a:cs typeface="Microsoft Sans Serif"/>
              </a:rPr>
              <a:t>Results</a:t>
            </a:r>
            <a:endParaRPr lang="fr-FR" sz="2000">
              <a:latin typeface="Trebuchet MS" panose="020B0703020202090204" pitchFamily="34" charset="0"/>
              <a:cs typeface="Microsoft Sans Serif"/>
            </a:endParaRPr>
          </a:p>
        </p:txBody>
      </p:sp>
      <p:sp>
        <p:nvSpPr>
          <p:cNvPr id="18" name="Rectangle 17">
            <a:extLst>
              <a:ext uri="{FF2B5EF4-FFF2-40B4-BE49-F238E27FC236}">
                <a16:creationId xmlns:a16="http://schemas.microsoft.com/office/drawing/2014/main" id="{0594E00F-E7FF-C3E0-A45F-231B57C99B63}"/>
              </a:ext>
            </a:extLst>
          </p:cNvPr>
          <p:cNvSpPr/>
          <p:nvPr/>
        </p:nvSpPr>
        <p:spPr>
          <a:xfrm>
            <a:off x="944491" y="4470381"/>
            <a:ext cx="3672650" cy="134778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b="1">
                <a:solidFill>
                  <a:srgbClr val="00B050"/>
                </a:solidFill>
                <a:latin typeface="Trebuchet MS" panose="020B0603020202020204" pitchFamily="34" charset="0"/>
              </a:rPr>
              <a:t>88% of churners detected</a:t>
            </a:r>
          </a:p>
          <a:p>
            <a:pPr algn="ctr"/>
            <a:r>
              <a:rPr lang="en-US" sz="1600">
                <a:solidFill>
                  <a:schemeClr val="accent1"/>
                </a:solidFill>
                <a:latin typeface="Trebuchet MS" panose="020B0603020202020204" pitchFamily="34" charset="0"/>
              </a:rPr>
              <a:t>We have decided to detect too many customers to be sure not to miss any churners</a:t>
            </a:r>
          </a:p>
        </p:txBody>
      </p:sp>
      <p:sp>
        <p:nvSpPr>
          <p:cNvPr id="19" name="object 20">
            <a:extLst>
              <a:ext uri="{FF2B5EF4-FFF2-40B4-BE49-F238E27FC236}">
                <a16:creationId xmlns:a16="http://schemas.microsoft.com/office/drawing/2014/main" id="{8D1D59FC-1104-D207-AE18-6A3B3873768F}"/>
              </a:ext>
            </a:extLst>
          </p:cNvPr>
          <p:cNvSpPr txBox="1"/>
          <p:nvPr/>
        </p:nvSpPr>
        <p:spPr>
          <a:xfrm>
            <a:off x="7329239" y="4141795"/>
            <a:ext cx="2079201" cy="320601"/>
          </a:xfrm>
          <a:prstGeom prst="rect">
            <a:avLst/>
          </a:prstGeom>
        </p:spPr>
        <p:txBody>
          <a:bodyPr vert="horz" wrap="square" lIns="0" tIns="12700" rIns="0" bIns="0" rtlCol="0">
            <a:spAutoFit/>
          </a:bodyPr>
          <a:lstStyle/>
          <a:p>
            <a:pPr marL="12700" algn="ctr">
              <a:lnSpc>
                <a:spcPct val="100000"/>
              </a:lnSpc>
              <a:spcBef>
                <a:spcPts val="100"/>
              </a:spcBef>
            </a:pPr>
            <a:r>
              <a:rPr lang="fr-FR" sz="2000" spc="15" err="1">
                <a:solidFill>
                  <a:srgbClr val="20BE60"/>
                </a:solidFill>
                <a:latin typeface="Trebuchet MS" panose="020B0703020202090204" pitchFamily="34" charset="0"/>
                <a:cs typeface="Microsoft Sans Serif"/>
              </a:rPr>
              <a:t>What’s</a:t>
            </a:r>
            <a:r>
              <a:rPr lang="fr-FR" sz="2000" spc="15">
                <a:solidFill>
                  <a:srgbClr val="20BE60"/>
                </a:solidFill>
                <a:latin typeface="Trebuchet MS" panose="020B0703020202090204" pitchFamily="34" charset="0"/>
                <a:cs typeface="Microsoft Sans Serif"/>
              </a:rPr>
              <a:t> </a:t>
            </a:r>
            <a:r>
              <a:rPr lang="fr-FR" sz="2000" spc="15" err="1">
                <a:solidFill>
                  <a:srgbClr val="20BE60"/>
                </a:solidFill>
                <a:latin typeface="Trebuchet MS" panose="020B0703020202090204" pitchFamily="34" charset="0"/>
                <a:cs typeface="Microsoft Sans Serif"/>
              </a:rPr>
              <a:t>next</a:t>
            </a:r>
            <a:r>
              <a:rPr lang="fr-FR" sz="2000" spc="15">
                <a:solidFill>
                  <a:srgbClr val="20BE60"/>
                </a:solidFill>
                <a:latin typeface="Trebuchet MS" panose="020B0703020202090204" pitchFamily="34" charset="0"/>
                <a:cs typeface="Microsoft Sans Serif"/>
              </a:rPr>
              <a:t> ?</a:t>
            </a:r>
          </a:p>
        </p:txBody>
      </p:sp>
      <p:sp>
        <p:nvSpPr>
          <p:cNvPr id="20" name="Rectangle 19">
            <a:extLst>
              <a:ext uri="{FF2B5EF4-FFF2-40B4-BE49-F238E27FC236}">
                <a16:creationId xmlns:a16="http://schemas.microsoft.com/office/drawing/2014/main" id="{56F5AEED-7502-7789-DD04-566276A037C7}"/>
              </a:ext>
            </a:extLst>
          </p:cNvPr>
          <p:cNvSpPr/>
          <p:nvPr/>
        </p:nvSpPr>
        <p:spPr>
          <a:xfrm>
            <a:off x="5082326" y="4470381"/>
            <a:ext cx="6573026" cy="134778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a:solidFill>
                  <a:schemeClr val="accent1"/>
                </a:solidFill>
                <a:latin typeface="Trebuchet MS" panose="020B0603020202020204" pitchFamily="34" charset="0"/>
              </a:rPr>
              <a:t>Improve the model with more precise features: understand the customer journey, the blocking points, analyze the products, …</a:t>
            </a:r>
          </a:p>
          <a:p>
            <a:pPr algn="ctr"/>
            <a:r>
              <a:rPr lang="en-US" sz="1600">
                <a:solidFill>
                  <a:schemeClr val="accent1"/>
                </a:solidFill>
                <a:latin typeface="Trebuchet MS" panose="020B0603020202020204" pitchFamily="34" charset="0"/>
              </a:rPr>
              <a:t>Implement the algorithm over all data of all stores and clients</a:t>
            </a:r>
          </a:p>
          <a:p>
            <a:pPr algn="ctr"/>
            <a:r>
              <a:rPr lang="en-US" sz="1600">
                <a:solidFill>
                  <a:schemeClr val="accent1"/>
                </a:solidFill>
                <a:latin typeface="Trebuchet MS" panose="020B0603020202020204" pitchFamily="34" charset="0"/>
              </a:rPr>
              <a:t>Roll out: create automatic end-to-end pipeline to prevent churn</a:t>
            </a:r>
          </a:p>
        </p:txBody>
      </p:sp>
      <p:cxnSp>
        <p:nvCxnSpPr>
          <p:cNvPr id="27" name="Connecteur droit 26">
            <a:extLst>
              <a:ext uri="{FF2B5EF4-FFF2-40B4-BE49-F238E27FC236}">
                <a16:creationId xmlns:a16="http://schemas.microsoft.com/office/drawing/2014/main" id="{71A65460-93D6-9541-E714-6B34216EDCF0}"/>
              </a:ext>
            </a:extLst>
          </p:cNvPr>
          <p:cNvCxnSpPr>
            <a:cxnSpLocks/>
          </p:cNvCxnSpPr>
          <p:nvPr/>
        </p:nvCxnSpPr>
        <p:spPr>
          <a:xfrm flipH="1">
            <a:off x="4862762" y="1957564"/>
            <a:ext cx="29698" cy="3987799"/>
          </a:xfrm>
          <a:prstGeom prst="line">
            <a:avLst/>
          </a:prstGeom>
          <a:ln w="15875" cap="flat" cmpd="sng" algn="ctr">
            <a:solidFill>
              <a:srgbClr val="20BE6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8" name="Connecteur droit 26">
            <a:extLst>
              <a:ext uri="{FF2B5EF4-FFF2-40B4-BE49-F238E27FC236}">
                <a16:creationId xmlns:a16="http://schemas.microsoft.com/office/drawing/2014/main" id="{1BFA05DB-7FEC-6755-81EC-4467B6C293E1}"/>
              </a:ext>
            </a:extLst>
          </p:cNvPr>
          <p:cNvCxnSpPr>
            <a:cxnSpLocks/>
          </p:cNvCxnSpPr>
          <p:nvPr/>
        </p:nvCxnSpPr>
        <p:spPr>
          <a:xfrm>
            <a:off x="628650" y="3812349"/>
            <a:ext cx="10934700" cy="0"/>
          </a:xfrm>
          <a:prstGeom prst="line">
            <a:avLst/>
          </a:prstGeom>
          <a:ln w="15875" cap="flat" cmpd="sng" algn="ctr">
            <a:solidFill>
              <a:srgbClr val="20BE6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pic>
        <p:nvPicPr>
          <p:cNvPr id="32" name="Graphic 31" descr="Presentation with pie chart with solid fill">
            <a:extLst>
              <a:ext uri="{FF2B5EF4-FFF2-40B4-BE49-F238E27FC236}">
                <a16:creationId xmlns:a16="http://schemas.microsoft.com/office/drawing/2014/main" id="{BF5EF5CC-51B8-3387-E08E-1D45375A11A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93216" y="4014935"/>
            <a:ext cx="648000" cy="648000"/>
          </a:xfrm>
          <a:prstGeom prst="rect">
            <a:avLst/>
          </a:prstGeom>
        </p:spPr>
      </p:pic>
      <p:pic>
        <p:nvPicPr>
          <p:cNvPr id="34" name="Graphic 33" descr="End with solid fill">
            <a:extLst>
              <a:ext uri="{FF2B5EF4-FFF2-40B4-BE49-F238E27FC236}">
                <a16:creationId xmlns:a16="http://schemas.microsoft.com/office/drawing/2014/main" id="{A2309548-70D5-B868-3A22-5A697187EBC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385142" y="4014935"/>
            <a:ext cx="648000" cy="648000"/>
          </a:xfrm>
          <a:prstGeom prst="rect">
            <a:avLst/>
          </a:prstGeom>
        </p:spPr>
      </p:pic>
      <p:pic>
        <p:nvPicPr>
          <p:cNvPr id="36" name="Graphic 35" descr="Rating with solid fill">
            <a:extLst>
              <a:ext uri="{FF2B5EF4-FFF2-40B4-BE49-F238E27FC236}">
                <a16:creationId xmlns:a16="http://schemas.microsoft.com/office/drawing/2014/main" id="{56B6A502-1B33-8C0D-EECE-C310576F4B61}"/>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093216" y="1836150"/>
            <a:ext cx="648000" cy="648000"/>
          </a:xfrm>
          <a:prstGeom prst="rect">
            <a:avLst/>
          </a:prstGeom>
        </p:spPr>
      </p:pic>
      <p:pic>
        <p:nvPicPr>
          <p:cNvPr id="38" name="Graphic 37" descr="Target Audience with solid fill">
            <a:extLst>
              <a:ext uri="{FF2B5EF4-FFF2-40B4-BE49-F238E27FC236}">
                <a16:creationId xmlns:a16="http://schemas.microsoft.com/office/drawing/2014/main" id="{0DEED0C7-B6F1-B342-A2D8-DF87B8B3333D}"/>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6385142" y="1785879"/>
            <a:ext cx="648000" cy="648000"/>
          </a:xfrm>
          <a:prstGeom prst="rect">
            <a:avLst/>
          </a:prstGeom>
        </p:spPr>
      </p:pic>
    </p:spTree>
    <p:extLst>
      <p:ext uri="{BB962C8B-B14F-4D97-AF65-F5344CB8AC3E}">
        <p14:creationId xmlns:p14="http://schemas.microsoft.com/office/powerpoint/2010/main" val="297101453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1793" name="Diapositive think-cell" r:id="rId6" imgW="473" imgH="473" progId="TCLayout.ActiveDocument.1">
                  <p:embed/>
                </p:oleObj>
              </mc:Choice>
              <mc:Fallback>
                <p:oleObj name="Diapositive think-cell" r:id="rId6" imgW="473" imgH="473"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a:xfrm>
            <a:off x="630000" y="622800"/>
            <a:ext cx="11562000" cy="443198"/>
          </a:xfrm>
          <a:ln>
            <a:noFill/>
          </a:ln>
        </p:spPr>
        <p:txBody>
          <a:bodyPr vert="horz"/>
          <a:lstStyle/>
          <a:p>
            <a:r>
              <a:rPr lang="fr-FR" sz="3200" spc="-5">
                <a:solidFill>
                  <a:srgbClr val="20BE60"/>
                </a:solidFill>
              </a:rPr>
              <a:t>In 2018, </a:t>
            </a:r>
            <a:r>
              <a:rPr lang="fr-FR" sz="3200" spc="-5" err="1">
                <a:solidFill>
                  <a:srgbClr val="20BE60"/>
                </a:solidFill>
              </a:rPr>
              <a:t>churn</a:t>
            </a:r>
            <a:r>
              <a:rPr lang="fr-FR" sz="3200" spc="-5">
                <a:solidFill>
                  <a:srgbClr val="20BE60"/>
                </a:solidFill>
              </a:rPr>
              <a:t> </a:t>
            </a:r>
            <a:r>
              <a:rPr lang="fr-FR" sz="3200" spc="-5" err="1">
                <a:solidFill>
                  <a:srgbClr val="20BE60"/>
                </a:solidFill>
              </a:rPr>
              <a:t>prediction</a:t>
            </a:r>
            <a:r>
              <a:rPr lang="fr-FR" sz="3200" spc="-5">
                <a:solidFill>
                  <a:srgbClr val="20BE60"/>
                </a:solidFill>
              </a:rPr>
              <a:t> </a:t>
            </a:r>
            <a:r>
              <a:rPr lang="fr-FR" sz="3200" spc="-5" err="1">
                <a:solidFill>
                  <a:srgbClr val="20BE60"/>
                </a:solidFill>
              </a:rPr>
              <a:t>would</a:t>
            </a:r>
            <a:r>
              <a:rPr lang="fr-FR" sz="3200" spc="-5">
                <a:solidFill>
                  <a:srgbClr val="20BE60"/>
                </a:solidFill>
              </a:rPr>
              <a:t> have made a net profit gain of 20M€  </a:t>
            </a:r>
            <a:endParaRPr lang="en-US" sz="3200">
              <a:solidFill>
                <a:srgbClr val="00B050"/>
              </a:solidFill>
            </a:endParaRPr>
          </a:p>
        </p:txBody>
      </p:sp>
      <p:sp>
        <p:nvSpPr>
          <p:cNvPr id="7" name="ee4pFootnotes"/>
          <p:cNvSpPr>
            <a:spLocks noChangeArrowheads="1"/>
          </p:cNvSpPr>
          <p:nvPr/>
        </p:nvSpPr>
        <p:spPr bwMode="auto">
          <a:xfrm>
            <a:off x="628650" y="6438811"/>
            <a:ext cx="903091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a:solidFill>
                  <a:schemeClr val="bg1">
                    <a:lumMod val="50000"/>
                  </a:schemeClr>
                </a:solidFill>
                <a:latin typeface="Trebuchet MS" panose="020B0603020202020204" pitchFamily="34" charset="0"/>
                <a:cs typeface="Arial" pitchFamily="34" charset="0"/>
              </a:rPr>
              <a:t>Source : </a:t>
            </a:r>
            <a:r>
              <a:rPr lang="en-US" sz="1000" err="1">
                <a:solidFill>
                  <a:schemeClr val="bg1">
                    <a:lumMod val="50000"/>
                  </a:schemeClr>
                </a:solidFill>
                <a:latin typeface="Trebuchet MS" panose="020B0603020202020204" pitchFamily="34" charset="0"/>
                <a:cs typeface="Arial" pitchFamily="34" charset="0"/>
              </a:rPr>
              <a:t>ClientCo’s</a:t>
            </a:r>
            <a:r>
              <a:rPr lang="en-US" sz="1000">
                <a:solidFill>
                  <a:schemeClr val="bg1">
                    <a:lumMod val="50000"/>
                  </a:schemeClr>
                </a:solidFill>
                <a:latin typeface="Trebuchet MS" panose="020B0603020202020204" pitchFamily="34" charset="0"/>
                <a:cs typeface="Arial" pitchFamily="34" charset="0"/>
              </a:rPr>
              <a:t> Data, BCG studies</a:t>
            </a:r>
          </a:p>
        </p:txBody>
      </p:sp>
      <p:sp>
        <p:nvSpPr>
          <p:cNvPr id="6" name="Rectangle : coins arrondis 5">
            <a:extLst>
              <a:ext uri="{FF2B5EF4-FFF2-40B4-BE49-F238E27FC236}">
                <a16:creationId xmlns:a16="http://schemas.microsoft.com/office/drawing/2014/main" id="{D57D9CC3-9F20-4817-0E51-4729F2EF5B61}"/>
              </a:ext>
            </a:extLst>
          </p:cNvPr>
          <p:cNvSpPr/>
          <p:nvPr/>
        </p:nvSpPr>
        <p:spPr>
          <a:xfrm>
            <a:off x="674370" y="5030532"/>
            <a:ext cx="11334989" cy="1351077"/>
          </a:xfrm>
          <a:prstGeom prst="round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fr-FR" sz="1600">
              <a:solidFill>
                <a:schemeClr val="accent1"/>
              </a:solidFill>
              <a:latin typeface="Trebuchet MS" panose="020B0603020202020204" pitchFamily="34" charset="0"/>
            </a:endParaRPr>
          </a:p>
        </p:txBody>
      </p:sp>
      <p:sp>
        <p:nvSpPr>
          <p:cNvPr id="16" name="object 3">
            <a:extLst>
              <a:ext uri="{FF2B5EF4-FFF2-40B4-BE49-F238E27FC236}">
                <a16:creationId xmlns:a16="http://schemas.microsoft.com/office/drawing/2014/main" id="{C5A6110A-4A5D-4D98-6C7D-0F21CDE245DB}"/>
              </a:ext>
            </a:extLst>
          </p:cNvPr>
          <p:cNvSpPr txBox="1"/>
          <p:nvPr/>
        </p:nvSpPr>
        <p:spPr>
          <a:xfrm>
            <a:off x="3546476" y="2472632"/>
            <a:ext cx="2417230" cy="548868"/>
          </a:xfrm>
          <a:prstGeom prst="rect">
            <a:avLst/>
          </a:prstGeom>
        </p:spPr>
        <p:txBody>
          <a:bodyPr vert="horz" wrap="square" lIns="0" tIns="12700" rIns="0" bIns="0" rtlCol="0">
            <a:spAutoFit/>
          </a:bodyPr>
          <a:lstStyle/>
          <a:p>
            <a:pPr marL="12700" algn="ctr">
              <a:lnSpc>
                <a:spcPct val="100000"/>
              </a:lnSpc>
              <a:spcBef>
                <a:spcPts val="100"/>
              </a:spcBef>
              <a:buClr>
                <a:srgbClr val="9A9CA1"/>
              </a:buClr>
              <a:tabLst>
                <a:tab pos="226060" algn="l"/>
              </a:tabLst>
            </a:pPr>
            <a:r>
              <a:rPr lang="en-US" b="1" spc="-5">
                <a:solidFill>
                  <a:srgbClr val="00B050"/>
                </a:solidFill>
                <a:latin typeface="Trebuchet MS"/>
              </a:rPr>
              <a:t>100 000 churners</a:t>
            </a:r>
          </a:p>
          <a:p>
            <a:pPr marL="12700" algn="ctr">
              <a:lnSpc>
                <a:spcPct val="100000"/>
              </a:lnSpc>
              <a:spcBef>
                <a:spcPts val="100"/>
              </a:spcBef>
              <a:buClr>
                <a:srgbClr val="9A9CA1"/>
              </a:buClr>
              <a:tabLst>
                <a:tab pos="226060" algn="l"/>
              </a:tabLst>
            </a:pPr>
            <a:r>
              <a:rPr lang="en-US" sz="1600" spc="-5">
                <a:solidFill>
                  <a:srgbClr val="373739"/>
                </a:solidFill>
                <a:latin typeface="Trebuchet MS"/>
              </a:rPr>
              <a:t>1/4 of customer base</a:t>
            </a:r>
          </a:p>
        </p:txBody>
      </p:sp>
      <p:sp>
        <p:nvSpPr>
          <p:cNvPr id="34" name="Rectangle : coins arrondis 33">
            <a:extLst>
              <a:ext uri="{FF2B5EF4-FFF2-40B4-BE49-F238E27FC236}">
                <a16:creationId xmlns:a16="http://schemas.microsoft.com/office/drawing/2014/main" id="{BD65BB84-D09A-51DC-ECC2-A903E1A87978}"/>
              </a:ext>
            </a:extLst>
          </p:cNvPr>
          <p:cNvSpPr/>
          <p:nvPr/>
        </p:nvSpPr>
        <p:spPr>
          <a:xfrm>
            <a:off x="7251593" y="3445872"/>
            <a:ext cx="3220371" cy="982262"/>
          </a:xfrm>
          <a:prstGeom prst="round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2700" algn="ctr">
              <a:lnSpc>
                <a:spcPct val="100000"/>
              </a:lnSpc>
              <a:spcBef>
                <a:spcPts val="100"/>
              </a:spcBef>
              <a:buClr>
                <a:srgbClr val="9A9CA1"/>
              </a:buClr>
              <a:tabLst>
                <a:tab pos="226060" algn="l"/>
              </a:tabLst>
            </a:pPr>
            <a:r>
              <a:rPr lang="en-US" b="1" spc="-5">
                <a:solidFill>
                  <a:srgbClr val="00B050"/>
                </a:solidFill>
                <a:latin typeface="Trebuchet MS"/>
              </a:rPr>
              <a:t>168M</a:t>
            </a:r>
            <a:r>
              <a:rPr lang="en-US" b="1" spc="-5">
                <a:solidFill>
                  <a:srgbClr val="00B050"/>
                </a:solidFill>
                <a:latin typeface="Trebuchet MS" panose="020B0703020202090204" pitchFamily="34" charset="0"/>
              </a:rPr>
              <a:t>€ Revenue growth</a:t>
            </a:r>
          </a:p>
          <a:p>
            <a:pPr algn="ctr"/>
            <a:r>
              <a:rPr lang="fr-FR" sz="1600">
                <a:solidFill>
                  <a:schemeClr val="accent1"/>
                </a:solidFill>
                <a:latin typeface="Trebuchet MS" panose="020B0603020202020204" pitchFamily="34" charset="0"/>
              </a:rPr>
              <a:t>+20M€ Net </a:t>
            </a:r>
            <a:r>
              <a:rPr lang="fr-FR" sz="1600" err="1">
                <a:solidFill>
                  <a:schemeClr val="accent1"/>
                </a:solidFill>
                <a:latin typeface="Trebuchet MS" panose="020B0603020202020204" pitchFamily="34" charset="0"/>
              </a:rPr>
              <a:t>Income</a:t>
            </a:r>
            <a:endParaRPr lang="fr-FR" sz="1600">
              <a:solidFill>
                <a:schemeClr val="accent1"/>
              </a:solidFill>
              <a:latin typeface="Trebuchet MS" panose="020B0603020202020204" pitchFamily="34" charset="0"/>
            </a:endParaRPr>
          </a:p>
        </p:txBody>
      </p:sp>
      <p:sp>
        <p:nvSpPr>
          <p:cNvPr id="25" name="object 3">
            <a:extLst>
              <a:ext uri="{FF2B5EF4-FFF2-40B4-BE49-F238E27FC236}">
                <a16:creationId xmlns:a16="http://schemas.microsoft.com/office/drawing/2014/main" id="{0F87EE8A-36F5-ADDD-FEB8-AEABF04D2BB8}"/>
              </a:ext>
            </a:extLst>
          </p:cNvPr>
          <p:cNvSpPr txBox="1"/>
          <p:nvPr/>
        </p:nvSpPr>
        <p:spPr>
          <a:xfrm>
            <a:off x="7653164" y="2472632"/>
            <a:ext cx="2417230" cy="548868"/>
          </a:xfrm>
          <a:prstGeom prst="rect">
            <a:avLst/>
          </a:prstGeom>
        </p:spPr>
        <p:txBody>
          <a:bodyPr vert="horz" wrap="square" lIns="0" tIns="12700" rIns="0" bIns="0" rtlCol="0">
            <a:spAutoFit/>
          </a:bodyPr>
          <a:lstStyle/>
          <a:p>
            <a:pPr marL="12700" algn="ctr">
              <a:lnSpc>
                <a:spcPct val="100000"/>
              </a:lnSpc>
              <a:spcBef>
                <a:spcPts val="100"/>
              </a:spcBef>
              <a:buClr>
                <a:srgbClr val="9A9CA1"/>
              </a:buClr>
              <a:tabLst>
                <a:tab pos="226060" algn="l"/>
              </a:tabLst>
            </a:pPr>
            <a:r>
              <a:rPr lang="en-US" b="1" spc="-5">
                <a:solidFill>
                  <a:srgbClr val="00B050"/>
                </a:solidFill>
                <a:latin typeface="Trebuchet MS"/>
              </a:rPr>
              <a:t>840M</a:t>
            </a:r>
            <a:r>
              <a:rPr lang="en-US" b="1" spc="-5">
                <a:solidFill>
                  <a:srgbClr val="00B050"/>
                </a:solidFill>
                <a:latin typeface="Trebuchet MS" panose="020B0703020202090204" pitchFamily="34" charset="0"/>
              </a:rPr>
              <a:t>€ of loss of sales</a:t>
            </a:r>
          </a:p>
          <a:p>
            <a:pPr marL="12700" algn="ctr">
              <a:lnSpc>
                <a:spcPct val="100000"/>
              </a:lnSpc>
              <a:spcBef>
                <a:spcPts val="100"/>
              </a:spcBef>
              <a:buClr>
                <a:srgbClr val="9A9CA1"/>
              </a:buClr>
              <a:tabLst>
                <a:tab pos="226060" algn="l"/>
              </a:tabLst>
            </a:pPr>
            <a:r>
              <a:rPr lang="en-US" sz="1600" spc="-5">
                <a:solidFill>
                  <a:srgbClr val="373739"/>
                </a:solidFill>
                <a:latin typeface="Trebuchet MS"/>
              </a:rPr>
              <a:t>5,4% of total turnover</a:t>
            </a:r>
          </a:p>
        </p:txBody>
      </p:sp>
      <p:pic>
        <p:nvPicPr>
          <p:cNvPr id="37" name="Graphique 36" descr="Argent volant contour">
            <a:extLst>
              <a:ext uri="{FF2B5EF4-FFF2-40B4-BE49-F238E27FC236}">
                <a16:creationId xmlns:a16="http://schemas.microsoft.com/office/drawing/2014/main" id="{6C5698A2-C870-525D-B990-A0F3A95BB30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503567" y="1358660"/>
            <a:ext cx="716421" cy="705632"/>
          </a:xfrm>
          <a:prstGeom prst="rect">
            <a:avLst/>
          </a:prstGeom>
        </p:spPr>
      </p:pic>
      <p:pic>
        <p:nvPicPr>
          <p:cNvPr id="39" name="Graphique 38" descr="Ne plus suivre contour">
            <a:extLst>
              <a:ext uri="{FF2B5EF4-FFF2-40B4-BE49-F238E27FC236}">
                <a16:creationId xmlns:a16="http://schemas.microsoft.com/office/drawing/2014/main" id="{65826B55-E1E6-8E2C-7620-90DD2CFAB47A}"/>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297891" y="1252809"/>
            <a:ext cx="914400" cy="914400"/>
          </a:xfrm>
          <a:prstGeom prst="rect">
            <a:avLst/>
          </a:prstGeom>
        </p:spPr>
      </p:pic>
      <p:sp>
        <p:nvSpPr>
          <p:cNvPr id="42" name="ZoneTexte 41">
            <a:extLst>
              <a:ext uri="{FF2B5EF4-FFF2-40B4-BE49-F238E27FC236}">
                <a16:creationId xmlns:a16="http://schemas.microsoft.com/office/drawing/2014/main" id="{10F0E999-F2FD-61C1-ED69-3340869C9146}"/>
              </a:ext>
            </a:extLst>
          </p:cNvPr>
          <p:cNvSpPr txBox="1"/>
          <p:nvPr/>
        </p:nvSpPr>
        <p:spPr>
          <a:xfrm>
            <a:off x="1139972" y="2274477"/>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fr-FR">
                <a:solidFill>
                  <a:srgbClr val="000000"/>
                </a:solidFill>
              </a:rPr>
              <a:t>2018 </a:t>
            </a:r>
          </a:p>
        </p:txBody>
      </p:sp>
      <p:sp>
        <p:nvSpPr>
          <p:cNvPr id="11" name="Rectangle : coins arrondis 10">
            <a:extLst>
              <a:ext uri="{FF2B5EF4-FFF2-40B4-BE49-F238E27FC236}">
                <a16:creationId xmlns:a16="http://schemas.microsoft.com/office/drawing/2014/main" id="{52854C10-4F5E-E109-BB31-726C4E09F4F6}"/>
              </a:ext>
            </a:extLst>
          </p:cNvPr>
          <p:cNvSpPr/>
          <p:nvPr/>
        </p:nvSpPr>
        <p:spPr>
          <a:xfrm>
            <a:off x="1139971" y="4843721"/>
            <a:ext cx="9745743" cy="1351077"/>
          </a:xfrm>
          <a:prstGeom prst="roundRect">
            <a:avLst/>
          </a:prstGeom>
          <a:solidFill>
            <a:srgbClr val="20BE6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200">
              <a:solidFill>
                <a:srgbClr val="FFFFFF"/>
              </a:solidFill>
            </a:endParaRPr>
          </a:p>
        </p:txBody>
      </p:sp>
      <p:sp>
        <p:nvSpPr>
          <p:cNvPr id="44" name="ZoneTexte 43">
            <a:extLst>
              <a:ext uri="{FF2B5EF4-FFF2-40B4-BE49-F238E27FC236}">
                <a16:creationId xmlns:a16="http://schemas.microsoft.com/office/drawing/2014/main" id="{468F0A68-EAD8-3F0C-BEE3-0F7936BED621}"/>
              </a:ext>
            </a:extLst>
          </p:cNvPr>
          <p:cNvSpPr txBox="1"/>
          <p:nvPr/>
        </p:nvSpPr>
        <p:spPr>
          <a:xfrm>
            <a:off x="1139972" y="3431364"/>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fr-FR" err="1">
                <a:solidFill>
                  <a:srgbClr val="000000"/>
                </a:solidFill>
              </a:rPr>
              <a:t>Churn</a:t>
            </a:r>
            <a:r>
              <a:rPr lang="fr-FR">
                <a:solidFill>
                  <a:srgbClr val="000000"/>
                </a:solidFill>
              </a:rPr>
              <a:t> </a:t>
            </a:r>
            <a:r>
              <a:rPr lang="fr-FR" err="1">
                <a:solidFill>
                  <a:srgbClr val="000000"/>
                </a:solidFill>
              </a:rPr>
              <a:t>prediction</a:t>
            </a:r>
            <a:endParaRPr lang="fr-FR">
              <a:solidFill>
                <a:srgbClr val="000000"/>
              </a:solidFill>
            </a:endParaRPr>
          </a:p>
          <a:p>
            <a:pPr algn="ctr"/>
            <a:r>
              <a:rPr lang="fr-FR" err="1">
                <a:solidFill>
                  <a:srgbClr val="000000"/>
                </a:solidFill>
              </a:rPr>
              <a:t>algorithm</a:t>
            </a:r>
            <a:endParaRPr lang="fr-FR">
              <a:solidFill>
                <a:srgbClr val="000000"/>
              </a:solidFill>
            </a:endParaRPr>
          </a:p>
        </p:txBody>
      </p:sp>
      <p:sp>
        <p:nvSpPr>
          <p:cNvPr id="12" name="ZoneTexte 11">
            <a:extLst>
              <a:ext uri="{FF2B5EF4-FFF2-40B4-BE49-F238E27FC236}">
                <a16:creationId xmlns:a16="http://schemas.microsoft.com/office/drawing/2014/main" id="{4D87CF9E-B677-111E-1719-0EEA7617B27A}"/>
              </a:ext>
            </a:extLst>
          </p:cNvPr>
          <p:cNvSpPr txBox="1"/>
          <p:nvPr/>
        </p:nvSpPr>
        <p:spPr>
          <a:xfrm>
            <a:off x="1307060" y="5221093"/>
            <a:ext cx="5039833" cy="8296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fr-FR" sz="1600" b="1">
                <a:solidFill>
                  <a:schemeClr val="accent1"/>
                </a:solidFill>
                <a:latin typeface="Trebuchet MS" panose="020B0603020202020204" pitchFamily="34" charset="0"/>
              </a:rPr>
              <a:t>Actions to </a:t>
            </a:r>
            <a:r>
              <a:rPr lang="fr-FR" sz="1600" b="1" err="1">
                <a:solidFill>
                  <a:schemeClr val="accent1"/>
                </a:solidFill>
                <a:latin typeface="Trebuchet MS" panose="020B0603020202020204" pitchFamily="34" charset="0"/>
              </a:rPr>
              <a:t>perform</a:t>
            </a:r>
            <a:r>
              <a:rPr lang="fr-FR" sz="1600" b="1">
                <a:solidFill>
                  <a:schemeClr val="accent1"/>
                </a:solidFill>
                <a:latin typeface="Trebuchet MS" panose="020B0603020202020204" pitchFamily="34" charset="0"/>
              </a:rPr>
              <a:t> to </a:t>
            </a:r>
            <a:r>
              <a:rPr lang="fr-FR" sz="1600" b="1" err="1">
                <a:solidFill>
                  <a:schemeClr val="accent1"/>
                </a:solidFill>
                <a:latin typeface="Trebuchet MS" panose="020B0603020202020204" pitchFamily="34" charset="0"/>
              </a:rPr>
              <a:t>avoid</a:t>
            </a:r>
            <a:r>
              <a:rPr lang="fr-FR" sz="1600" b="1">
                <a:solidFill>
                  <a:schemeClr val="accent1"/>
                </a:solidFill>
                <a:latin typeface="Trebuchet MS" panose="020B0603020202020204" pitchFamily="34" charset="0"/>
              </a:rPr>
              <a:t> client churning </a:t>
            </a:r>
            <a:r>
              <a:rPr lang="fr-FR" sz="1600">
                <a:solidFill>
                  <a:schemeClr val="accent1"/>
                </a:solidFill>
                <a:latin typeface="Trebuchet MS" panose="020B0603020202020204" pitchFamily="34" charset="0"/>
              </a:rPr>
              <a:t>:</a:t>
            </a:r>
          </a:p>
          <a:p>
            <a:pPr marL="742950" lvl="1" indent="-285750">
              <a:buFontTx/>
              <a:buChar char="-"/>
            </a:pPr>
            <a:endParaRPr lang="fr-FR" sz="1600">
              <a:solidFill>
                <a:schemeClr val="accent1"/>
              </a:solidFill>
              <a:latin typeface="Trebuchet MS" panose="020B0603020202020204" pitchFamily="34" charset="0"/>
            </a:endParaRPr>
          </a:p>
          <a:p>
            <a:pPr marL="742950" lvl="1" indent="-285750">
              <a:buFont typeface="Arial" panose="020B0604020202020204" pitchFamily="34" charset="0"/>
              <a:buChar char="•"/>
            </a:pPr>
            <a:r>
              <a:rPr lang="fr-FR" sz="1600" err="1">
                <a:solidFill>
                  <a:schemeClr val="accent1"/>
                </a:solidFill>
                <a:latin typeface="Trebuchet MS" panose="020B0603020202020204" pitchFamily="34" charset="0"/>
              </a:rPr>
              <a:t>Study</a:t>
            </a:r>
            <a:r>
              <a:rPr lang="fr-FR" sz="1600">
                <a:solidFill>
                  <a:schemeClr val="accent1"/>
                </a:solidFill>
                <a:latin typeface="Trebuchet MS" panose="020B0603020202020204" pitchFamily="34" charset="0"/>
              </a:rPr>
              <a:t> </a:t>
            </a:r>
            <a:r>
              <a:rPr lang="fr-FR" sz="1600" err="1">
                <a:solidFill>
                  <a:schemeClr val="accent1"/>
                </a:solidFill>
                <a:latin typeface="Trebuchet MS" panose="020B0603020202020204" pitchFamily="34" charset="0"/>
              </a:rPr>
              <a:t>which</a:t>
            </a:r>
            <a:r>
              <a:rPr lang="fr-FR" sz="1600">
                <a:solidFill>
                  <a:schemeClr val="accent1"/>
                </a:solidFill>
                <a:latin typeface="Trebuchet MS" panose="020B0603020202020204" pitchFamily="34" charset="0"/>
              </a:rPr>
              <a:t> </a:t>
            </a:r>
            <a:r>
              <a:rPr lang="fr-FR" sz="1600" err="1">
                <a:solidFill>
                  <a:schemeClr val="accent1"/>
                </a:solidFill>
                <a:latin typeface="Trebuchet MS" panose="020B0603020202020204" pitchFamily="34" charset="0"/>
              </a:rPr>
              <a:t>signals</a:t>
            </a:r>
            <a:r>
              <a:rPr lang="fr-FR" sz="1600">
                <a:solidFill>
                  <a:schemeClr val="accent1"/>
                </a:solidFill>
                <a:latin typeface="Trebuchet MS" panose="020B0603020202020204" pitchFamily="34" charset="0"/>
              </a:rPr>
              <a:t> triggers the </a:t>
            </a:r>
            <a:r>
              <a:rPr lang="fr-FR" sz="1600" err="1">
                <a:solidFill>
                  <a:schemeClr val="accent1"/>
                </a:solidFill>
                <a:latin typeface="Trebuchet MS" panose="020B0603020202020204" pitchFamily="34" charset="0"/>
              </a:rPr>
              <a:t>detection</a:t>
            </a:r>
            <a:endParaRPr lang="fr-FR" sz="1600">
              <a:solidFill>
                <a:schemeClr val="accent1"/>
              </a:solidFill>
              <a:latin typeface="Trebuchet MS" panose="020B0603020202020204" pitchFamily="34" charset="0"/>
            </a:endParaRPr>
          </a:p>
          <a:p>
            <a:pPr marL="742950" lvl="1" indent="-285750">
              <a:buFont typeface="Arial" panose="020B0604020202020204" pitchFamily="34" charset="0"/>
              <a:buChar char="•"/>
            </a:pPr>
            <a:r>
              <a:rPr lang="fr-FR" sz="1600">
                <a:solidFill>
                  <a:schemeClr val="accent1"/>
                </a:solidFill>
                <a:latin typeface="Trebuchet MS" panose="020B0603020202020204" pitchFamily="34" charset="0"/>
              </a:rPr>
              <a:t>Correct bug</a:t>
            </a:r>
          </a:p>
          <a:p>
            <a:pPr algn="ctr"/>
            <a:endParaRPr lang="fr-FR">
              <a:solidFill>
                <a:srgbClr val="000000"/>
              </a:solidFill>
            </a:endParaRPr>
          </a:p>
        </p:txBody>
      </p:sp>
      <p:sp>
        <p:nvSpPr>
          <p:cNvPr id="13" name="ZoneTexte 12">
            <a:extLst>
              <a:ext uri="{FF2B5EF4-FFF2-40B4-BE49-F238E27FC236}">
                <a16:creationId xmlns:a16="http://schemas.microsoft.com/office/drawing/2014/main" id="{2A8BD7C4-2045-ECD8-715E-41B9D2D99FFA}"/>
              </a:ext>
            </a:extLst>
          </p:cNvPr>
          <p:cNvSpPr txBox="1"/>
          <p:nvPr/>
        </p:nvSpPr>
        <p:spPr>
          <a:xfrm>
            <a:off x="6766422" y="5226452"/>
            <a:ext cx="5039833" cy="8296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742950" lvl="1" indent="-285750">
              <a:buFontTx/>
              <a:buChar char="-"/>
            </a:pPr>
            <a:endParaRPr lang="fr-FR" sz="1600">
              <a:solidFill>
                <a:schemeClr val="accent1"/>
              </a:solidFill>
              <a:latin typeface="Trebuchet MS" panose="020B0603020202020204" pitchFamily="34" charset="0"/>
            </a:endParaRPr>
          </a:p>
          <a:p>
            <a:pPr marL="742950" lvl="1" indent="-285750">
              <a:buFontTx/>
              <a:buChar char="-"/>
            </a:pPr>
            <a:endParaRPr lang="fr-FR" sz="1600">
              <a:solidFill>
                <a:schemeClr val="accent1"/>
              </a:solidFill>
              <a:latin typeface="Trebuchet MS" panose="020B0603020202020204" pitchFamily="34" charset="0"/>
            </a:endParaRPr>
          </a:p>
          <a:p>
            <a:pPr marL="742950" lvl="1" indent="-285750">
              <a:buFont typeface="Arial" panose="020B0604020202020204" pitchFamily="34" charset="0"/>
              <a:buChar char="•"/>
            </a:pPr>
            <a:r>
              <a:rPr lang="fr-FR" sz="1600" err="1">
                <a:solidFill>
                  <a:schemeClr val="accent1"/>
                </a:solidFill>
                <a:latin typeface="Trebuchet MS" panose="020B0603020202020204" pitchFamily="34" charset="0"/>
              </a:rPr>
              <a:t>Tailored</a:t>
            </a:r>
            <a:r>
              <a:rPr lang="fr-FR" sz="1600">
                <a:solidFill>
                  <a:schemeClr val="accent1"/>
                </a:solidFill>
                <a:latin typeface="Trebuchet MS" panose="020B0603020202020204" pitchFamily="34" charset="0"/>
              </a:rPr>
              <a:t> promotion</a:t>
            </a:r>
          </a:p>
          <a:p>
            <a:pPr marL="742950" lvl="1" indent="-285750">
              <a:buFont typeface="Arial" panose="020B0604020202020204" pitchFamily="34" charset="0"/>
              <a:buChar char="•"/>
            </a:pPr>
            <a:r>
              <a:rPr lang="fr-FR" sz="1600">
                <a:solidFill>
                  <a:schemeClr val="accent1"/>
                </a:solidFill>
                <a:latin typeface="Trebuchet MS" panose="020B0603020202020204" pitchFamily="34" charset="0"/>
              </a:rPr>
              <a:t>Call or </a:t>
            </a:r>
            <a:r>
              <a:rPr lang="fr-FR" sz="1600" err="1">
                <a:solidFill>
                  <a:schemeClr val="accent1"/>
                </a:solidFill>
                <a:latin typeface="Trebuchet MS" panose="020B0603020202020204" pitchFamily="34" charset="0"/>
              </a:rPr>
              <a:t>visit</a:t>
            </a:r>
            <a:r>
              <a:rPr lang="fr-FR" sz="1600">
                <a:solidFill>
                  <a:schemeClr val="accent1"/>
                </a:solidFill>
                <a:latin typeface="Trebuchet MS" panose="020B0603020202020204" pitchFamily="34" charset="0"/>
              </a:rPr>
              <a:t> client</a:t>
            </a:r>
          </a:p>
          <a:p>
            <a:pPr algn="ctr"/>
            <a:endParaRPr lang="fr-FR">
              <a:solidFill>
                <a:srgbClr val="000000"/>
              </a:solidFill>
            </a:endParaRPr>
          </a:p>
        </p:txBody>
      </p:sp>
      <p:sp>
        <p:nvSpPr>
          <p:cNvPr id="45" name="ZoneTexte 44">
            <a:extLst>
              <a:ext uri="{FF2B5EF4-FFF2-40B4-BE49-F238E27FC236}">
                <a16:creationId xmlns:a16="http://schemas.microsoft.com/office/drawing/2014/main" id="{5CC923A4-7E82-2F49-4E1F-6903A5FF0AC1}"/>
              </a:ext>
            </a:extLst>
          </p:cNvPr>
          <p:cNvSpPr txBox="1"/>
          <p:nvPr/>
        </p:nvSpPr>
        <p:spPr>
          <a:xfrm>
            <a:off x="3488977" y="3478623"/>
            <a:ext cx="2532228"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fr-FR" b="1">
                <a:solidFill>
                  <a:srgbClr val="00B050"/>
                </a:solidFill>
                <a:latin typeface="Trebuchet MS" panose="020B0603020202020204" pitchFamily="34" charset="0"/>
              </a:rPr>
              <a:t>20 000 </a:t>
            </a:r>
            <a:r>
              <a:rPr lang="en-US" b="1">
                <a:solidFill>
                  <a:srgbClr val="00B050"/>
                </a:solidFill>
                <a:latin typeface="Trebuchet MS" panose="020B0603020202020204" pitchFamily="34" charset="0"/>
              </a:rPr>
              <a:t>clients retained</a:t>
            </a:r>
            <a:endParaRPr lang="en-US" sz="1400">
              <a:solidFill>
                <a:schemeClr val="accent1"/>
              </a:solidFill>
              <a:latin typeface="Trebuchet MS" panose="020B0603020202020204" pitchFamily="34" charset="0"/>
            </a:endParaRPr>
          </a:p>
          <a:p>
            <a:pPr algn="ctr"/>
            <a:r>
              <a:rPr lang="en-US" sz="1600" spc="-5">
                <a:solidFill>
                  <a:srgbClr val="373739"/>
                </a:solidFill>
                <a:latin typeface="Trebuchet MS"/>
              </a:rPr>
              <a:t>80 000 churners</a:t>
            </a:r>
          </a:p>
        </p:txBody>
      </p:sp>
    </p:spTree>
    <p:extLst>
      <p:ext uri="{BB962C8B-B14F-4D97-AF65-F5344CB8AC3E}">
        <p14:creationId xmlns:p14="http://schemas.microsoft.com/office/powerpoint/2010/main" val="53047676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LANGUAGE_ID" val="1033"/>
  <p:tag name="EE4P_MASTERWIZARD_MARGINS" val="0"/>
  <p:tag name="EE4P_MASTERWIZARD_DRAFT" val="0"/>
  <p:tag name="EE4P_AGENDAWIZARD" val="&lt;ee4p&gt;&lt;layouts&gt;&lt;layout name=&quot;Section Header&quot; id=&quot;227_1-1&quot;&gt;&lt;standard&gt;&lt;textframe horizontalAnchor=&quot;1&quot; marginBottom=&quot;0&quot; marginLeft=&quot;0&quot; marginRight=&quot;0&quot; marginTop=&quot;0&quot; orientation=&quot;1&quot; verticalAnchor=&quot;1&quot; /&gt;&lt;font name=&quot;Henderson BCG Sans&quot; bold=&quot;0&quot; italic=&quot;0&quot; color=&quot;#000000&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tandard&gt;&lt;agenda name=&quot;&quot; title=&quot;&quot; subtitle=&quot;&quot; sizingModeId=&quot;1&quot; fontSize=&quot;24&quot; fontSizeAuto=&quot;1&quot; startTime=&quot;540&quot; timeFormatId=&quot;1&quot; startItemNo=&quot;1&quot; createSingleAgendaSlide=&quot;1&quot; createSeparatingSlides=&quot;1&quot; createBackupSlide=&quot;1&quot; /&gt;&lt;columns&gt;&lt;column field=&quot;itemno&quot; label=&quot;No.&quot; checked=&quot;0&quot; leftSpacing=&quot;0&quot; rightSpacing=&quot;0&quot; dock=&quot;1&quot; fixedWidth=&quot;51.87527&quot; /&gt;&lt;column field=&quot;topic&quot; label=&quot;Topic&quot; leftSpacing=&quot;0&quot; rightDistribute=&quot;1&quot; dock=&quot;1&quot; /&gt;&lt;column field=&quot;responsible&quot; label=&quot;Responsible&quot; visible=&quot;0&quot; checked=&quot;0&quot; leftSpacing=&quot;10&quot; rightDistribute=&quot;1&quot; dock=&quot;1&quot; /&gt;&lt;column field=&quot;freecolumn&quot; label=&quot;&quot; visible=&quot;0&quot; checked=&quot;0&quot; leftSpacing=&quot;10&quot; rightDistribute=&quot;1&quot; dock=&quot;1&quot; /&gt;&lt;column field=&quot;timeslot&quot; label=&quot;Time Slot&quot; visible=&quot;1&quot; checked=&quot;0&quot; leftSpacing=&quot;34&quot; rightSpacing=&quot;0&quot; dock=&quot;2&quot; /&gt;&lt;column field=&quot;pageno&quot; label=&quot;Page No.&quot; visible=&quot;0&quot; checked=&quot;0&quot; leftSpacing=&quot;34&quot; rightSpacing=&quot;0&quot; dock=&quot;2&quot; /&gt;&lt;/columns&gt;&lt;position left=&quot;395.4111&quot; top=&quot;116.9109&quot; width=&quot;515.0769&quot; height=&quot;345.2203&quot; /&gt;&lt;!--&#10;      &lt;subtitle&gt;&#10;      &#10;        &lt;position left=&quot;197.597&quot; top=&quot;369.3848&quot; width=&quot;123.634&quot; height=&quot;115.6044&quot; autoshape=&quot;1&quot; rotation=&quot;0&quot; /&gt;&#10;        &lt;line visible=&quot;1&quot; weight=&quot;0.75&quot; style=&quot;1&quot; dashStyle=&quot;1&quot; foreColor=&quot;14&quot; /&gt;&#10;        &lt;fill visible=&quot;0&quot; /&gt;&#10;        &lt;textframe horizontalAnchor=&quot;1&quot; verticalAnchor=&quot;1&quot; orientation=&quot;1&quot; wordWrap=&quot;1&quot; autoSize=&quot;0&quot; marginLeft=&quot;8.503937&quot; marginRight=&quot;0&quot; marginTop=&quot;14.17323&quot; marginBottom=&quot;0&quot; /&gt;&#10;        &lt;paragraphformat alignment=&quot;1&quot; lineRuleBefore=&quot;0&quot; lineRuleWithin=&quot;1&quot; lineRuleAfter=&quot;0&quot; spaceBefore=&quot;0&quot; spaceWithin=&quot;0.95&quot; spaceAfter=&quot;0&quot; /&gt;&#10;        &lt;font name=&quot;Trebuchet MS&quot; size=&quot;10&quot; bold=&quot;0&quot; italic=&quot;0&quot; underlineStyle=&quot;0&quot; color=&quot;#21bf61&quot; spacing=&quot;0&quot; kerning=&quot;12&quot; /&gt;&#10;      &#10;      &lt;/subtitle&gt;&#10;      --&gt;&lt;settings allowedSizingModeIds=&quot;1|2&quot; allowedFontSizes=&quot;8|9|10.5|11|12|14|16|18|20|22|24&quot; allowedTimeFormatIds=&quot;1|2|3&quot; slideLayout=&quot;11&quot; customLayoutName=&quot;Blank green|Presentation¦Blank green&quot; customLayoutIndex=&quot;&quot; showBreak=&quot;0&quot; singleAgendaSlideSelected=&quot;0&quot; backupSlideTitle=&quot;Unused Slides&quot; topMargin=&quot;0&quot; leftMargin=&quot;0&quot; allowedLevels=&quot;2&quot; itemNoFormats=&quot;{1}¦{1}.{2}¦{3:alphaLC}¦{3:alphaLC}.{4:alphaLC}&quot; customLayoutNameBackup=&quot;Special gray|Presentation¦Special gray&quot; titlePrompt=&quot;Insert Title&quot; namePrompt=&quot;Insert Date&quot; /&gt;&lt;cases&gt;&lt;case level=&quot;1&quot; single=&quot;1&quot; break=&quot;0&quot; topMinSpacing=&quot;5&quot; topMaxSpacing=&quot;15&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element&gt;&lt;element field=&quot;responsible&quot; type=&quot;autoshape&quot; autoShapeType=&quot;1&quot;&gt;&lt;paragraphformat alignment=&quot;1&quot; lineRuleBefore=&quot;0&quot; lineRuleWithin=&quot;1&quot; lineRuleAfter=&quot;0&quot; spaceBefore=&quot;6&quot; spaceWithin=&quot;1.1&quot; spaceAfter=&quot;3&quot; /&gt;&lt;/element&gt;&lt;element field=&quot;freecolumn&quot; type=&quot;autoshape&quot; autoShapeType=&quot;1&quot;&gt;&lt;paragraphformat alignment=&quot;1&quot; lineRuleBefore=&quot;0&quot; lineRuleWithin=&quot;1&quot; lineRuleAfter=&quot;0&quot; spaceBefore=&quot;6&quot; spaceWithin=&quot;1.1&quot; spaceAfter=&quot;3&quot; /&gt;&lt;/element&gt;&lt;element field=&quot;timeslot&quot; type=&quot;autoshape&quot; autoShapeType=&quot;1&quot;&gt;&lt;paragraphformat alignment=&quot;1&quot; lineRuleBefore=&quot;0&quot; lineRuleWithin=&quot;1&quot; lineRuleAfter=&quot;0&quot; spaceBefore=&quot;6&quot; spaceWithin=&quot;1.1&quot; spaceAfter=&quot;3&quot; /&gt;&lt;/element&gt;&lt;element field=&quot;pageno&quot; type=&quot;autoshape&quot; autoShapeType=&quot;1&quot;&gt;&lt;paragraphformat alignment=&quot;3&quot; /&gt;&lt;/element&gt;&lt;/case&gt;&lt;case level=&quot;2&quot; single=&quot;1&quot; break=&quot;0&quot; topMinSpacing=&quot;4&quot; topMaxSpacing=&quot;4&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relativeSize=&quot;0.75&quot; /&gt;&lt;/element&gt;&lt;element field=&quot;responsible&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freecolumn&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timeslot&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pageno&quot; type=&quot;autoshape&quot; autoShapeType=&quot;1&quot;&gt;&lt;paragraphformat alignment=&quot;3&quot; /&gt;&lt;font relativeSize=&quot;0.75&quot; /&gt;&lt;/element&gt;&lt;/case&gt;&lt;/cases&gt;&lt;elements&gt;&lt;element type=&quot;autoshape&quot; autoShapeType=&quot;1&quot; value=&quot;%agendaTitle%&quot; slideType=&quot;1&quot;&gt;&lt;position left=&quot;-345.68251&quot; top=&quot;-45.376146&quot; width=&quot;271.5024&quot; height=&quot;274.7323&quot; autoshape=&quot;1&quot; rotation=&quot;0&quot; /&gt;&lt;line visible=&quot;1&quot; weight=&quot;0.75&quot; style=&quot;1&quot; dashStyle=&quot;1&quot; foreColor=&quot;#21bf61&quot; /&gt;&lt;fill visible=&quot;0&quot; /&gt;&lt;textframe horizontalAnchor=&quot;1&quot; verticalAnchor=&quot;1&quot; orientation=&quot;1&quot; wordWrap=&quot;1&quot; autoSize=&quot;0&quot; marginLeft=&quot;0&quot; marginRight=&quot;0&quot; marginTop=&quot;19.84252&quot; marginBottom=&quot;0&quot; /&gt;&lt;paragraphformat alignment=&quot;2&quot; lineRuleBefore=&quot;0&quot; lineRuleWithin=&quot;1&quot; lineRuleAfter=&quot;0&quot; spaceBefore=&quot;0&quot; spaceWithin=&quot;0.95&quot; spaceAfter=&quot;0&quot; /&gt;&lt;font name=&quot;Henderson BCG Sans&quot; size=&quot;54&quot; bold=&quot;0&quot; italic=&quot;0&quot; underlineStyle=&quot;0&quot; color=&quot;#21bf61&quot; spacing=&quot;0&quot; kerning=&quot;12&quot; /&gt;&lt;/element&gt;&lt;element type=&quot;autoshape&quot; autoShapeType=&quot;1&quot; value=&quot;%agendaName%&quot; slideType=&quot;1&quot;&gt;&lt;position left=&quot;-197.81411&quot; top=&quot;252.473934&quot; width=&quot;123.634&quot; height=&quot;115.6044&quot; autoshape=&quot;1&quot; rotation=&quot;0&quot; /&gt;&lt;line visible=&quot;1&quot; weight=&quot;0.75&quot; style=&quot;1&quot; dashStyle=&quot;1&quot; foreColor=&quot;#21bf61&quot; /&gt;&lt;fill visible=&quot;0&quot; /&gt;&lt;textframe horizontalAnchor=&quot;1&quot; verticalAnchor=&quot;1&quot; orientation=&quot;1&quot; wordWrap=&quot;1&quot; autoSize=&quot;0&quot; marginLeft=&quot;8.503937&quot; marginRight=&quot;0&quot; marginTop=&quot;14.17323&quot; marginBottom=&quot;0&quot; /&gt;&lt;paragraphformat alignment=&quot;1&quot; lineRuleBefore=&quot;0&quot; lineRuleWithin=&quot;1&quot; lineRuleAfter=&quot;0&quot; spaceBefore=&quot;0&quot; spaceWithin=&quot;0.95&quot; spaceAfter=&quot;0&quot; /&gt;&lt;font name=&quot;Henderson BCG Sans&quot; size=&quot;10&quot; bold=&quot;0&quot; italic=&quot;0&quot; underlineStyle=&quot;0&quot; color=&quot;#21bf61&quot; spacing=&quot;0&quot; kerning=&quot;12&quot; /&gt;&lt;/element&gt;&lt;element type=&quot;autoshape&quot; autoShapeType=&quot;1&quot; value=&quot;&quot; slideType=&quot;1&quot;&gt;&lt;position left=&quot;-286.10831&quot; top=&quot;252.473934&quot; width=&quot;73.17614&quot; height=&quot;78.41528&quot; autoshape=&quot;1&quot; rotation=&quot;0&quot; /&gt;&lt;line visible=&quot;1&quot; weight=&quot;0.75&quot; style=&quot;1&quot; dashStyle=&quot;1&quot; foreColor=&quot;#21bf61&quot; /&gt;&lt;fill visible=&quot;0&quot; /&gt;&lt;/element&gt;&lt;element type=&quot;autoshape&quot; autoShapeType=&quot;1&quot; value=&quot;&quot; slideType=&quot;2&quot;&gt;&lt;position left=&quot;-294.2502816&quot; top=&quot;-4.4596064&quot; width=&quot;74.61984&quot; height=&quot;74.61984&quot; autoshape=&quot;1&quot; rotation=&quot;0&quot; /&gt;&lt;line visible=&quot;1&quot; weight=&quot;0.75&quot; style=&quot;1&quot; dashStyle=&quot;1&quot; foreColor=&quot;#21bf61&quot; /&gt;&lt;fill visible=&quot;0&quot; /&gt;&lt;/element&gt;&lt;element type=&quot;autoshape&quot; autoShapeType=&quot;1&quot; value=&quot;%topic%&quot; slideType=&quot;2&quot;&gt;&lt;position left=&quot;-294.2502816&quot; top=&quot;93.1711075&quot; width=&quot;758.6493&quot; height=&quot;252.2583&quot; autoshape=&quot;1&quot; rotation=&quot;0&quot; /&gt;&lt;line visible=&quot;1&quot; weight=&quot;0.75&quot; style=&quot;1&quot; dashStyle=&quot;1&quot; foreColor=&quot;#21bf61&quot; /&gt;&lt;fill visible=&quot;0&quot; /&gt;&lt;textframe horizontalAnchor=&quot;1&quot; verticalAnchor=&quot;4&quot; orientation=&quot;1&quot; wordWrap=&quot;1&quot; autoSize=&quot;0&quot; marginLeft=&quot;21.6&quot; marginRight=&quot;21.6&quot; marginTop=&quot;21.6&quot; marginBottom=&quot;10.8&quot; /&gt;&lt;paragraphformat alignment=&quot;1&quot; lineRuleBefore=&quot;0&quot; lineRuleWithin=&quot;0&quot; lineRuleAfter=&quot;0&quot; spaceBefore=&quot;0&quot; spaceWithin=&quot;60&quot; spaceAfter=&quot;0&quot; /&gt;&lt;font name=&quot;Henderson BCG Sans&quot; size=&quot;54&quot; bold=&quot;0&quot; italic=&quot;0&quot; underlineStyle=&quot;0&quot; color=&quot;#21bf61&quot; spacing=&quot;0&quot; kerning=&quot;12&quot; /&gt;&lt;/element&gt;&lt;/elements&gt;&lt;/layout&gt;&lt;/layouts&gt;&lt;contents&gt;&lt;agenda name=&quot;&quot; title=&quot;&quot; subtitle=&quot;&quot; sizingModeId=&quot;1&quot; fontSize=&quot;24&quot; fontSizeAuto=&quot;1&quot; startTime=&quot;540&quot; timeFormatId=&quot;1&quot; startItemNo=&quot;1&quot; createSingleAgendaSlide=&quot;1&quot; createSeparatingSlides=&quot;1&quot; createBackupSlide=&quot;1&quot; layoutId=&quot;227_1-1&quot; hideSeparatingSlides=&quot;0&quot; createSections=&quot;0&quot; singleSlideId=&quot;&quot; backupSlideId=&quot;&quot;&gt;&lt;columns leftSpacing=&quot;0&quot; rightSpacing=&quot;0&quot;&gt;&lt;column field=&quot;itemno&quot; label=&quot;No.&quot; checked=&quot;0&quot; leftSpacing=&quot;0&quot; rightSpacing=&quot;0&quot; dock=&quot;1&quot; fixedWidth=&quot;51.87527&quot; /&gt;&lt;column field=&quot;topic&quot; label=&quot;Topic&quot; leftSpacing=&quot;0&quot; rightDistribute=&quot;1&quot; dock=&quot;1&quot; rightSpacing=&quot;472.1619&quot; /&gt;&lt;column field=&quot;responsible&quot; label=&quot;Responsible&quot; visible=&quot;0&quot; checked=&quot;0&quot; leftSpacing=&quot;10&quot; rightDistribute=&quot;1&quot; dock=&quot;1&quot; /&gt;&lt;column field=&quot;freecolumn&quot; label=&quot;&quot; visible=&quot;0&quot; checked=&quot;0&quot; leftSpacing=&quot;10&quot; rightDistribute=&quot;1&quot; dock=&quot;1&quot; /&gt;&lt;column field=&quot;timeslot&quot; label=&quot;Time Slot&quot; visible=&quot;1&quot; checked=&quot;0&quot; leftSpacing=&quot;34&quot; rightSpacing=&quot;0&quot; dock=&quot;2&quot; /&gt;&lt;column field=&quot;pageno&quot; label=&quot;Page No.&quot; visible=&quot;0&quot; checked=&quot;0&quot; leftSpacing=&quot;34&quot; rightSpacing=&quot;0&quot; dock=&quot;2&quot; /&gt;&lt;/columns&gt;&lt;items /&gt;&lt;/agenda&gt;&lt;/contents&gt;&lt;/ee4p&gt;"/>
  <p:tag name="EE4P_STYLE_NAME" val="BCG Beyond 16:9"/>
  <p:tag name="EE4P_STYLE_ID" val="81oWkOlW"/>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c4mPhVw4bZMCJ3RnqxCRu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c4mPhVw4bZMCJ3RnqxCRu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NiqseCx0bxHhj9DRrgwZQ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VePzYIipNaPpHVWundkY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NZwhTk_EYf4pvJ9ardrXy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NZwhTk_EYf4pvJ9ardrXy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ldUIrs7rmnWf0HfVDqns.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Apxn9dBpRT66WWjDAEp5K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Apxn9dBpRT66WWjDAEp5K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Apxn9dBpRT66WWjDAEp5K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s.0w67vALGeCG5B9KYR0vQ"/>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Apxn9dBpRT66WWjDAEp5K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Apxn9dBpRT66WWjDAEp5K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d1g3R9YvLWLhRDHJVPLlx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zTgaz4sA_mmYSyPOY4ArF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7MRYld1zA6w_LGbMK24gEQ"/>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d1g3R9YvLWLhRDHJVPLlx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zTgaz4sA_mmYSyPOY4ArFg"/>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7MRYld1zA6w_LGbMK24gE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Dbrxm6DKZEUEeWccaOK4c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zQqffeATGm75cvzqePbKa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zQqffeATGm75cvzqePbKa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zQqffeATGm75cvzqePbKa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d1g3R9YvLWLhRDHJVPLlx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d1g3R9YvLWLhRDHJVPLlx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d1g3R9YvLWLhRDHJVPLlx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d1g3R9YvLWLhRDHJVPLlx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d1g3R9YvLWLhRDHJVPLlx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d1g3R9YvLWLhRDHJVPLlx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s.0w67vALGeCG5B9KYR0v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Dbrxm6DKZEUEeWccaOK4c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Dbrxm6DKZEUEeWccaOK4c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Dbrxm6DKZEUEeWccaOK4c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Apxn9dBpRT66WWjDAEp5K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Apxn9dBpRT66WWjDAEp5K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Apxn9dBpRT66WWjDAEp5K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Apxn9dBpRT66WWjDAEp5K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Apxn9dBpRT66WWjDAEp5K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Apxn9dBpRT66WWjDAEp5K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Apxn9dBpRT66WWjDAEp5K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d1g3R9YvLWLhRDHJVPLlx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zTgaz4sA_mmYSyPOY4ArF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s.0w67vALGeCG5B9KYR0vQ"/>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7MRYld1zA6w_LGbMK24gEQ"/>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d1g3R9YvLWLhRDHJVPLlx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zTgaz4sA_mmYSyPOY4ArFg"/>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7MRYld1zA6w_LGbMK24gE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7MRYld1zA6w_LGbMK24gEQ"/>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Dbrxm6DKZEUEeWccaOK4c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zQqffeATGm75cvzqePbKag"/>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zQqffeATGm75cvzqePbKa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zQqffeATGm75cvzqePbKa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d1g3R9YvLWLhRDHJVPLlx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d1g3R9YvLWLhRDHJVPLlx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d1g3R9YvLWLhRDHJVPLlx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d1g3R9YvLWLhRDHJVPLlx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d1g3R9YvLWLhRDHJVPLlx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d1g3R9YvLWLhRDHJVPLlx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d1g3R9YvLWLhRDHJVPLlx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Dbrxm6DKZEUEeWccaOK4c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Dbrxm6DKZEUEeWccaOK4c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Dbrxm6DKZEUEeWccaOK4c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s.0w67vALGeCG5B9KYR0vQ"/>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TavsQnB6SRSpd7TvSSaAE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s.0w67vALGeCG5B9KYR0v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s.0w67vALGeCG5B9KYR0v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s.0w67vALGeCG5B9KYR0v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s.0w67vALGeCG5B9KYR0v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s.0w67vALGeCG5B9KYR0v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s.0w67vALGeCG5B9KYR0v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s.0w67vALGeCG5B9KYR0v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s.0w67vALGeCG5B9KYR0v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s.0w67vALGeCG5B9KYR0v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s.0w67vALGeCG5B9KYR0v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s.0w67vALGeCG5B9KYR0v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s.0w67vALGeCG5B9KYR0v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s.0w67vALGeCG5B9KYR0v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s.0w67vALGeCG5B9KYR0v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s.0w67vALGeCG5B9KYR0v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s.0w67vALGeCG5B9KYR0v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s.0w67vALGeCG5B9KYR0v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ldUIrs7rmnWf0HfVDqns.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NZwhTk_EYf4pvJ9ardrXy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s.0w67vALGeCG5B9KYR0v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wLg_eRDV_hD7hLX8YNlR3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s.0w67vALGeCG5B9KYR0v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vuphXuF4r.Mui3VuJ3T.q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EtGZr0v0qP7F1ZPMNi2lU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JjGFVzBHausxJUMUBNpPq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SsP9RR9pzWjlinOrV2lmg"/>
</p:tagLst>
</file>

<file path=ppt/theme/theme1.xml><?xml version="1.0" encoding="utf-8"?>
<a:theme xmlns:a="http://schemas.openxmlformats.org/drawingml/2006/main" name="BCG Beyond Grid 16:9 - 18608">
  <a:themeElements>
    <a:clrScheme name="cvp">
      <a:dk1>
        <a:srgbClr val="575757"/>
      </a:dk1>
      <a:lt1>
        <a:sysClr val="window" lastClr="FFFFFF"/>
      </a:lt1>
      <a:dk2>
        <a:srgbClr val="9A9CA2"/>
      </a:dk2>
      <a:lt2>
        <a:srgbClr val="EEEEEE"/>
      </a:lt2>
      <a:accent1>
        <a:srgbClr val="222222"/>
      </a:accent1>
      <a:accent2>
        <a:srgbClr val="424652"/>
      </a:accent2>
      <a:accent3>
        <a:srgbClr val="6A7084"/>
      </a:accent3>
      <a:accent4>
        <a:srgbClr val="9A9CA2"/>
      </a:accent4>
      <a:accent5>
        <a:srgbClr val="BFBFBF"/>
      </a:accent5>
      <a:accent6>
        <a:srgbClr val="DADBDD"/>
      </a:accent6>
      <a:hlink>
        <a:srgbClr val="424652"/>
      </a:hlink>
      <a:folHlink>
        <a:srgbClr val="424652"/>
      </a:folHlink>
    </a:clrScheme>
    <a:fontScheme name="CVP 1">
      <a:majorFont>
        <a:latin typeface="Henderson BCG Sans Light"/>
        <a:ea typeface=""/>
        <a:cs typeface=""/>
      </a:majorFont>
      <a:minorFont>
        <a:latin typeface="Henderson BCG San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C2C2C"/>
        </a:solidFill>
        <a:ln w="9525" cap="rnd" cmpd="sng" algn="ctr">
          <a:solidFill>
            <a:srgbClr val="2C2C2C"/>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000000"/>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vp">
    <a:dk1>
      <a:srgbClr val="575757"/>
    </a:dk1>
    <a:lt1>
      <a:sysClr val="window" lastClr="FFFFFF"/>
    </a:lt1>
    <a:dk2>
      <a:srgbClr val="9A9CA2"/>
    </a:dk2>
    <a:lt2>
      <a:srgbClr val="EEEEEE"/>
    </a:lt2>
    <a:accent1>
      <a:srgbClr val="222222"/>
    </a:accent1>
    <a:accent2>
      <a:srgbClr val="424652"/>
    </a:accent2>
    <a:accent3>
      <a:srgbClr val="6A7084"/>
    </a:accent3>
    <a:accent4>
      <a:srgbClr val="9A9CA2"/>
    </a:accent4>
    <a:accent5>
      <a:srgbClr val="BFBFBF"/>
    </a:accent5>
    <a:accent6>
      <a:srgbClr val="DADBDD"/>
    </a:accent6>
    <a:hlink>
      <a:srgbClr val="424652"/>
    </a:hlink>
    <a:folHlink>
      <a:srgbClr val="424652"/>
    </a:folHlink>
  </a:clrScheme>
</a:themeOverride>
</file>

<file path=ppt/theme/themeOverride10.xml><?xml version="1.0" encoding="utf-8"?>
<a:themeOverride xmlns:a="http://schemas.openxmlformats.org/drawingml/2006/main">
  <a:clrScheme name="cvp">
    <a:dk1>
      <a:srgbClr val="575757"/>
    </a:dk1>
    <a:lt1>
      <a:sysClr val="window" lastClr="FFFFFF"/>
    </a:lt1>
    <a:dk2>
      <a:srgbClr val="9A9CA2"/>
    </a:dk2>
    <a:lt2>
      <a:srgbClr val="EEEEEE"/>
    </a:lt2>
    <a:accent1>
      <a:srgbClr val="222222"/>
    </a:accent1>
    <a:accent2>
      <a:srgbClr val="424652"/>
    </a:accent2>
    <a:accent3>
      <a:srgbClr val="6A7084"/>
    </a:accent3>
    <a:accent4>
      <a:srgbClr val="9A9CA2"/>
    </a:accent4>
    <a:accent5>
      <a:srgbClr val="BFBFBF"/>
    </a:accent5>
    <a:accent6>
      <a:srgbClr val="DADBDD"/>
    </a:accent6>
    <a:hlink>
      <a:srgbClr val="424652"/>
    </a:hlink>
    <a:folHlink>
      <a:srgbClr val="424652"/>
    </a:folHlink>
  </a:clrScheme>
</a:themeOverride>
</file>

<file path=ppt/theme/themeOverride11.xml><?xml version="1.0" encoding="utf-8"?>
<a:themeOverride xmlns:a="http://schemas.openxmlformats.org/drawingml/2006/main">
  <a:clrScheme name="cvp">
    <a:dk1>
      <a:srgbClr val="575757"/>
    </a:dk1>
    <a:lt1>
      <a:sysClr val="window" lastClr="FFFFFF"/>
    </a:lt1>
    <a:dk2>
      <a:srgbClr val="9A9CA2"/>
    </a:dk2>
    <a:lt2>
      <a:srgbClr val="EEEEEE"/>
    </a:lt2>
    <a:accent1>
      <a:srgbClr val="222222"/>
    </a:accent1>
    <a:accent2>
      <a:srgbClr val="424652"/>
    </a:accent2>
    <a:accent3>
      <a:srgbClr val="6A7084"/>
    </a:accent3>
    <a:accent4>
      <a:srgbClr val="9A9CA2"/>
    </a:accent4>
    <a:accent5>
      <a:srgbClr val="BFBFBF"/>
    </a:accent5>
    <a:accent6>
      <a:srgbClr val="DADBDD"/>
    </a:accent6>
    <a:hlink>
      <a:srgbClr val="424652"/>
    </a:hlink>
    <a:folHlink>
      <a:srgbClr val="424652"/>
    </a:folHlink>
  </a:clrScheme>
</a:themeOverride>
</file>

<file path=ppt/theme/themeOverride12.xml><?xml version="1.0" encoding="utf-8"?>
<a:themeOverride xmlns:a="http://schemas.openxmlformats.org/drawingml/2006/main">
  <a:clrScheme name="cvp">
    <a:dk1>
      <a:srgbClr val="575757"/>
    </a:dk1>
    <a:lt1>
      <a:sysClr val="window" lastClr="FFFFFF"/>
    </a:lt1>
    <a:dk2>
      <a:srgbClr val="9A9CA2"/>
    </a:dk2>
    <a:lt2>
      <a:srgbClr val="EEEEEE"/>
    </a:lt2>
    <a:accent1>
      <a:srgbClr val="222222"/>
    </a:accent1>
    <a:accent2>
      <a:srgbClr val="424652"/>
    </a:accent2>
    <a:accent3>
      <a:srgbClr val="6A7084"/>
    </a:accent3>
    <a:accent4>
      <a:srgbClr val="9A9CA2"/>
    </a:accent4>
    <a:accent5>
      <a:srgbClr val="BFBFBF"/>
    </a:accent5>
    <a:accent6>
      <a:srgbClr val="DADBDD"/>
    </a:accent6>
    <a:hlink>
      <a:srgbClr val="424652"/>
    </a:hlink>
    <a:folHlink>
      <a:srgbClr val="424652"/>
    </a:folHlink>
  </a:clrScheme>
</a:themeOverride>
</file>

<file path=ppt/theme/themeOverride13.xml><?xml version="1.0" encoding="utf-8"?>
<a:themeOverride xmlns:a="http://schemas.openxmlformats.org/drawingml/2006/main">
  <a:clrScheme name="cvp">
    <a:dk1>
      <a:srgbClr val="575757"/>
    </a:dk1>
    <a:lt1>
      <a:sysClr val="window" lastClr="FFFFFF"/>
    </a:lt1>
    <a:dk2>
      <a:srgbClr val="9A9CA2"/>
    </a:dk2>
    <a:lt2>
      <a:srgbClr val="EEEEEE"/>
    </a:lt2>
    <a:accent1>
      <a:srgbClr val="222222"/>
    </a:accent1>
    <a:accent2>
      <a:srgbClr val="424652"/>
    </a:accent2>
    <a:accent3>
      <a:srgbClr val="6A7084"/>
    </a:accent3>
    <a:accent4>
      <a:srgbClr val="9A9CA2"/>
    </a:accent4>
    <a:accent5>
      <a:srgbClr val="BFBFBF"/>
    </a:accent5>
    <a:accent6>
      <a:srgbClr val="DADBDD"/>
    </a:accent6>
    <a:hlink>
      <a:srgbClr val="424652"/>
    </a:hlink>
    <a:folHlink>
      <a:srgbClr val="424652"/>
    </a:folHlink>
  </a:clrScheme>
</a:themeOverride>
</file>

<file path=ppt/theme/themeOverride14.xml><?xml version="1.0" encoding="utf-8"?>
<a:themeOverride xmlns:a="http://schemas.openxmlformats.org/drawingml/2006/main">
  <a:clrScheme name="cvp">
    <a:dk1>
      <a:srgbClr val="575757"/>
    </a:dk1>
    <a:lt1>
      <a:sysClr val="window" lastClr="FFFFFF"/>
    </a:lt1>
    <a:dk2>
      <a:srgbClr val="9A9CA2"/>
    </a:dk2>
    <a:lt2>
      <a:srgbClr val="EEEEEE"/>
    </a:lt2>
    <a:accent1>
      <a:srgbClr val="222222"/>
    </a:accent1>
    <a:accent2>
      <a:srgbClr val="424652"/>
    </a:accent2>
    <a:accent3>
      <a:srgbClr val="6A7084"/>
    </a:accent3>
    <a:accent4>
      <a:srgbClr val="9A9CA2"/>
    </a:accent4>
    <a:accent5>
      <a:srgbClr val="BFBFBF"/>
    </a:accent5>
    <a:accent6>
      <a:srgbClr val="DADBDD"/>
    </a:accent6>
    <a:hlink>
      <a:srgbClr val="424652"/>
    </a:hlink>
    <a:folHlink>
      <a:srgbClr val="424652"/>
    </a:folHlink>
  </a:clrScheme>
</a:themeOverride>
</file>

<file path=ppt/theme/themeOverride15.xml><?xml version="1.0" encoding="utf-8"?>
<a:themeOverride xmlns:a="http://schemas.openxmlformats.org/drawingml/2006/main">
  <a:clrScheme name="cvp">
    <a:dk1>
      <a:srgbClr val="575757"/>
    </a:dk1>
    <a:lt1>
      <a:sysClr val="window" lastClr="FFFFFF"/>
    </a:lt1>
    <a:dk2>
      <a:srgbClr val="9A9CA2"/>
    </a:dk2>
    <a:lt2>
      <a:srgbClr val="EEEEEE"/>
    </a:lt2>
    <a:accent1>
      <a:srgbClr val="222222"/>
    </a:accent1>
    <a:accent2>
      <a:srgbClr val="424652"/>
    </a:accent2>
    <a:accent3>
      <a:srgbClr val="6A7084"/>
    </a:accent3>
    <a:accent4>
      <a:srgbClr val="9A9CA2"/>
    </a:accent4>
    <a:accent5>
      <a:srgbClr val="BFBFBF"/>
    </a:accent5>
    <a:accent6>
      <a:srgbClr val="DADBDD"/>
    </a:accent6>
    <a:hlink>
      <a:srgbClr val="424652"/>
    </a:hlink>
    <a:folHlink>
      <a:srgbClr val="424652"/>
    </a:folHlink>
  </a:clrScheme>
</a:themeOverride>
</file>

<file path=ppt/theme/themeOverride16.xml><?xml version="1.0" encoding="utf-8"?>
<a:themeOverride xmlns:a="http://schemas.openxmlformats.org/drawingml/2006/main">
  <a:clrScheme name="cvp">
    <a:dk1>
      <a:srgbClr val="575757"/>
    </a:dk1>
    <a:lt1>
      <a:sysClr val="window" lastClr="FFFFFF"/>
    </a:lt1>
    <a:dk2>
      <a:srgbClr val="9A9CA2"/>
    </a:dk2>
    <a:lt2>
      <a:srgbClr val="EEEEEE"/>
    </a:lt2>
    <a:accent1>
      <a:srgbClr val="222222"/>
    </a:accent1>
    <a:accent2>
      <a:srgbClr val="424652"/>
    </a:accent2>
    <a:accent3>
      <a:srgbClr val="6A7084"/>
    </a:accent3>
    <a:accent4>
      <a:srgbClr val="9A9CA2"/>
    </a:accent4>
    <a:accent5>
      <a:srgbClr val="BFBFBF"/>
    </a:accent5>
    <a:accent6>
      <a:srgbClr val="DADBDD"/>
    </a:accent6>
    <a:hlink>
      <a:srgbClr val="424652"/>
    </a:hlink>
    <a:folHlink>
      <a:srgbClr val="424652"/>
    </a:folHlink>
  </a:clrScheme>
</a:themeOverride>
</file>

<file path=ppt/theme/themeOverride17.xml><?xml version="1.0" encoding="utf-8"?>
<a:themeOverride xmlns:a="http://schemas.openxmlformats.org/drawingml/2006/main">
  <a:clrScheme name="cvp">
    <a:dk1>
      <a:srgbClr val="575757"/>
    </a:dk1>
    <a:lt1>
      <a:sysClr val="window" lastClr="FFFFFF"/>
    </a:lt1>
    <a:dk2>
      <a:srgbClr val="9A9CA2"/>
    </a:dk2>
    <a:lt2>
      <a:srgbClr val="EEEEEE"/>
    </a:lt2>
    <a:accent1>
      <a:srgbClr val="222222"/>
    </a:accent1>
    <a:accent2>
      <a:srgbClr val="424652"/>
    </a:accent2>
    <a:accent3>
      <a:srgbClr val="6A7084"/>
    </a:accent3>
    <a:accent4>
      <a:srgbClr val="9A9CA2"/>
    </a:accent4>
    <a:accent5>
      <a:srgbClr val="BFBFBF"/>
    </a:accent5>
    <a:accent6>
      <a:srgbClr val="DADBDD"/>
    </a:accent6>
    <a:hlink>
      <a:srgbClr val="424652"/>
    </a:hlink>
    <a:folHlink>
      <a:srgbClr val="424652"/>
    </a:folHlink>
  </a:clrScheme>
</a:themeOverride>
</file>

<file path=ppt/theme/themeOverride18.xml><?xml version="1.0" encoding="utf-8"?>
<a:themeOverride xmlns:a="http://schemas.openxmlformats.org/drawingml/2006/main">
  <a:clrScheme name="cvp">
    <a:dk1>
      <a:srgbClr val="575757"/>
    </a:dk1>
    <a:lt1>
      <a:sysClr val="window" lastClr="FFFFFF"/>
    </a:lt1>
    <a:dk2>
      <a:srgbClr val="9A9CA2"/>
    </a:dk2>
    <a:lt2>
      <a:srgbClr val="EEEEEE"/>
    </a:lt2>
    <a:accent1>
      <a:srgbClr val="222222"/>
    </a:accent1>
    <a:accent2>
      <a:srgbClr val="424652"/>
    </a:accent2>
    <a:accent3>
      <a:srgbClr val="6A7084"/>
    </a:accent3>
    <a:accent4>
      <a:srgbClr val="9A9CA2"/>
    </a:accent4>
    <a:accent5>
      <a:srgbClr val="BFBFBF"/>
    </a:accent5>
    <a:accent6>
      <a:srgbClr val="DADBDD"/>
    </a:accent6>
    <a:hlink>
      <a:srgbClr val="424652"/>
    </a:hlink>
    <a:folHlink>
      <a:srgbClr val="424652"/>
    </a:folHlink>
  </a:clrScheme>
</a:themeOverride>
</file>

<file path=ppt/theme/themeOverride19.xml><?xml version="1.0" encoding="utf-8"?>
<a:themeOverride xmlns:a="http://schemas.openxmlformats.org/drawingml/2006/main">
  <a:clrScheme name="cvp">
    <a:dk1>
      <a:srgbClr val="575757"/>
    </a:dk1>
    <a:lt1>
      <a:sysClr val="window" lastClr="FFFFFF"/>
    </a:lt1>
    <a:dk2>
      <a:srgbClr val="9A9CA2"/>
    </a:dk2>
    <a:lt2>
      <a:srgbClr val="EEEEEE"/>
    </a:lt2>
    <a:accent1>
      <a:srgbClr val="222222"/>
    </a:accent1>
    <a:accent2>
      <a:srgbClr val="424652"/>
    </a:accent2>
    <a:accent3>
      <a:srgbClr val="6A7084"/>
    </a:accent3>
    <a:accent4>
      <a:srgbClr val="9A9CA2"/>
    </a:accent4>
    <a:accent5>
      <a:srgbClr val="BFBFBF"/>
    </a:accent5>
    <a:accent6>
      <a:srgbClr val="DADBDD"/>
    </a:accent6>
    <a:hlink>
      <a:srgbClr val="424652"/>
    </a:hlink>
    <a:folHlink>
      <a:srgbClr val="424652"/>
    </a:folHlink>
  </a:clrScheme>
</a:themeOverride>
</file>

<file path=ppt/theme/themeOverride2.xml><?xml version="1.0" encoding="utf-8"?>
<a:themeOverride xmlns:a="http://schemas.openxmlformats.org/drawingml/2006/main">
  <a:clrScheme name="cvp">
    <a:dk1>
      <a:srgbClr val="575757"/>
    </a:dk1>
    <a:lt1>
      <a:sysClr val="window" lastClr="FFFFFF"/>
    </a:lt1>
    <a:dk2>
      <a:srgbClr val="9A9CA2"/>
    </a:dk2>
    <a:lt2>
      <a:srgbClr val="EEEEEE"/>
    </a:lt2>
    <a:accent1>
      <a:srgbClr val="222222"/>
    </a:accent1>
    <a:accent2>
      <a:srgbClr val="424652"/>
    </a:accent2>
    <a:accent3>
      <a:srgbClr val="6A7084"/>
    </a:accent3>
    <a:accent4>
      <a:srgbClr val="9A9CA2"/>
    </a:accent4>
    <a:accent5>
      <a:srgbClr val="BFBFBF"/>
    </a:accent5>
    <a:accent6>
      <a:srgbClr val="DADBDD"/>
    </a:accent6>
    <a:hlink>
      <a:srgbClr val="424652"/>
    </a:hlink>
    <a:folHlink>
      <a:srgbClr val="424652"/>
    </a:folHlink>
  </a:clrScheme>
</a:themeOverride>
</file>

<file path=ppt/theme/themeOverride20.xml><?xml version="1.0" encoding="utf-8"?>
<a:themeOverride xmlns:a="http://schemas.openxmlformats.org/drawingml/2006/main">
  <a:clrScheme name="cvp">
    <a:dk1>
      <a:srgbClr val="575757"/>
    </a:dk1>
    <a:lt1>
      <a:sysClr val="window" lastClr="FFFFFF"/>
    </a:lt1>
    <a:dk2>
      <a:srgbClr val="9A9CA2"/>
    </a:dk2>
    <a:lt2>
      <a:srgbClr val="EEEEEE"/>
    </a:lt2>
    <a:accent1>
      <a:srgbClr val="222222"/>
    </a:accent1>
    <a:accent2>
      <a:srgbClr val="424652"/>
    </a:accent2>
    <a:accent3>
      <a:srgbClr val="6A7084"/>
    </a:accent3>
    <a:accent4>
      <a:srgbClr val="9A9CA2"/>
    </a:accent4>
    <a:accent5>
      <a:srgbClr val="BFBFBF"/>
    </a:accent5>
    <a:accent6>
      <a:srgbClr val="DADBDD"/>
    </a:accent6>
    <a:hlink>
      <a:srgbClr val="424652"/>
    </a:hlink>
    <a:folHlink>
      <a:srgbClr val="424652"/>
    </a:folHlink>
  </a:clrScheme>
</a:themeOverride>
</file>

<file path=ppt/theme/themeOverride21.xml><?xml version="1.0" encoding="utf-8"?>
<a:themeOverride xmlns:a="http://schemas.openxmlformats.org/drawingml/2006/main">
  <a:clrScheme name="cvp">
    <a:dk1>
      <a:srgbClr val="575757"/>
    </a:dk1>
    <a:lt1>
      <a:sysClr val="window" lastClr="FFFFFF"/>
    </a:lt1>
    <a:dk2>
      <a:srgbClr val="9A9CA2"/>
    </a:dk2>
    <a:lt2>
      <a:srgbClr val="EEEEEE"/>
    </a:lt2>
    <a:accent1>
      <a:srgbClr val="222222"/>
    </a:accent1>
    <a:accent2>
      <a:srgbClr val="424652"/>
    </a:accent2>
    <a:accent3>
      <a:srgbClr val="6A7084"/>
    </a:accent3>
    <a:accent4>
      <a:srgbClr val="9A9CA2"/>
    </a:accent4>
    <a:accent5>
      <a:srgbClr val="BFBFBF"/>
    </a:accent5>
    <a:accent6>
      <a:srgbClr val="DADBDD"/>
    </a:accent6>
    <a:hlink>
      <a:srgbClr val="424652"/>
    </a:hlink>
    <a:folHlink>
      <a:srgbClr val="424652"/>
    </a:folHlink>
  </a:clrScheme>
</a:themeOverride>
</file>

<file path=ppt/theme/themeOverride22.xml><?xml version="1.0" encoding="utf-8"?>
<a:themeOverride xmlns:a="http://schemas.openxmlformats.org/drawingml/2006/main">
  <a:clrScheme name="cvp">
    <a:dk1>
      <a:srgbClr val="575757"/>
    </a:dk1>
    <a:lt1>
      <a:sysClr val="window" lastClr="FFFFFF"/>
    </a:lt1>
    <a:dk2>
      <a:srgbClr val="9A9CA2"/>
    </a:dk2>
    <a:lt2>
      <a:srgbClr val="EEEEEE"/>
    </a:lt2>
    <a:accent1>
      <a:srgbClr val="222222"/>
    </a:accent1>
    <a:accent2>
      <a:srgbClr val="424652"/>
    </a:accent2>
    <a:accent3>
      <a:srgbClr val="6A7084"/>
    </a:accent3>
    <a:accent4>
      <a:srgbClr val="9A9CA2"/>
    </a:accent4>
    <a:accent5>
      <a:srgbClr val="BFBFBF"/>
    </a:accent5>
    <a:accent6>
      <a:srgbClr val="DADBDD"/>
    </a:accent6>
    <a:hlink>
      <a:srgbClr val="424652"/>
    </a:hlink>
    <a:folHlink>
      <a:srgbClr val="424652"/>
    </a:folHlink>
  </a:clrScheme>
</a:themeOverride>
</file>

<file path=ppt/theme/themeOverride23.xml><?xml version="1.0" encoding="utf-8"?>
<a:themeOverride xmlns:a="http://schemas.openxmlformats.org/drawingml/2006/main">
  <a:clrScheme name="cvp">
    <a:dk1>
      <a:srgbClr val="575757"/>
    </a:dk1>
    <a:lt1>
      <a:sysClr val="window" lastClr="FFFFFF"/>
    </a:lt1>
    <a:dk2>
      <a:srgbClr val="9A9CA2"/>
    </a:dk2>
    <a:lt2>
      <a:srgbClr val="EEEEEE"/>
    </a:lt2>
    <a:accent1>
      <a:srgbClr val="222222"/>
    </a:accent1>
    <a:accent2>
      <a:srgbClr val="424652"/>
    </a:accent2>
    <a:accent3>
      <a:srgbClr val="6A7084"/>
    </a:accent3>
    <a:accent4>
      <a:srgbClr val="9A9CA2"/>
    </a:accent4>
    <a:accent5>
      <a:srgbClr val="BFBFBF"/>
    </a:accent5>
    <a:accent6>
      <a:srgbClr val="DADBDD"/>
    </a:accent6>
    <a:hlink>
      <a:srgbClr val="424652"/>
    </a:hlink>
    <a:folHlink>
      <a:srgbClr val="424652"/>
    </a:folHlink>
  </a:clrScheme>
</a:themeOverride>
</file>

<file path=ppt/theme/themeOverride24.xml><?xml version="1.0" encoding="utf-8"?>
<a:themeOverride xmlns:a="http://schemas.openxmlformats.org/drawingml/2006/main">
  <a:clrScheme name="cvp">
    <a:dk1>
      <a:srgbClr val="575757"/>
    </a:dk1>
    <a:lt1>
      <a:sysClr val="window" lastClr="FFFFFF"/>
    </a:lt1>
    <a:dk2>
      <a:srgbClr val="9A9CA2"/>
    </a:dk2>
    <a:lt2>
      <a:srgbClr val="EEEEEE"/>
    </a:lt2>
    <a:accent1>
      <a:srgbClr val="222222"/>
    </a:accent1>
    <a:accent2>
      <a:srgbClr val="424652"/>
    </a:accent2>
    <a:accent3>
      <a:srgbClr val="6A7084"/>
    </a:accent3>
    <a:accent4>
      <a:srgbClr val="9A9CA2"/>
    </a:accent4>
    <a:accent5>
      <a:srgbClr val="BFBFBF"/>
    </a:accent5>
    <a:accent6>
      <a:srgbClr val="DADBDD"/>
    </a:accent6>
    <a:hlink>
      <a:srgbClr val="424652"/>
    </a:hlink>
    <a:folHlink>
      <a:srgbClr val="424652"/>
    </a:folHlink>
  </a:clrScheme>
</a:themeOverride>
</file>

<file path=ppt/theme/themeOverride25.xml><?xml version="1.0" encoding="utf-8"?>
<a:themeOverride xmlns:a="http://schemas.openxmlformats.org/drawingml/2006/main">
  <a:clrScheme name="cvp">
    <a:dk1>
      <a:srgbClr val="575757"/>
    </a:dk1>
    <a:lt1>
      <a:sysClr val="window" lastClr="FFFFFF"/>
    </a:lt1>
    <a:dk2>
      <a:srgbClr val="9A9CA2"/>
    </a:dk2>
    <a:lt2>
      <a:srgbClr val="EEEEEE"/>
    </a:lt2>
    <a:accent1>
      <a:srgbClr val="222222"/>
    </a:accent1>
    <a:accent2>
      <a:srgbClr val="424652"/>
    </a:accent2>
    <a:accent3>
      <a:srgbClr val="6A7084"/>
    </a:accent3>
    <a:accent4>
      <a:srgbClr val="9A9CA2"/>
    </a:accent4>
    <a:accent5>
      <a:srgbClr val="BFBFBF"/>
    </a:accent5>
    <a:accent6>
      <a:srgbClr val="DADBDD"/>
    </a:accent6>
    <a:hlink>
      <a:srgbClr val="424652"/>
    </a:hlink>
    <a:folHlink>
      <a:srgbClr val="424652"/>
    </a:folHlink>
  </a:clrScheme>
</a:themeOverride>
</file>

<file path=ppt/theme/themeOverride26.xml><?xml version="1.0" encoding="utf-8"?>
<a:themeOverride xmlns:a="http://schemas.openxmlformats.org/drawingml/2006/main">
  <a:clrScheme name="cvp">
    <a:dk1>
      <a:srgbClr val="575757"/>
    </a:dk1>
    <a:lt1>
      <a:sysClr val="window" lastClr="FFFFFF"/>
    </a:lt1>
    <a:dk2>
      <a:srgbClr val="9A9CA2"/>
    </a:dk2>
    <a:lt2>
      <a:srgbClr val="EEEEEE"/>
    </a:lt2>
    <a:accent1>
      <a:srgbClr val="222222"/>
    </a:accent1>
    <a:accent2>
      <a:srgbClr val="424652"/>
    </a:accent2>
    <a:accent3>
      <a:srgbClr val="6A7084"/>
    </a:accent3>
    <a:accent4>
      <a:srgbClr val="9A9CA2"/>
    </a:accent4>
    <a:accent5>
      <a:srgbClr val="BFBFBF"/>
    </a:accent5>
    <a:accent6>
      <a:srgbClr val="DADBDD"/>
    </a:accent6>
    <a:hlink>
      <a:srgbClr val="424652"/>
    </a:hlink>
    <a:folHlink>
      <a:srgbClr val="424652"/>
    </a:folHlink>
  </a:clrScheme>
</a:themeOverride>
</file>

<file path=ppt/theme/themeOverride27.xml><?xml version="1.0" encoding="utf-8"?>
<a:themeOverride xmlns:a="http://schemas.openxmlformats.org/drawingml/2006/main">
  <a:clrScheme name="cvp">
    <a:dk1>
      <a:srgbClr val="575757"/>
    </a:dk1>
    <a:lt1>
      <a:sysClr val="window" lastClr="FFFFFF"/>
    </a:lt1>
    <a:dk2>
      <a:srgbClr val="9A9CA2"/>
    </a:dk2>
    <a:lt2>
      <a:srgbClr val="EEEEEE"/>
    </a:lt2>
    <a:accent1>
      <a:srgbClr val="222222"/>
    </a:accent1>
    <a:accent2>
      <a:srgbClr val="424652"/>
    </a:accent2>
    <a:accent3>
      <a:srgbClr val="6A7084"/>
    </a:accent3>
    <a:accent4>
      <a:srgbClr val="9A9CA2"/>
    </a:accent4>
    <a:accent5>
      <a:srgbClr val="BFBFBF"/>
    </a:accent5>
    <a:accent6>
      <a:srgbClr val="DADBDD"/>
    </a:accent6>
    <a:hlink>
      <a:srgbClr val="424652"/>
    </a:hlink>
    <a:folHlink>
      <a:srgbClr val="424652"/>
    </a:folHlink>
  </a:clrScheme>
</a:themeOverride>
</file>

<file path=ppt/theme/themeOverride28.xml><?xml version="1.0" encoding="utf-8"?>
<a:themeOverride xmlns:a="http://schemas.openxmlformats.org/drawingml/2006/main">
  <a:clrScheme name="cvp">
    <a:dk1>
      <a:srgbClr val="575757"/>
    </a:dk1>
    <a:lt1>
      <a:sysClr val="window" lastClr="FFFFFF"/>
    </a:lt1>
    <a:dk2>
      <a:srgbClr val="9A9CA2"/>
    </a:dk2>
    <a:lt2>
      <a:srgbClr val="EEEEEE"/>
    </a:lt2>
    <a:accent1>
      <a:srgbClr val="222222"/>
    </a:accent1>
    <a:accent2>
      <a:srgbClr val="424652"/>
    </a:accent2>
    <a:accent3>
      <a:srgbClr val="6A7084"/>
    </a:accent3>
    <a:accent4>
      <a:srgbClr val="9A9CA2"/>
    </a:accent4>
    <a:accent5>
      <a:srgbClr val="BFBFBF"/>
    </a:accent5>
    <a:accent6>
      <a:srgbClr val="DADBDD"/>
    </a:accent6>
    <a:hlink>
      <a:srgbClr val="424652"/>
    </a:hlink>
    <a:folHlink>
      <a:srgbClr val="424652"/>
    </a:folHlink>
  </a:clrScheme>
</a:themeOverride>
</file>

<file path=ppt/theme/themeOverride29.xml><?xml version="1.0" encoding="utf-8"?>
<a:themeOverride xmlns:a="http://schemas.openxmlformats.org/drawingml/2006/main">
  <a:clrScheme name="cvp">
    <a:dk1>
      <a:srgbClr val="575757"/>
    </a:dk1>
    <a:lt1>
      <a:sysClr val="window" lastClr="FFFFFF"/>
    </a:lt1>
    <a:dk2>
      <a:srgbClr val="9A9CA2"/>
    </a:dk2>
    <a:lt2>
      <a:srgbClr val="EEEEEE"/>
    </a:lt2>
    <a:accent1>
      <a:srgbClr val="222222"/>
    </a:accent1>
    <a:accent2>
      <a:srgbClr val="424652"/>
    </a:accent2>
    <a:accent3>
      <a:srgbClr val="6A7084"/>
    </a:accent3>
    <a:accent4>
      <a:srgbClr val="9A9CA2"/>
    </a:accent4>
    <a:accent5>
      <a:srgbClr val="BFBFBF"/>
    </a:accent5>
    <a:accent6>
      <a:srgbClr val="DADBDD"/>
    </a:accent6>
    <a:hlink>
      <a:srgbClr val="424652"/>
    </a:hlink>
    <a:folHlink>
      <a:srgbClr val="424652"/>
    </a:folHlink>
  </a:clrScheme>
</a:themeOverride>
</file>

<file path=ppt/theme/themeOverride3.xml><?xml version="1.0" encoding="utf-8"?>
<a:themeOverride xmlns:a="http://schemas.openxmlformats.org/drawingml/2006/main">
  <a:clrScheme name="cvp">
    <a:dk1>
      <a:srgbClr val="575757"/>
    </a:dk1>
    <a:lt1>
      <a:sysClr val="window" lastClr="FFFFFF"/>
    </a:lt1>
    <a:dk2>
      <a:srgbClr val="9A9CA2"/>
    </a:dk2>
    <a:lt2>
      <a:srgbClr val="EEEEEE"/>
    </a:lt2>
    <a:accent1>
      <a:srgbClr val="222222"/>
    </a:accent1>
    <a:accent2>
      <a:srgbClr val="424652"/>
    </a:accent2>
    <a:accent3>
      <a:srgbClr val="6A7084"/>
    </a:accent3>
    <a:accent4>
      <a:srgbClr val="9A9CA2"/>
    </a:accent4>
    <a:accent5>
      <a:srgbClr val="BFBFBF"/>
    </a:accent5>
    <a:accent6>
      <a:srgbClr val="DADBDD"/>
    </a:accent6>
    <a:hlink>
      <a:srgbClr val="424652"/>
    </a:hlink>
    <a:folHlink>
      <a:srgbClr val="424652"/>
    </a:folHlink>
  </a:clrScheme>
</a:themeOverride>
</file>

<file path=ppt/theme/themeOverride30.xml><?xml version="1.0" encoding="utf-8"?>
<a:themeOverride xmlns:a="http://schemas.openxmlformats.org/drawingml/2006/main">
  <a:clrScheme name="cvp">
    <a:dk1>
      <a:srgbClr val="575757"/>
    </a:dk1>
    <a:lt1>
      <a:sysClr val="window" lastClr="FFFFFF"/>
    </a:lt1>
    <a:dk2>
      <a:srgbClr val="9A9CA2"/>
    </a:dk2>
    <a:lt2>
      <a:srgbClr val="EEEEEE"/>
    </a:lt2>
    <a:accent1>
      <a:srgbClr val="222222"/>
    </a:accent1>
    <a:accent2>
      <a:srgbClr val="424652"/>
    </a:accent2>
    <a:accent3>
      <a:srgbClr val="6A7084"/>
    </a:accent3>
    <a:accent4>
      <a:srgbClr val="9A9CA2"/>
    </a:accent4>
    <a:accent5>
      <a:srgbClr val="BFBFBF"/>
    </a:accent5>
    <a:accent6>
      <a:srgbClr val="DADBDD"/>
    </a:accent6>
    <a:hlink>
      <a:srgbClr val="424652"/>
    </a:hlink>
    <a:folHlink>
      <a:srgbClr val="424652"/>
    </a:folHlink>
  </a:clrScheme>
</a:themeOverride>
</file>

<file path=ppt/theme/themeOverride31.xml><?xml version="1.0" encoding="utf-8"?>
<a:themeOverride xmlns:a="http://schemas.openxmlformats.org/drawingml/2006/main">
  <a:clrScheme name="cvp">
    <a:dk1>
      <a:srgbClr val="575757"/>
    </a:dk1>
    <a:lt1>
      <a:sysClr val="window" lastClr="FFFFFF"/>
    </a:lt1>
    <a:dk2>
      <a:srgbClr val="9A9CA2"/>
    </a:dk2>
    <a:lt2>
      <a:srgbClr val="EEEEEE"/>
    </a:lt2>
    <a:accent1>
      <a:srgbClr val="222222"/>
    </a:accent1>
    <a:accent2>
      <a:srgbClr val="424652"/>
    </a:accent2>
    <a:accent3>
      <a:srgbClr val="6A7084"/>
    </a:accent3>
    <a:accent4>
      <a:srgbClr val="9A9CA2"/>
    </a:accent4>
    <a:accent5>
      <a:srgbClr val="BFBFBF"/>
    </a:accent5>
    <a:accent6>
      <a:srgbClr val="DADBDD"/>
    </a:accent6>
    <a:hlink>
      <a:srgbClr val="424652"/>
    </a:hlink>
    <a:folHlink>
      <a:srgbClr val="424652"/>
    </a:folHlink>
  </a:clrScheme>
</a:themeOverride>
</file>

<file path=ppt/theme/themeOverride32.xml><?xml version="1.0" encoding="utf-8"?>
<a:themeOverride xmlns:a="http://schemas.openxmlformats.org/drawingml/2006/main">
  <a:clrScheme name="cvp">
    <a:dk1>
      <a:srgbClr val="575757"/>
    </a:dk1>
    <a:lt1>
      <a:sysClr val="window" lastClr="FFFFFF"/>
    </a:lt1>
    <a:dk2>
      <a:srgbClr val="9A9CA2"/>
    </a:dk2>
    <a:lt2>
      <a:srgbClr val="EEEEEE"/>
    </a:lt2>
    <a:accent1>
      <a:srgbClr val="222222"/>
    </a:accent1>
    <a:accent2>
      <a:srgbClr val="424652"/>
    </a:accent2>
    <a:accent3>
      <a:srgbClr val="6A7084"/>
    </a:accent3>
    <a:accent4>
      <a:srgbClr val="9A9CA2"/>
    </a:accent4>
    <a:accent5>
      <a:srgbClr val="BFBFBF"/>
    </a:accent5>
    <a:accent6>
      <a:srgbClr val="DADBDD"/>
    </a:accent6>
    <a:hlink>
      <a:srgbClr val="424652"/>
    </a:hlink>
    <a:folHlink>
      <a:srgbClr val="424652"/>
    </a:folHlink>
  </a:clrScheme>
</a:themeOverride>
</file>

<file path=ppt/theme/themeOverride33.xml><?xml version="1.0" encoding="utf-8"?>
<a:themeOverride xmlns:a="http://schemas.openxmlformats.org/drawingml/2006/main">
  <a:clrScheme name="cvp">
    <a:dk1>
      <a:srgbClr val="575757"/>
    </a:dk1>
    <a:lt1>
      <a:sysClr val="window" lastClr="FFFFFF"/>
    </a:lt1>
    <a:dk2>
      <a:srgbClr val="9A9CA2"/>
    </a:dk2>
    <a:lt2>
      <a:srgbClr val="EEEEEE"/>
    </a:lt2>
    <a:accent1>
      <a:srgbClr val="222222"/>
    </a:accent1>
    <a:accent2>
      <a:srgbClr val="424652"/>
    </a:accent2>
    <a:accent3>
      <a:srgbClr val="6A7084"/>
    </a:accent3>
    <a:accent4>
      <a:srgbClr val="9A9CA2"/>
    </a:accent4>
    <a:accent5>
      <a:srgbClr val="BFBFBF"/>
    </a:accent5>
    <a:accent6>
      <a:srgbClr val="DADBDD"/>
    </a:accent6>
    <a:hlink>
      <a:srgbClr val="424652"/>
    </a:hlink>
    <a:folHlink>
      <a:srgbClr val="424652"/>
    </a:folHlink>
  </a:clrScheme>
</a:themeOverride>
</file>

<file path=ppt/theme/themeOverride34.xml><?xml version="1.0" encoding="utf-8"?>
<a:themeOverride xmlns:a="http://schemas.openxmlformats.org/drawingml/2006/main">
  <a:clrScheme name="cvp">
    <a:dk1>
      <a:srgbClr val="575757"/>
    </a:dk1>
    <a:lt1>
      <a:sysClr val="window" lastClr="FFFFFF"/>
    </a:lt1>
    <a:dk2>
      <a:srgbClr val="9A9CA2"/>
    </a:dk2>
    <a:lt2>
      <a:srgbClr val="EEEEEE"/>
    </a:lt2>
    <a:accent1>
      <a:srgbClr val="222222"/>
    </a:accent1>
    <a:accent2>
      <a:srgbClr val="424652"/>
    </a:accent2>
    <a:accent3>
      <a:srgbClr val="6A7084"/>
    </a:accent3>
    <a:accent4>
      <a:srgbClr val="9A9CA2"/>
    </a:accent4>
    <a:accent5>
      <a:srgbClr val="BFBFBF"/>
    </a:accent5>
    <a:accent6>
      <a:srgbClr val="DADBDD"/>
    </a:accent6>
    <a:hlink>
      <a:srgbClr val="424652"/>
    </a:hlink>
    <a:folHlink>
      <a:srgbClr val="424652"/>
    </a:folHlink>
  </a:clrScheme>
</a:themeOverride>
</file>

<file path=ppt/theme/themeOverride35.xml><?xml version="1.0" encoding="utf-8"?>
<a:themeOverride xmlns:a="http://schemas.openxmlformats.org/drawingml/2006/main">
  <a:clrScheme name="cvp">
    <a:dk1>
      <a:srgbClr val="575757"/>
    </a:dk1>
    <a:lt1>
      <a:sysClr val="window" lastClr="FFFFFF"/>
    </a:lt1>
    <a:dk2>
      <a:srgbClr val="9A9CA2"/>
    </a:dk2>
    <a:lt2>
      <a:srgbClr val="EEEEEE"/>
    </a:lt2>
    <a:accent1>
      <a:srgbClr val="222222"/>
    </a:accent1>
    <a:accent2>
      <a:srgbClr val="424652"/>
    </a:accent2>
    <a:accent3>
      <a:srgbClr val="6A7084"/>
    </a:accent3>
    <a:accent4>
      <a:srgbClr val="9A9CA2"/>
    </a:accent4>
    <a:accent5>
      <a:srgbClr val="BFBFBF"/>
    </a:accent5>
    <a:accent6>
      <a:srgbClr val="DADBDD"/>
    </a:accent6>
    <a:hlink>
      <a:srgbClr val="424652"/>
    </a:hlink>
    <a:folHlink>
      <a:srgbClr val="424652"/>
    </a:folHlink>
  </a:clrScheme>
</a:themeOverride>
</file>

<file path=ppt/theme/themeOverride36.xml><?xml version="1.0" encoding="utf-8"?>
<a:themeOverride xmlns:a="http://schemas.openxmlformats.org/drawingml/2006/main">
  <a:clrScheme name="cvp">
    <a:dk1>
      <a:srgbClr val="575757"/>
    </a:dk1>
    <a:lt1>
      <a:sysClr val="window" lastClr="FFFFFF"/>
    </a:lt1>
    <a:dk2>
      <a:srgbClr val="9A9CA2"/>
    </a:dk2>
    <a:lt2>
      <a:srgbClr val="EEEEEE"/>
    </a:lt2>
    <a:accent1>
      <a:srgbClr val="222222"/>
    </a:accent1>
    <a:accent2>
      <a:srgbClr val="424652"/>
    </a:accent2>
    <a:accent3>
      <a:srgbClr val="6A7084"/>
    </a:accent3>
    <a:accent4>
      <a:srgbClr val="9A9CA2"/>
    </a:accent4>
    <a:accent5>
      <a:srgbClr val="BFBFBF"/>
    </a:accent5>
    <a:accent6>
      <a:srgbClr val="DADBDD"/>
    </a:accent6>
    <a:hlink>
      <a:srgbClr val="424652"/>
    </a:hlink>
    <a:folHlink>
      <a:srgbClr val="424652"/>
    </a:folHlink>
  </a:clrScheme>
</a:themeOverride>
</file>

<file path=ppt/theme/themeOverride37.xml><?xml version="1.0" encoding="utf-8"?>
<a:themeOverride xmlns:a="http://schemas.openxmlformats.org/drawingml/2006/main">
  <a:clrScheme name="cvp">
    <a:dk1>
      <a:srgbClr val="575757"/>
    </a:dk1>
    <a:lt1>
      <a:sysClr val="window" lastClr="FFFFFF"/>
    </a:lt1>
    <a:dk2>
      <a:srgbClr val="9A9CA2"/>
    </a:dk2>
    <a:lt2>
      <a:srgbClr val="EEEEEE"/>
    </a:lt2>
    <a:accent1>
      <a:srgbClr val="222222"/>
    </a:accent1>
    <a:accent2>
      <a:srgbClr val="424652"/>
    </a:accent2>
    <a:accent3>
      <a:srgbClr val="6A7084"/>
    </a:accent3>
    <a:accent4>
      <a:srgbClr val="9A9CA2"/>
    </a:accent4>
    <a:accent5>
      <a:srgbClr val="BFBFBF"/>
    </a:accent5>
    <a:accent6>
      <a:srgbClr val="DADBDD"/>
    </a:accent6>
    <a:hlink>
      <a:srgbClr val="424652"/>
    </a:hlink>
    <a:folHlink>
      <a:srgbClr val="424652"/>
    </a:folHlink>
  </a:clrScheme>
</a:themeOverride>
</file>

<file path=ppt/theme/themeOverride38.xml><?xml version="1.0" encoding="utf-8"?>
<a:themeOverride xmlns:a="http://schemas.openxmlformats.org/drawingml/2006/main">
  <a:clrScheme name="cvp">
    <a:dk1>
      <a:srgbClr val="575757"/>
    </a:dk1>
    <a:lt1>
      <a:sysClr val="window" lastClr="FFFFFF"/>
    </a:lt1>
    <a:dk2>
      <a:srgbClr val="9A9CA2"/>
    </a:dk2>
    <a:lt2>
      <a:srgbClr val="EEEEEE"/>
    </a:lt2>
    <a:accent1>
      <a:srgbClr val="222222"/>
    </a:accent1>
    <a:accent2>
      <a:srgbClr val="424652"/>
    </a:accent2>
    <a:accent3>
      <a:srgbClr val="6A7084"/>
    </a:accent3>
    <a:accent4>
      <a:srgbClr val="9A9CA2"/>
    </a:accent4>
    <a:accent5>
      <a:srgbClr val="BFBFBF"/>
    </a:accent5>
    <a:accent6>
      <a:srgbClr val="DADBDD"/>
    </a:accent6>
    <a:hlink>
      <a:srgbClr val="424652"/>
    </a:hlink>
    <a:folHlink>
      <a:srgbClr val="424652"/>
    </a:folHlink>
  </a:clrScheme>
</a:themeOverride>
</file>

<file path=ppt/theme/themeOverride39.xml><?xml version="1.0" encoding="utf-8"?>
<a:themeOverride xmlns:a="http://schemas.openxmlformats.org/drawingml/2006/main">
  <a:clrScheme name="cvp">
    <a:dk1>
      <a:srgbClr val="575757"/>
    </a:dk1>
    <a:lt1>
      <a:sysClr val="window" lastClr="FFFFFF"/>
    </a:lt1>
    <a:dk2>
      <a:srgbClr val="9A9CA2"/>
    </a:dk2>
    <a:lt2>
      <a:srgbClr val="EEEEEE"/>
    </a:lt2>
    <a:accent1>
      <a:srgbClr val="222222"/>
    </a:accent1>
    <a:accent2>
      <a:srgbClr val="424652"/>
    </a:accent2>
    <a:accent3>
      <a:srgbClr val="6A7084"/>
    </a:accent3>
    <a:accent4>
      <a:srgbClr val="9A9CA2"/>
    </a:accent4>
    <a:accent5>
      <a:srgbClr val="BFBFBF"/>
    </a:accent5>
    <a:accent6>
      <a:srgbClr val="DADBDD"/>
    </a:accent6>
    <a:hlink>
      <a:srgbClr val="424652"/>
    </a:hlink>
    <a:folHlink>
      <a:srgbClr val="424652"/>
    </a:folHlink>
  </a:clrScheme>
</a:themeOverride>
</file>

<file path=ppt/theme/themeOverride4.xml><?xml version="1.0" encoding="utf-8"?>
<a:themeOverride xmlns:a="http://schemas.openxmlformats.org/drawingml/2006/main">
  <a:clrScheme name="cvp">
    <a:dk1>
      <a:srgbClr val="575757"/>
    </a:dk1>
    <a:lt1>
      <a:sysClr val="window" lastClr="FFFFFF"/>
    </a:lt1>
    <a:dk2>
      <a:srgbClr val="9A9CA2"/>
    </a:dk2>
    <a:lt2>
      <a:srgbClr val="EEEEEE"/>
    </a:lt2>
    <a:accent1>
      <a:srgbClr val="222222"/>
    </a:accent1>
    <a:accent2>
      <a:srgbClr val="424652"/>
    </a:accent2>
    <a:accent3>
      <a:srgbClr val="6A7084"/>
    </a:accent3>
    <a:accent4>
      <a:srgbClr val="9A9CA2"/>
    </a:accent4>
    <a:accent5>
      <a:srgbClr val="BFBFBF"/>
    </a:accent5>
    <a:accent6>
      <a:srgbClr val="DADBDD"/>
    </a:accent6>
    <a:hlink>
      <a:srgbClr val="424652"/>
    </a:hlink>
    <a:folHlink>
      <a:srgbClr val="424652"/>
    </a:folHlink>
  </a:clrScheme>
</a:themeOverride>
</file>

<file path=ppt/theme/themeOverride40.xml><?xml version="1.0" encoding="utf-8"?>
<a:themeOverride xmlns:a="http://schemas.openxmlformats.org/drawingml/2006/main">
  <a:clrScheme name="cvp">
    <a:dk1>
      <a:srgbClr val="575757"/>
    </a:dk1>
    <a:lt1>
      <a:sysClr val="window" lastClr="FFFFFF"/>
    </a:lt1>
    <a:dk2>
      <a:srgbClr val="9A9CA2"/>
    </a:dk2>
    <a:lt2>
      <a:srgbClr val="EEEEEE"/>
    </a:lt2>
    <a:accent1>
      <a:srgbClr val="222222"/>
    </a:accent1>
    <a:accent2>
      <a:srgbClr val="424652"/>
    </a:accent2>
    <a:accent3>
      <a:srgbClr val="6A7084"/>
    </a:accent3>
    <a:accent4>
      <a:srgbClr val="9A9CA2"/>
    </a:accent4>
    <a:accent5>
      <a:srgbClr val="BFBFBF"/>
    </a:accent5>
    <a:accent6>
      <a:srgbClr val="DADBDD"/>
    </a:accent6>
    <a:hlink>
      <a:srgbClr val="424652"/>
    </a:hlink>
    <a:folHlink>
      <a:srgbClr val="424652"/>
    </a:folHlink>
  </a:clrScheme>
</a:themeOverride>
</file>

<file path=ppt/theme/themeOverride41.xml><?xml version="1.0" encoding="utf-8"?>
<a:themeOverride xmlns:a="http://schemas.openxmlformats.org/drawingml/2006/main">
  <a:clrScheme name="cvp">
    <a:dk1>
      <a:srgbClr val="575757"/>
    </a:dk1>
    <a:lt1>
      <a:sysClr val="window" lastClr="FFFFFF"/>
    </a:lt1>
    <a:dk2>
      <a:srgbClr val="9A9CA2"/>
    </a:dk2>
    <a:lt2>
      <a:srgbClr val="EEEEEE"/>
    </a:lt2>
    <a:accent1>
      <a:srgbClr val="222222"/>
    </a:accent1>
    <a:accent2>
      <a:srgbClr val="424652"/>
    </a:accent2>
    <a:accent3>
      <a:srgbClr val="6A7084"/>
    </a:accent3>
    <a:accent4>
      <a:srgbClr val="9A9CA2"/>
    </a:accent4>
    <a:accent5>
      <a:srgbClr val="BFBFBF"/>
    </a:accent5>
    <a:accent6>
      <a:srgbClr val="DADBDD"/>
    </a:accent6>
    <a:hlink>
      <a:srgbClr val="424652"/>
    </a:hlink>
    <a:folHlink>
      <a:srgbClr val="424652"/>
    </a:folHlink>
  </a:clrScheme>
</a:themeOverride>
</file>

<file path=ppt/theme/themeOverride42.xml><?xml version="1.0" encoding="utf-8"?>
<a:themeOverride xmlns:a="http://schemas.openxmlformats.org/drawingml/2006/main">
  <a:clrScheme name="cvp">
    <a:dk1>
      <a:srgbClr val="575757"/>
    </a:dk1>
    <a:lt1>
      <a:sysClr val="window" lastClr="FFFFFF"/>
    </a:lt1>
    <a:dk2>
      <a:srgbClr val="9A9CA2"/>
    </a:dk2>
    <a:lt2>
      <a:srgbClr val="EEEEEE"/>
    </a:lt2>
    <a:accent1>
      <a:srgbClr val="222222"/>
    </a:accent1>
    <a:accent2>
      <a:srgbClr val="424652"/>
    </a:accent2>
    <a:accent3>
      <a:srgbClr val="6A7084"/>
    </a:accent3>
    <a:accent4>
      <a:srgbClr val="9A9CA2"/>
    </a:accent4>
    <a:accent5>
      <a:srgbClr val="BFBFBF"/>
    </a:accent5>
    <a:accent6>
      <a:srgbClr val="DADBDD"/>
    </a:accent6>
    <a:hlink>
      <a:srgbClr val="424652"/>
    </a:hlink>
    <a:folHlink>
      <a:srgbClr val="424652"/>
    </a:folHlink>
  </a:clrScheme>
</a:themeOverride>
</file>

<file path=ppt/theme/themeOverride43.xml><?xml version="1.0" encoding="utf-8"?>
<a:themeOverride xmlns:a="http://schemas.openxmlformats.org/drawingml/2006/main">
  <a:clrScheme name="cvp">
    <a:dk1>
      <a:srgbClr val="575757"/>
    </a:dk1>
    <a:lt1>
      <a:sysClr val="window" lastClr="FFFFFF"/>
    </a:lt1>
    <a:dk2>
      <a:srgbClr val="9A9CA2"/>
    </a:dk2>
    <a:lt2>
      <a:srgbClr val="EEEEEE"/>
    </a:lt2>
    <a:accent1>
      <a:srgbClr val="222222"/>
    </a:accent1>
    <a:accent2>
      <a:srgbClr val="424652"/>
    </a:accent2>
    <a:accent3>
      <a:srgbClr val="6A7084"/>
    </a:accent3>
    <a:accent4>
      <a:srgbClr val="9A9CA2"/>
    </a:accent4>
    <a:accent5>
      <a:srgbClr val="BFBFBF"/>
    </a:accent5>
    <a:accent6>
      <a:srgbClr val="DADBDD"/>
    </a:accent6>
    <a:hlink>
      <a:srgbClr val="424652"/>
    </a:hlink>
    <a:folHlink>
      <a:srgbClr val="424652"/>
    </a:folHlink>
  </a:clrScheme>
</a:themeOverride>
</file>

<file path=ppt/theme/themeOverride44.xml><?xml version="1.0" encoding="utf-8"?>
<a:themeOverride xmlns:a="http://schemas.openxmlformats.org/drawingml/2006/main">
  <a:clrScheme name="cvp">
    <a:dk1>
      <a:srgbClr val="575757"/>
    </a:dk1>
    <a:lt1>
      <a:sysClr val="window" lastClr="FFFFFF"/>
    </a:lt1>
    <a:dk2>
      <a:srgbClr val="9A9CA2"/>
    </a:dk2>
    <a:lt2>
      <a:srgbClr val="EEEEEE"/>
    </a:lt2>
    <a:accent1>
      <a:srgbClr val="222222"/>
    </a:accent1>
    <a:accent2>
      <a:srgbClr val="424652"/>
    </a:accent2>
    <a:accent3>
      <a:srgbClr val="6A7084"/>
    </a:accent3>
    <a:accent4>
      <a:srgbClr val="9A9CA2"/>
    </a:accent4>
    <a:accent5>
      <a:srgbClr val="BFBFBF"/>
    </a:accent5>
    <a:accent6>
      <a:srgbClr val="DADBDD"/>
    </a:accent6>
    <a:hlink>
      <a:srgbClr val="424652"/>
    </a:hlink>
    <a:folHlink>
      <a:srgbClr val="424652"/>
    </a:folHlink>
  </a:clrScheme>
</a:themeOverride>
</file>

<file path=ppt/theme/themeOverride45.xml><?xml version="1.0" encoding="utf-8"?>
<a:themeOverride xmlns:a="http://schemas.openxmlformats.org/drawingml/2006/main">
  <a:clrScheme name="cvp">
    <a:dk1>
      <a:srgbClr val="575757"/>
    </a:dk1>
    <a:lt1>
      <a:sysClr val="window" lastClr="FFFFFF"/>
    </a:lt1>
    <a:dk2>
      <a:srgbClr val="9A9CA2"/>
    </a:dk2>
    <a:lt2>
      <a:srgbClr val="EEEEEE"/>
    </a:lt2>
    <a:accent1>
      <a:srgbClr val="222222"/>
    </a:accent1>
    <a:accent2>
      <a:srgbClr val="424652"/>
    </a:accent2>
    <a:accent3>
      <a:srgbClr val="6A7084"/>
    </a:accent3>
    <a:accent4>
      <a:srgbClr val="9A9CA2"/>
    </a:accent4>
    <a:accent5>
      <a:srgbClr val="BFBFBF"/>
    </a:accent5>
    <a:accent6>
      <a:srgbClr val="DADBDD"/>
    </a:accent6>
    <a:hlink>
      <a:srgbClr val="424652"/>
    </a:hlink>
    <a:folHlink>
      <a:srgbClr val="424652"/>
    </a:folHlink>
  </a:clrScheme>
</a:themeOverride>
</file>

<file path=ppt/theme/themeOverride46.xml><?xml version="1.0" encoding="utf-8"?>
<a:themeOverride xmlns:a="http://schemas.openxmlformats.org/drawingml/2006/main">
  <a:clrScheme name="cvp">
    <a:dk1>
      <a:srgbClr val="575757"/>
    </a:dk1>
    <a:lt1>
      <a:sysClr val="window" lastClr="FFFFFF"/>
    </a:lt1>
    <a:dk2>
      <a:srgbClr val="9A9CA2"/>
    </a:dk2>
    <a:lt2>
      <a:srgbClr val="EEEEEE"/>
    </a:lt2>
    <a:accent1>
      <a:srgbClr val="222222"/>
    </a:accent1>
    <a:accent2>
      <a:srgbClr val="424652"/>
    </a:accent2>
    <a:accent3>
      <a:srgbClr val="6A7084"/>
    </a:accent3>
    <a:accent4>
      <a:srgbClr val="9A9CA2"/>
    </a:accent4>
    <a:accent5>
      <a:srgbClr val="BFBFBF"/>
    </a:accent5>
    <a:accent6>
      <a:srgbClr val="DADBDD"/>
    </a:accent6>
    <a:hlink>
      <a:srgbClr val="424652"/>
    </a:hlink>
    <a:folHlink>
      <a:srgbClr val="424652"/>
    </a:folHlink>
  </a:clrScheme>
</a:themeOverride>
</file>

<file path=ppt/theme/themeOverride47.xml><?xml version="1.0" encoding="utf-8"?>
<a:themeOverride xmlns:a="http://schemas.openxmlformats.org/drawingml/2006/main">
  <a:clrScheme name="cvp">
    <a:dk1>
      <a:srgbClr val="575757"/>
    </a:dk1>
    <a:lt1>
      <a:sysClr val="window" lastClr="FFFFFF"/>
    </a:lt1>
    <a:dk2>
      <a:srgbClr val="9A9CA2"/>
    </a:dk2>
    <a:lt2>
      <a:srgbClr val="EEEEEE"/>
    </a:lt2>
    <a:accent1>
      <a:srgbClr val="222222"/>
    </a:accent1>
    <a:accent2>
      <a:srgbClr val="424652"/>
    </a:accent2>
    <a:accent3>
      <a:srgbClr val="6A7084"/>
    </a:accent3>
    <a:accent4>
      <a:srgbClr val="9A9CA2"/>
    </a:accent4>
    <a:accent5>
      <a:srgbClr val="BFBFBF"/>
    </a:accent5>
    <a:accent6>
      <a:srgbClr val="DADBDD"/>
    </a:accent6>
    <a:hlink>
      <a:srgbClr val="424652"/>
    </a:hlink>
    <a:folHlink>
      <a:srgbClr val="424652"/>
    </a:folHlink>
  </a:clrScheme>
</a:themeOverride>
</file>

<file path=ppt/theme/themeOverride48.xml><?xml version="1.0" encoding="utf-8"?>
<a:themeOverride xmlns:a="http://schemas.openxmlformats.org/drawingml/2006/main">
  <a:clrScheme name="cvp">
    <a:dk1>
      <a:srgbClr val="575757"/>
    </a:dk1>
    <a:lt1>
      <a:sysClr val="window" lastClr="FFFFFF"/>
    </a:lt1>
    <a:dk2>
      <a:srgbClr val="9A9CA2"/>
    </a:dk2>
    <a:lt2>
      <a:srgbClr val="EEEEEE"/>
    </a:lt2>
    <a:accent1>
      <a:srgbClr val="222222"/>
    </a:accent1>
    <a:accent2>
      <a:srgbClr val="424652"/>
    </a:accent2>
    <a:accent3>
      <a:srgbClr val="6A7084"/>
    </a:accent3>
    <a:accent4>
      <a:srgbClr val="9A9CA2"/>
    </a:accent4>
    <a:accent5>
      <a:srgbClr val="BFBFBF"/>
    </a:accent5>
    <a:accent6>
      <a:srgbClr val="DADBDD"/>
    </a:accent6>
    <a:hlink>
      <a:srgbClr val="424652"/>
    </a:hlink>
    <a:folHlink>
      <a:srgbClr val="424652"/>
    </a:folHlink>
  </a:clrScheme>
</a:themeOverride>
</file>

<file path=ppt/theme/themeOverride5.xml><?xml version="1.0" encoding="utf-8"?>
<a:themeOverride xmlns:a="http://schemas.openxmlformats.org/drawingml/2006/main">
  <a:clrScheme name="cvp">
    <a:dk1>
      <a:srgbClr val="575757"/>
    </a:dk1>
    <a:lt1>
      <a:sysClr val="window" lastClr="FFFFFF"/>
    </a:lt1>
    <a:dk2>
      <a:srgbClr val="9A9CA2"/>
    </a:dk2>
    <a:lt2>
      <a:srgbClr val="EEEEEE"/>
    </a:lt2>
    <a:accent1>
      <a:srgbClr val="222222"/>
    </a:accent1>
    <a:accent2>
      <a:srgbClr val="424652"/>
    </a:accent2>
    <a:accent3>
      <a:srgbClr val="6A7084"/>
    </a:accent3>
    <a:accent4>
      <a:srgbClr val="9A9CA2"/>
    </a:accent4>
    <a:accent5>
      <a:srgbClr val="BFBFBF"/>
    </a:accent5>
    <a:accent6>
      <a:srgbClr val="DADBDD"/>
    </a:accent6>
    <a:hlink>
      <a:srgbClr val="424652"/>
    </a:hlink>
    <a:folHlink>
      <a:srgbClr val="424652"/>
    </a:folHlink>
  </a:clrScheme>
</a:themeOverride>
</file>

<file path=ppt/theme/themeOverride6.xml><?xml version="1.0" encoding="utf-8"?>
<a:themeOverride xmlns:a="http://schemas.openxmlformats.org/drawingml/2006/main">
  <a:clrScheme name="cvp">
    <a:dk1>
      <a:srgbClr val="575757"/>
    </a:dk1>
    <a:lt1>
      <a:sysClr val="window" lastClr="FFFFFF"/>
    </a:lt1>
    <a:dk2>
      <a:srgbClr val="9A9CA2"/>
    </a:dk2>
    <a:lt2>
      <a:srgbClr val="EEEEEE"/>
    </a:lt2>
    <a:accent1>
      <a:srgbClr val="222222"/>
    </a:accent1>
    <a:accent2>
      <a:srgbClr val="424652"/>
    </a:accent2>
    <a:accent3>
      <a:srgbClr val="6A7084"/>
    </a:accent3>
    <a:accent4>
      <a:srgbClr val="9A9CA2"/>
    </a:accent4>
    <a:accent5>
      <a:srgbClr val="BFBFBF"/>
    </a:accent5>
    <a:accent6>
      <a:srgbClr val="DADBDD"/>
    </a:accent6>
    <a:hlink>
      <a:srgbClr val="424652"/>
    </a:hlink>
    <a:folHlink>
      <a:srgbClr val="424652"/>
    </a:folHlink>
  </a:clrScheme>
</a:themeOverride>
</file>

<file path=ppt/theme/themeOverride7.xml><?xml version="1.0" encoding="utf-8"?>
<a:themeOverride xmlns:a="http://schemas.openxmlformats.org/drawingml/2006/main">
  <a:clrScheme name="cvp">
    <a:dk1>
      <a:srgbClr val="575757"/>
    </a:dk1>
    <a:lt1>
      <a:sysClr val="window" lastClr="FFFFFF"/>
    </a:lt1>
    <a:dk2>
      <a:srgbClr val="9A9CA2"/>
    </a:dk2>
    <a:lt2>
      <a:srgbClr val="EEEEEE"/>
    </a:lt2>
    <a:accent1>
      <a:srgbClr val="222222"/>
    </a:accent1>
    <a:accent2>
      <a:srgbClr val="424652"/>
    </a:accent2>
    <a:accent3>
      <a:srgbClr val="6A7084"/>
    </a:accent3>
    <a:accent4>
      <a:srgbClr val="9A9CA2"/>
    </a:accent4>
    <a:accent5>
      <a:srgbClr val="BFBFBF"/>
    </a:accent5>
    <a:accent6>
      <a:srgbClr val="DADBDD"/>
    </a:accent6>
    <a:hlink>
      <a:srgbClr val="424652"/>
    </a:hlink>
    <a:folHlink>
      <a:srgbClr val="424652"/>
    </a:folHlink>
  </a:clrScheme>
</a:themeOverride>
</file>

<file path=ppt/theme/themeOverride8.xml><?xml version="1.0" encoding="utf-8"?>
<a:themeOverride xmlns:a="http://schemas.openxmlformats.org/drawingml/2006/main">
  <a:clrScheme name="cvp">
    <a:dk1>
      <a:srgbClr val="575757"/>
    </a:dk1>
    <a:lt1>
      <a:sysClr val="window" lastClr="FFFFFF"/>
    </a:lt1>
    <a:dk2>
      <a:srgbClr val="9A9CA2"/>
    </a:dk2>
    <a:lt2>
      <a:srgbClr val="EEEEEE"/>
    </a:lt2>
    <a:accent1>
      <a:srgbClr val="222222"/>
    </a:accent1>
    <a:accent2>
      <a:srgbClr val="424652"/>
    </a:accent2>
    <a:accent3>
      <a:srgbClr val="6A7084"/>
    </a:accent3>
    <a:accent4>
      <a:srgbClr val="9A9CA2"/>
    </a:accent4>
    <a:accent5>
      <a:srgbClr val="BFBFBF"/>
    </a:accent5>
    <a:accent6>
      <a:srgbClr val="DADBDD"/>
    </a:accent6>
    <a:hlink>
      <a:srgbClr val="424652"/>
    </a:hlink>
    <a:folHlink>
      <a:srgbClr val="424652"/>
    </a:folHlink>
  </a:clrScheme>
</a:themeOverride>
</file>

<file path=ppt/theme/themeOverride9.xml><?xml version="1.0" encoding="utf-8"?>
<a:themeOverride xmlns:a="http://schemas.openxmlformats.org/drawingml/2006/main">
  <a:clrScheme name="cvp">
    <a:dk1>
      <a:srgbClr val="575757"/>
    </a:dk1>
    <a:lt1>
      <a:sysClr val="window" lastClr="FFFFFF"/>
    </a:lt1>
    <a:dk2>
      <a:srgbClr val="9A9CA2"/>
    </a:dk2>
    <a:lt2>
      <a:srgbClr val="EEEEEE"/>
    </a:lt2>
    <a:accent1>
      <a:srgbClr val="222222"/>
    </a:accent1>
    <a:accent2>
      <a:srgbClr val="424652"/>
    </a:accent2>
    <a:accent3>
      <a:srgbClr val="6A7084"/>
    </a:accent3>
    <a:accent4>
      <a:srgbClr val="9A9CA2"/>
    </a:accent4>
    <a:accent5>
      <a:srgbClr val="BFBFBF"/>
    </a:accent5>
    <a:accent6>
      <a:srgbClr val="DADBDD"/>
    </a:accent6>
    <a:hlink>
      <a:srgbClr val="424652"/>
    </a:hlink>
    <a:folHlink>
      <a:srgbClr val="424652"/>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245104A92457143A729BEFBF4948BC1" ma:contentTypeVersion="2" ma:contentTypeDescription="Crée un document." ma:contentTypeScope="" ma:versionID="e27eb1a58cf7d65d2fb0250939918b39">
  <xsd:schema xmlns:xsd="http://www.w3.org/2001/XMLSchema" xmlns:xs="http://www.w3.org/2001/XMLSchema" xmlns:p="http://schemas.microsoft.com/office/2006/metadata/properties" xmlns:ns2="95c9d5c3-8609-41d1-9a4c-c42f62e5183e" targetNamespace="http://schemas.microsoft.com/office/2006/metadata/properties" ma:root="true" ma:fieldsID="581a56a72b45ac8f9f19b88f4aadb889" ns2:_="">
    <xsd:import namespace="95c9d5c3-8609-41d1-9a4c-c42f62e5183e"/>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5c9d5c3-8609-41d1-9a4c-c42f62e5183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E80516ED-BF92-4D9D-9135-4C7362696C4C}">
  <ds:schemaRefs>
    <ds:schemaRef ds:uri="95c9d5c3-8609-41d1-9a4c-c42f62e5183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D902FE61-AA65-4BDF-9D77-BA4F8137F895}">
  <ds:schemaRefs>
    <ds:schemaRef ds:uri="http://schemas.microsoft.com/sharepoint/v3/contenttype/forms"/>
  </ds:schemaRefs>
</ds:datastoreItem>
</file>

<file path=customXml/itemProps3.xml><?xml version="1.0" encoding="utf-8"?>
<ds:datastoreItem xmlns:ds="http://schemas.openxmlformats.org/officeDocument/2006/customXml" ds:itemID="{A595B9F0-34A5-4888-A318-6393C94A47D4}">
  <ds:schemaRefs>
    <ds:schemaRef ds:uri="95c9d5c3-8609-41d1-9a4c-c42f62e5183e"/>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Application>Microsoft Office PowerPoint</Application>
  <PresentationFormat>Widescreen</PresentationFormat>
  <Slides>27</Slides>
  <Notes>13</Notes>
  <HiddenSlides>0</HiddenSlides>
  <ScaleCrop>false</ScaleCrop>
  <HeadingPairs>
    <vt:vector size="4" baseType="variant">
      <vt:variant>
        <vt:lpstr>Theme</vt:lpstr>
      </vt:variant>
      <vt:variant>
        <vt:i4>1</vt:i4>
      </vt:variant>
      <vt:variant>
        <vt:lpstr>Slide Titles</vt:lpstr>
      </vt:variant>
      <vt:variant>
        <vt:i4>27</vt:i4>
      </vt:variant>
    </vt:vector>
  </HeadingPairs>
  <TitlesOfParts>
    <vt:vector size="28" baseType="lpstr">
      <vt:lpstr>BCG Beyond Grid 16:9 - 18608</vt:lpstr>
      <vt:lpstr>BCG Study case : ClientCo digital strategy</vt:lpstr>
      <vt:lpstr>ClientCo state of the art  Executive summary  Usecases priorisation  Three main usecases and roadmap  Churn Prediction model</vt:lpstr>
      <vt:lpstr>ClientCo has to start its digital transformation now to catch up with competitors</vt:lpstr>
      <vt:lpstr>Executive Summary</vt:lpstr>
      <vt:lpstr>3 identified uses cases to begin the data journey</vt:lpstr>
      <vt:lpstr>3 projects to develop Data culture and quickly make profits </vt:lpstr>
      <vt:lpstr>Step by step, ClientCo can enter the data era</vt:lpstr>
      <vt:lpstr>Churn Prediction enables preventive fidelisation actions</vt:lpstr>
      <vt:lpstr>In 2018, churn prediction would have made a net profit gain of 20M€  </vt:lpstr>
      <vt:lpstr>PowerPoint Presentation</vt:lpstr>
      <vt:lpstr>ClientCo organizational chart Usecases list Priorisation calculation for usecases Main usecases description Detailled roadmap  Cost calculation Churn prediction model &amp; parameters</vt:lpstr>
      <vt:lpstr>Annex 1 :  Organization – Interviews Made</vt:lpstr>
      <vt:lpstr>Annex 2a :  Review of the company in numbers</vt:lpstr>
      <vt:lpstr>Annex 2b :  Review of the company in numbers</vt:lpstr>
      <vt:lpstr>Annex 3 :  List of the 8 uses cases across 4 functions</vt:lpstr>
      <vt:lpstr> Annex 4a :  Our methodology of prioritization</vt:lpstr>
      <vt:lpstr>Annex 4b : Calculation</vt:lpstr>
      <vt:lpstr>Annex 5a :  Churn Prediction : enabling preventive fidelisation actions</vt:lpstr>
      <vt:lpstr>Annex 5b: Recommendation Tool : a tailor made offer, for each client</vt:lpstr>
      <vt:lpstr>Annex 5c : Data based inventories : paving the way for a digital supply chain</vt:lpstr>
      <vt:lpstr>Annex 6 :  Detailed roadmap</vt:lpstr>
      <vt:lpstr>Annex 7a :  FTE needs for a 12 months deployment plan</vt:lpstr>
      <vt:lpstr>Annex 7b : Projects pricing</vt:lpstr>
      <vt:lpstr>PowerPoint Presentation</vt:lpstr>
      <vt:lpstr>Annex 8b :  Choice of parameters in the model</vt:lpstr>
      <vt:lpstr>Annex 9 :  Results of all algorithms tested</vt:lpstr>
      <vt:lpstr>Annex 10 :  Logistic Regression: significant features</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revision>1</cp:revision>
  <cp:lastPrinted>1999-12-31T23:00:00Z</cp:lastPrinted>
  <dcterms:created xsi:type="dcterms:W3CDTF">2022-11-18T14:12:48Z</dcterms:created>
  <dcterms:modified xsi:type="dcterms:W3CDTF">2022-12-01T16:01: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9178343</vt:lpwstr>
  </property>
  <property fmtid="{D5CDD505-2E9C-101B-9397-08002B2CF9AE}" pid="4" name="NXPowerLiteSettings">
    <vt:lpwstr>87000AA0054001</vt:lpwstr>
  </property>
  <property fmtid="{D5CDD505-2E9C-101B-9397-08002B2CF9AE}" pid="5" name="NXPowerLiteVersion">
    <vt:lpwstr>D8.0.11</vt:lpwstr>
  </property>
  <property fmtid="{D5CDD505-2E9C-101B-9397-08002B2CF9AE}" pid="6" name="Template Name">
    <vt:lpwstr>16x9</vt:lpwstr>
  </property>
  <property fmtid="{D5CDD505-2E9C-101B-9397-08002B2CF9AE}" pid="7" name="ContentTypeId">
    <vt:lpwstr>0x0101008245104A92457143A729BEFBF4948BC1</vt:lpwstr>
  </property>
</Properties>
</file>